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2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tags/tag16.xml" ContentType="application/vnd.openxmlformats-officedocument.presentationml.tags+xml"/>
  <Override PartName="/ppt/notesSlides/notesSlide5.xml" ContentType="application/vnd.openxmlformats-officedocument.presentationml.notesSlide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tags/tag18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0" r:id="rId4"/>
    <p:sldMasterId id="2147483748" r:id="rId5"/>
  </p:sldMasterIdLst>
  <p:notesMasterIdLst>
    <p:notesMasterId r:id="rId37"/>
  </p:notesMasterIdLst>
  <p:handoutMasterIdLst>
    <p:handoutMasterId r:id="rId38"/>
  </p:handoutMasterIdLst>
  <p:sldIdLst>
    <p:sldId id="268" r:id="rId6"/>
    <p:sldId id="258" r:id="rId7"/>
    <p:sldId id="260" r:id="rId8"/>
    <p:sldId id="2073" r:id="rId9"/>
    <p:sldId id="2145707777" r:id="rId10"/>
    <p:sldId id="2145707778" r:id="rId11"/>
    <p:sldId id="2079" r:id="rId12"/>
    <p:sldId id="2145707354" r:id="rId13"/>
    <p:sldId id="333" r:id="rId14"/>
    <p:sldId id="322" r:id="rId15"/>
    <p:sldId id="327" r:id="rId16"/>
    <p:sldId id="328" r:id="rId17"/>
    <p:sldId id="334" r:id="rId18"/>
    <p:sldId id="2145707657" r:id="rId19"/>
    <p:sldId id="2145707758" r:id="rId20"/>
    <p:sldId id="2145707759" r:id="rId21"/>
    <p:sldId id="2145707760" r:id="rId22"/>
    <p:sldId id="2145707761" r:id="rId23"/>
    <p:sldId id="2145707659" r:id="rId24"/>
    <p:sldId id="2094" r:id="rId25"/>
    <p:sldId id="2145707680" r:id="rId26"/>
    <p:sldId id="336" r:id="rId27"/>
    <p:sldId id="2145707345" r:id="rId28"/>
    <p:sldId id="2085" r:id="rId29"/>
    <p:sldId id="2097" r:id="rId30"/>
    <p:sldId id="2093" r:id="rId31"/>
    <p:sldId id="317" r:id="rId32"/>
    <p:sldId id="2356" r:id="rId33"/>
    <p:sldId id="2077" r:id="rId34"/>
    <p:sldId id="2078" r:id="rId35"/>
    <p:sldId id="2082" r:id="rId36"/>
  </p:sldIdLst>
  <p:sldSz cx="12192000" cy="6858000"/>
  <p:notesSz cx="6858000" cy="9144000"/>
  <p:custDataLst>
    <p:tags r:id="rId39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uverture" id="{459E2E5D-FCF9-45B0-825F-3F0E3D5542CE}">
          <p14:sldIdLst>
            <p14:sldId id="268"/>
          </p14:sldIdLst>
        </p14:section>
        <p14:section name="Slides génériques" id="{AF974EF0-0F4D-465A-BF26-A8C9F9292B5D}">
          <p14:sldIdLst>
            <p14:sldId id="258"/>
            <p14:sldId id="260"/>
            <p14:sldId id="2073"/>
            <p14:sldId id="2145707777"/>
            <p14:sldId id="2145707778"/>
            <p14:sldId id="2079"/>
            <p14:sldId id="2145707354"/>
            <p14:sldId id="333"/>
            <p14:sldId id="322"/>
            <p14:sldId id="327"/>
            <p14:sldId id="328"/>
            <p14:sldId id="334"/>
            <p14:sldId id="2145707657"/>
            <p14:sldId id="2145707758"/>
            <p14:sldId id="2145707759"/>
            <p14:sldId id="2145707760"/>
            <p14:sldId id="2145707761"/>
            <p14:sldId id="2145707659"/>
            <p14:sldId id="2094"/>
            <p14:sldId id="2145707680"/>
            <p14:sldId id="336"/>
            <p14:sldId id="2145707345"/>
            <p14:sldId id="2085"/>
            <p14:sldId id="2097"/>
            <p14:sldId id="2093"/>
            <p14:sldId id="317"/>
            <p14:sldId id="2356"/>
            <p14:sldId id="2077"/>
            <p14:sldId id="2078"/>
            <p14:sldId id="208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00" userDrawn="1">
          <p15:clr>
            <a:srgbClr val="A4A3A4"/>
          </p15:clr>
        </p15:guide>
        <p15:guide id="2" pos="7537" userDrawn="1">
          <p15:clr>
            <a:srgbClr val="A4A3A4"/>
          </p15:clr>
        </p15:guide>
        <p15:guide id="3" orient="horz" pos="3702" userDrawn="1">
          <p15:clr>
            <a:srgbClr val="A4A3A4"/>
          </p15:clr>
        </p15:guide>
        <p15:guide id="4" pos="7287" userDrawn="1">
          <p15:clr>
            <a:srgbClr val="A4A3A4"/>
          </p15:clr>
        </p15:guide>
        <p15:guide id="5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ORVAN SIGWARD CATHERINE (CNAM / Paris)" initials="CMS" lastIdx="1" clrIdx="0"/>
  <p:cmAuthor id="1" name="FRANGEUL SANDRINE (CNAM / Paris)" initials="FS(/P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A9CA9"/>
    <a:srgbClr val="0C419A"/>
    <a:srgbClr val="E87C54"/>
    <a:srgbClr val="0C406B"/>
    <a:srgbClr val="60829E"/>
    <a:srgbClr val="F2F2F2"/>
    <a:srgbClr val="003763"/>
    <a:srgbClr val="4C6C9C"/>
    <a:srgbClr val="4F81BD"/>
    <a:srgbClr val="E7EC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637A620-D875-470A-A172-991D7413D5DE}" v="5" dt="2022-09-27T14:55:56.13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486" autoAdjust="0"/>
    <p:restoredTop sz="95995" autoAdjust="0"/>
  </p:normalViewPr>
  <p:slideViewPr>
    <p:cSldViewPr snapToGrid="0" showGuides="1">
      <p:cViewPr varScale="1">
        <p:scale>
          <a:sx n="76" d="100"/>
          <a:sy n="76" d="100"/>
        </p:scale>
        <p:origin x="1368" y="67"/>
      </p:cViewPr>
      <p:guideLst>
        <p:guide orient="horz" pos="300"/>
        <p:guide pos="7537"/>
        <p:guide orient="horz" pos="3702"/>
        <p:guide pos="7287"/>
        <p:guide pos="3840"/>
      </p:guideLst>
    </p:cSldViewPr>
  </p:slideViewPr>
  <p:outlineViewPr>
    <p:cViewPr>
      <p:scale>
        <a:sx n="33" d="100"/>
        <a:sy n="33" d="100"/>
      </p:scale>
      <p:origin x="0" y="-1848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-1758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ags" Target="tags/tag1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viewProps" Target="viewProp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notesMaster" Target="notesMasters/notesMaster1.xml"/><Relationship Id="rId40" Type="http://schemas.openxmlformats.org/officeDocument/2006/relationships/commentAuthors" Target="commentAuthors.xml"/><Relationship Id="rId45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theme" Target="theme/theme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handoutMaster" Target="handoutMasters/handoutMaster1.xml"/><Relationship Id="rId20" Type="http://schemas.openxmlformats.org/officeDocument/2006/relationships/slide" Target="slides/slide15.xml"/><Relationship Id="rId41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BCC9FEC9-2CDD-134F-840A-8F57484A297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EC13CF4C-D8D8-324F-AFA7-772950C2248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AB692F-B762-CF4B-A8A8-22AAB26BA03B}" type="datetimeFigureOut">
              <a:rPr lang="fr-FR" smtClean="0"/>
              <a:t>19/06/2023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C31A6AC-A6A7-3248-B6E6-95946088A41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D802CA66-22E3-C34E-89C6-B4B2A67C398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F41BAA-598B-594C-8490-B89944D016A3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936204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73A9EE-EAD2-0C48-AEF4-C2D4DC6DFEA0}" type="datetimeFigureOut">
              <a:rPr lang="fr-FR" smtClean="0"/>
              <a:t>19/06/2023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73AB8B-6D17-C244-B144-C2D3D1B3AB3D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135935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73AB8B-6D17-C244-B144-C2D3D1B3AB3D}" type="slidenum">
              <a:rPr lang="fr-FR" smtClean="0"/>
              <a:t>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409619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73AB8B-6D17-C244-B144-C2D3D1B3AB3D}" type="slidenum">
              <a:rPr lang="fr-FR" smtClean="0"/>
              <a:t>1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410429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73AB8B-6D17-C244-B144-C2D3D1B3AB3D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183199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73AB8B-6D17-C244-B144-C2D3D1B3AB3D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310733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73AB8B-6D17-C244-B144-C2D3D1B3AB3D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85090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73AB8B-6D17-C244-B144-C2D3D1B3AB3D}" type="slidenum">
              <a:rPr lang="fr-FR" smtClean="0"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169291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73AB8B-6D17-C244-B144-C2D3D1B3AB3D}" type="slidenum">
              <a:rPr lang="fr-FR" smtClean="0"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677578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73AB8B-6D17-C244-B144-C2D3D1B3AB3D}" type="slidenum">
              <a:rPr lang="fr-FR" smtClean="0"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245244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73AB8B-6D17-C244-B144-C2D3D1B3AB3D}" type="slidenum">
              <a:rPr lang="fr-FR" smtClean="0"/>
              <a:t>2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691422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°1 CNAM Couverture avec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pour une image  2">
            <a:extLst>
              <a:ext uri="{FF2B5EF4-FFF2-40B4-BE49-F238E27FC236}">
                <a16:creationId xmlns:a16="http://schemas.microsoft.com/office/drawing/2014/main" id="{4A942647-1398-2A41-AAA1-AA7C84CCEB7A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507201" y="2188868"/>
            <a:ext cx="11178000" cy="41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400" b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lang="fr-FR" dirty="0"/>
          </a:p>
        </p:txBody>
      </p:sp>
      <p:pic>
        <p:nvPicPr>
          <p:cNvPr id="6" name="Image 5" descr="Une image contenant alimentation&#10;&#10;Description générée automatiquement" title="Sécurité sociale - l'Assurance Maladie : Agir ensemble, protéger chacun ">
            <a:extLst>
              <a:ext uri="{FF2B5EF4-FFF2-40B4-BE49-F238E27FC236}">
                <a16:creationId xmlns:a16="http://schemas.microsoft.com/office/drawing/2014/main" id="{6C1F8D08-6EB0-422B-93A1-7AFDDC66FE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079" t="13944" r="62" b="12486"/>
          <a:stretch/>
        </p:blipFill>
        <p:spPr>
          <a:xfrm>
            <a:off x="536575" y="279400"/>
            <a:ext cx="4705350" cy="1689100"/>
          </a:xfrm>
          <a:prstGeom prst="rect">
            <a:avLst/>
          </a:prstGeom>
        </p:spPr>
      </p:pic>
      <p:sp>
        <p:nvSpPr>
          <p:cNvPr id="22" name="Titre 1">
            <a:extLst>
              <a:ext uri="{FF2B5EF4-FFF2-40B4-BE49-F238E27FC236}">
                <a16:creationId xmlns:a16="http://schemas.microsoft.com/office/drawing/2014/main" id="{08C5C4EE-51F7-9940-9606-76F8D4D73B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6801" y="2188868"/>
            <a:ext cx="11193074" cy="4157999"/>
          </a:xfrm>
          <a:prstGeom prst="rect">
            <a:avLst/>
          </a:prstGeom>
          <a:noFill/>
        </p:spPr>
        <p:txBody>
          <a:bodyPr lIns="251999" tIns="270000" rIns="90000" bIns="46800" anchor="t">
            <a:normAutofit/>
          </a:bodyPr>
          <a:lstStyle>
            <a:lvl1pPr algn="l">
              <a:lnSpc>
                <a:spcPct val="120000"/>
              </a:lnSpc>
              <a:spcAft>
                <a:spcPts val="0"/>
              </a:spcAft>
              <a:defRPr sz="4100"/>
            </a:lvl1pPr>
          </a:lstStyle>
          <a:p>
            <a:r>
              <a:rPr lang="fr-FR" dirty="0"/>
              <a:t>CLIQUEZ POUR AJOUTER UN TITRE</a:t>
            </a:r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03F3D622-9637-41B2-A77E-476826BB4A98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9899487" y="6372000"/>
            <a:ext cx="1800000" cy="288000"/>
          </a:xfrm>
        </p:spPr>
        <p:txBody>
          <a:bodyPr/>
          <a:lstStyle/>
          <a:p>
            <a:fld id="{7A90C9BA-8212-E643-99E2-71E2B6F6098A}" type="datetime1">
              <a:rPr lang="fr-FR" smtClean="0"/>
              <a:t>19/06/2023</a:t>
            </a:fld>
            <a:endParaRPr lang="fr-FR" dirty="0"/>
          </a:p>
        </p:txBody>
      </p:sp>
      <p:sp>
        <p:nvSpPr>
          <p:cNvPr id="7" name="Espace réservé du texte 13"/>
          <p:cNvSpPr>
            <a:spLocks noGrp="1"/>
          </p:cNvSpPr>
          <p:nvPr>
            <p:ph type="body" sz="quarter" idx="12" hasCustomPrompt="1"/>
          </p:nvPr>
        </p:nvSpPr>
        <p:spPr>
          <a:xfrm>
            <a:off x="736518" y="5031320"/>
            <a:ext cx="10935221" cy="7524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QUEZ POUR AJOUTER UN SOUS-TITRE</a:t>
            </a:r>
          </a:p>
        </p:txBody>
      </p:sp>
      <p:sp>
        <p:nvSpPr>
          <p:cNvPr id="8" name="Espace réservé du texte 13"/>
          <p:cNvSpPr>
            <a:spLocks noGrp="1"/>
          </p:cNvSpPr>
          <p:nvPr>
            <p:ph type="body" sz="quarter" idx="13" hasCustomPrompt="1"/>
          </p:nvPr>
        </p:nvSpPr>
        <p:spPr>
          <a:xfrm>
            <a:off x="4389120" y="5943568"/>
            <a:ext cx="7276241" cy="38689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Symbol" panose="05050102010706020507" pitchFamily="18" charset="2"/>
              <a:buNone/>
              <a:tabLst/>
              <a:defRPr sz="1800" b="0" i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fr-FR" dirty="0"/>
              <a:t>Cliquez pour ajouter du texte (nom de l’entité émettrice)</a:t>
            </a:r>
          </a:p>
          <a:p>
            <a:pPr lvl="0"/>
            <a:endParaRPr lang="fr-FR" dirty="0"/>
          </a:p>
        </p:txBody>
      </p:sp>
      <p:pic>
        <p:nvPicPr>
          <p:cNvPr id="10" name="Picture 6">
            <a:extLst>
              <a:ext uri="{FF2B5EF4-FFF2-40B4-BE49-F238E27FC236}">
                <a16:creationId xmlns:a16="http://schemas.microsoft.com/office/drawing/2014/main" id="{F29FD38D-2FA1-4F09-8AD1-8D7CF3ED08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7962" y="5597786"/>
            <a:ext cx="1268644" cy="799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940985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>
            <a:extLst>
              <a:ext uri="{FF2B5EF4-FFF2-40B4-BE49-F238E27FC236}">
                <a16:creationId xmlns:a16="http://schemas.microsoft.com/office/drawing/2014/main" id="{6B3716BC-8FD3-496D-ACC7-678BE5DE6E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595" y="496971"/>
            <a:ext cx="11186809" cy="5406942"/>
          </a:xfrm>
          <a:prstGeom prst="rect">
            <a:avLst/>
          </a:prstGeom>
          <a:solidFill>
            <a:srgbClr val="E73083"/>
          </a:solidFill>
        </p:spPr>
        <p:txBody>
          <a:bodyPr lIns="396000" tIns="180000">
            <a:normAutofit/>
          </a:bodyPr>
          <a:lstStyle>
            <a:lvl1pPr algn="l">
              <a:defRPr sz="2500"/>
            </a:lvl1pPr>
          </a:lstStyle>
          <a:p>
            <a:r>
              <a:rPr lang="fr-FR" dirty="0"/>
              <a:t>SOMMAI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BF3A9F-5739-4B40-A377-C403E92DB70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198747" y="1254637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3195322" y="1808727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32F40D82-1D3E-C543-A9C8-76923BEA9D3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198747" y="2272799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86A352DF-AB9E-9B4F-AED0-504809360D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95322" y="2826889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9F35C531-5E0C-2348-94D4-E0DD456C2743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3198747" y="3290961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115F9863-8A3D-CA4E-B187-7654539E5C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95322" y="3845051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023166E1-6828-4A45-B43D-B0C2EE9820E9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3198747" y="4315607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507F5AEF-E57D-BC4A-AC62-A4381DC446A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95322" y="4869697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39" name="Espace réservé du texte 2">
            <a:extLst>
              <a:ext uri="{FF2B5EF4-FFF2-40B4-BE49-F238E27FC236}">
                <a16:creationId xmlns:a16="http://schemas.microsoft.com/office/drawing/2014/main" id="{961AF32D-B3C4-B445-80F7-88D960D0C1D1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7554360" y="1254637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40" name="Espace réservé du texte 4">
            <a:extLst>
              <a:ext uri="{FF2B5EF4-FFF2-40B4-BE49-F238E27FC236}">
                <a16:creationId xmlns:a16="http://schemas.microsoft.com/office/drawing/2014/main" id="{E72F3648-22FD-2C45-9AA6-7AC920990BE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50935" y="1808727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42" name="Espace réservé du texte 2">
            <a:extLst>
              <a:ext uri="{FF2B5EF4-FFF2-40B4-BE49-F238E27FC236}">
                <a16:creationId xmlns:a16="http://schemas.microsoft.com/office/drawing/2014/main" id="{35295063-CF4F-3C4D-B623-028D3714E8AF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554360" y="2272799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43" name="Espace réservé du texte 4">
            <a:extLst>
              <a:ext uri="{FF2B5EF4-FFF2-40B4-BE49-F238E27FC236}">
                <a16:creationId xmlns:a16="http://schemas.microsoft.com/office/drawing/2014/main" id="{DC69E802-F70E-CD47-80B7-94A25976D0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550935" y="2826889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63405BB2-EA8B-DF4F-B40D-37B864F7C344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7554360" y="3290961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46" name="Espace réservé du texte 4">
            <a:extLst>
              <a:ext uri="{FF2B5EF4-FFF2-40B4-BE49-F238E27FC236}">
                <a16:creationId xmlns:a16="http://schemas.microsoft.com/office/drawing/2014/main" id="{C96A372E-23AB-1645-B4A8-AAF1D6AE633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50935" y="3845051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E04447C2-B2BB-094A-A2D2-3EFA71DA32C1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31" name="Espace réservé du texte 6">
            <a:extLst>
              <a:ext uri="{FF2B5EF4-FFF2-40B4-BE49-F238E27FC236}">
                <a16:creationId xmlns:a16="http://schemas.microsoft.com/office/drawing/2014/main" id="{A1BD8D2E-882B-4115-BB0A-4A38D47DF6B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150567" y="1521862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5" name="Espace réservé du texte 6">
            <a:extLst>
              <a:ext uri="{FF2B5EF4-FFF2-40B4-BE49-F238E27FC236}">
                <a16:creationId xmlns:a16="http://schemas.microsoft.com/office/drawing/2014/main" id="{084485DE-C49B-4B00-B58D-6170FBE477F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150567" y="2538946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6" name="Espace réservé du texte 6">
            <a:extLst>
              <a:ext uri="{FF2B5EF4-FFF2-40B4-BE49-F238E27FC236}">
                <a16:creationId xmlns:a16="http://schemas.microsoft.com/office/drawing/2014/main" id="{8FAC638C-D037-47B5-A2D3-B689A0E7531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150567" y="3557108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7" name="Espace réservé du texte 6">
            <a:extLst>
              <a:ext uri="{FF2B5EF4-FFF2-40B4-BE49-F238E27FC236}">
                <a16:creationId xmlns:a16="http://schemas.microsoft.com/office/drawing/2014/main" id="{BCBB00D8-F4CA-4503-AFB4-6935E50F1A3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150567" y="4581754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2" name="Espace réservé du texte 6">
            <a:extLst>
              <a:ext uri="{FF2B5EF4-FFF2-40B4-BE49-F238E27FC236}">
                <a16:creationId xmlns:a16="http://schemas.microsoft.com/office/drawing/2014/main" id="{466F3304-30B1-4357-B802-6A687D0B9E6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512502" y="1521862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3" name="Espace réservé du texte 6">
            <a:extLst>
              <a:ext uri="{FF2B5EF4-FFF2-40B4-BE49-F238E27FC236}">
                <a16:creationId xmlns:a16="http://schemas.microsoft.com/office/drawing/2014/main" id="{6A33E5C5-DEB2-4E8A-8A19-D6622B086DA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12502" y="2538946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4" name="Espace réservé du texte 6">
            <a:extLst>
              <a:ext uri="{FF2B5EF4-FFF2-40B4-BE49-F238E27FC236}">
                <a16:creationId xmlns:a16="http://schemas.microsoft.com/office/drawing/2014/main" id="{F21ADA1C-A3AB-4AC8-A63A-C3E2AE47095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512502" y="3557108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835581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verture de 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5338D63-7F58-4C41-967C-A9B0AAD4A3E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04000" y="496800"/>
            <a:ext cx="11185200" cy="5407113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BF3A9F-5739-4B40-A377-C403E92DB70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538560" y="1700171"/>
            <a:ext cx="2880000" cy="1299879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88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1538558" y="3000049"/>
            <a:ext cx="7560000" cy="169200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20000"/>
              </a:lnSpc>
              <a:buNone/>
              <a:defRPr sz="38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 sur plusieurs lignes</a:t>
            </a:r>
          </a:p>
        </p:txBody>
      </p:sp>
      <p:sp>
        <p:nvSpPr>
          <p:cNvPr id="50" name="Espace réservé du numéro de diapositive 49">
            <a:extLst>
              <a:ext uri="{FF2B5EF4-FFF2-40B4-BE49-F238E27FC236}">
                <a16:creationId xmlns:a16="http://schemas.microsoft.com/office/drawing/2014/main" id="{28BD423F-B223-3849-B9E3-A73BC014845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id="{73D67ACB-3E0F-4ED7-8607-B138A3FD73A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47961" y="2283861"/>
            <a:ext cx="28800" cy="2422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540802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uverture de 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5338D63-7F58-4C41-967C-A9B0AAD4A3E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04000" y="496800"/>
            <a:ext cx="11185200" cy="5407113"/>
          </a:xfrm>
          <a:prstGeom prst="rect">
            <a:avLst/>
          </a:prstGeom>
          <a:solidFill>
            <a:srgbClr val="2A9CA9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BF3A9F-5739-4B40-A377-C403E92DB70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538560" y="1700171"/>
            <a:ext cx="2880000" cy="1299879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88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1538558" y="3000049"/>
            <a:ext cx="7560000" cy="169200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20000"/>
              </a:lnSpc>
              <a:buNone/>
              <a:defRPr sz="38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 sur plusieurs lignes</a:t>
            </a:r>
          </a:p>
        </p:txBody>
      </p:sp>
      <p:sp>
        <p:nvSpPr>
          <p:cNvPr id="50" name="Espace réservé du numéro de diapositive 49">
            <a:extLst>
              <a:ext uri="{FF2B5EF4-FFF2-40B4-BE49-F238E27FC236}">
                <a16:creationId xmlns:a16="http://schemas.microsoft.com/office/drawing/2014/main" id="{28BD423F-B223-3849-B9E3-A73BC014845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id="{73D67ACB-3E0F-4ED7-8607-B138A3FD73A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47961" y="2283861"/>
            <a:ext cx="28800" cy="2422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25750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uverture de 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5338D63-7F58-4C41-967C-A9B0AAD4A3E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04000" y="496800"/>
            <a:ext cx="11185200" cy="5407113"/>
          </a:xfrm>
          <a:prstGeom prst="rect">
            <a:avLst/>
          </a:prstGeom>
          <a:solidFill>
            <a:srgbClr val="E87C54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BF3A9F-5739-4B40-A377-C403E92DB70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538560" y="1700171"/>
            <a:ext cx="2880000" cy="1299879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88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1538558" y="3000049"/>
            <a:ext cx="7560000" cy="169200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20000"/>
              </a:lnSpc>
              <a:buNone/>
              <a:defRPr sz="38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 sur plusieurs lignes</a:t>
            </a:r>
          </a:p>
        </p:txBody>
      </p:sp>
      <p:sp>
        <p:nvSpPr>
          <p:cNvPr id="50" name="Espace réservé du numéro de diapositive 49">
            <a:extLst>
              <a:ext uri="{FF2B5EF4-FFF2-40B4-BE49-F238E27FC236}">
                <a16:creationId xmlns:a16="http://schemas.microsoft.com/office/drawing/2014/main" id="{28BD423F-B223-3849-B9E3-A73BC014845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id="{73D67ACB-3E0F-4ED7-8607-B138A3FD73A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47961" y="2283861"/>
            <a:ext cx="28800" cy="2422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418600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uverture de 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5338D63-7F58-4C41-967C-A9B0AAD4A3E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04000" y="496800"/>
            <a:ext cx="11185200" cy="5407113"/>
          </a:xfrm>
          <a:prstGeom prst="rect">
            <a:avLst/>
          </a:prstGeom>
          <a:solidFill>
            <a:srgbClr val="E7308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BF3A9F-5739-4B40-A377-C403E92DB70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538560" y="1700171"/>
            <a:ext cx="2880000" cy="1299879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88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1538558" y="3000049"/>
            <a:ext cx="7560000" cy="169200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20000"/>
              </a:lnSpc>
              <a:buNone/>
              <a:defRPr sz="38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 sur plusieurs lignes</a:t>
            </a:r>
          </a:p>
        </p:txBody>
      </p:sp>
      <p:sp>
        <p:nvSpPr>
          <p:cNvPr id="50" name="Espace réservé du numéro de diapositive 49">
            <a:extLst>
              <a:ext uri="{FF2B5EF4-FFF2-40B4-BE49-F238E27FC236}">
                <a16:creationId xmlns:a16="http://schemas.microsoft.com/office/drawing/2014/main" id="{28BD423F-B223-3849-B9E3-A73BC014845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id="{73D67ACB-3E0F-4ED7-8607-B138A3FD73A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47961" y="2283861"/>
            <a:ext cx="28800" cy="2422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565706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verture de sous-part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5338D63-7F58-4C41-967C-A9B0AAD4A3E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04000" y="496800"/>
            <a:ext cx="11185200" cy="5407113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1538558" y="3000049"/>
            <a:ext cx="7560000" cy="169200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20000"/>
              </a:lnSpc>
              <a:buNone/>
              <a:defRPr sz="3800" b="0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E LA SOUS-PARTIE SUR PLUSIEURS LIGNES</a:t>
            </a:r>
          </a:p>
        </p:txBody>
      </p:sp>
      <p:sp>
        <p:nvSpPr>
          <p:cNvPr id="50" name="Espace réservé du numéro de diapositive 49">
            <a:extLst>
              <a:ext uri="{FF2B5EF4-FFF2-40B4-BE49-F238E27FC236}">
                <a16:creationId xmlns:a16="http://schemas.microsoft.com/office/drawing/2014/main" id="{28BD423F-B223-3849-B9E3-A73BC014845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id="{73D67ACB-3E0F-4ED7-8607-B138A3FD73A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 flipH="1">
            <a:off x="1376760" y="2968283"/>
            <a:ext cx="45719" cy="17383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049737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uverture de sous-part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5338D63-7F58-4C41-967C-A9B0AAD4A3E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04000" y="496800"/>
            <a:ext cx="11185200" cy="5407113"/>
          </a:xfrm>
          <a:prstGeom prst="rect">
            <a:avLst/>
          </a:prstGeom>
          <a:solidFill>
            <a:srgbClr val="2A9CA9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0" name="Espace réservé du numéro de diapositive 49">
            <a:extLst>
              <a:ext uri="{FF2B5EF4-FFF2-40B4-BE49-F238E27FC236}">
                <a16:creationId xmlns:a16="http://schemas.microsoft.com/office/drawing/2014/main" id="{28BD423F-B223-3849-B9E3-A73BC014845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1538558" y="3000049"/>
            <a:ext cx="7560000" cy="1692000"/>
          </a:xfrm>
          <a:prstGeom prst="rect">
            <a:avLst/>
          </a:prstGeom>
        </p:spPr>
        <p:txBody>
          <a:bodyPr anchor="t"/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Symbol" panose="05050102010706020507" pitchFamily="18" charset="2"/>
              <a:buNone/>
              <a:tabLst/>
              <a:defRPr sz="3800" b="0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fr-FR" dirty="0"/>
              <a:t>TITRE DE LA SOUS-PARTIE SUR PLUSIEURS LIGNES</a:t>
            </a:r>
          </a:p>
          <a:p>
            <a:pPr lvl="0"/>
            <a:endParaRPr lang="fr-FR" dirty="0"/>
          </a:p>
        </p:txBody>
      </p:sp>
      <p:sp>
        <p:nvSpPr>
          <p:cNvPr id="9" name="Espace réservé du texte 6">
            <a:extLst>
              <a:ext uri="{FF2B5EF4-FFF2-40B4-BE49-F238E27FC236}">
                <a16:creationId xmlns:a16="http://schemas.microsoft.com/office/drawing/2014/main" id="{73D67ACB-3E0F-4ED7-8607-B138A3FD73A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 flipH="1">
            <a:off x="1376760" y="2968283"/>
            <a:ext cx="45719" cy="17383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606047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uverture de sous-part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5338D63-7F58-4C41-967C-A9B0AAD4A3E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04000" y="496800"/>
            <a:ext cx="11185200" cy="5407113"/>
          </a:xfrm>
          <a:prstGeom prst="rect">
            <a:avLst/>
          </a:prstGeom>
          <a:solidFill>
            <a:srgbClr val="E87C54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0" name="Espace réservé du numéro de diapositive 49">
            <a:extLst>
              <a:ext uri="{FF2B5EF4-FFF2-40B4-BE49-F238E27FC236}">
                <a16:creationId xmlns:a16="http://schemas.microsoft.com/office/drawing/2014/main" id="{28BD423F-B223-3849-B9E3-A73BC014845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1538558" y="3000049"/>
            <a:ext cx="7560000" cy="1692000"/>
          </a:xfrm>
          <a:prstGeom prst="rect">
            <a:avLst/>
          </a:prstGeom>
        </p:spPr>
        <p:txBody>
          <a:bodyPr anchor="t"/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Symbol" panose="05050102010706020507" pitchFamily="18" charset="2"/>
              <a:buNone/>
              <a:tabLst/>
              <a:defRPr sz="3800" b="0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fr-FR" dirty="0"/>
              <a:t>TITRE DE LA SOUS-PARTIE SUR PLUSIEURS LIGNES</a:t>
            </a:r>
          </a:p>
          <a:p>
            <a:pPr lvl="0"/>
            <a:endParaRPr lang="fr-FR" dirty="0"/>
          </a:p>
        </p:txBody>
      </p:sp>
      <p:sp>
        <p:nvSpPr>
          <p:cNvPr id="9" name="Espace réservé du texte 6">
            <a:extLst>
              <a:ext uri="{FF2B5EF4-FFF2-40B4-BE49-F238E27FC236}">
                <a16:creationId xmlns:a16="http://schemas.microsoft.com/office/drawing/2014/main" id="{73D67ACB-3E0F-4ED7-8607-B138A3FD73A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 flipH="1">
            <a:off x="1376760" y="2968283"/>
            <a:ext cx="45719" cy="17383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730113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uverture de sous-part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5338D63-7F58-4C41-967C-A9B0AAD4A3E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04000" y="496800"/>
            <a:ext cx="11185200" cy="5407113"/>
          </a:xfrm>
          <a:prstGeom prst="rect">
            <a:avLst/>
          </a:prstGeom>
          <a:solidFill>
            <a:srgbClr val="E7308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0" name="Espace réservé du numéro de diapositive 49">
            <a:extLst>
              <a:ext uri="{FF2B5EF4-FFF2-40B4-BE49-F238E27FC236}">
                <a16:creationId xmlns:a16="http://schemas.microsoft.com/office/drawing/2014/main" id="{28BD423F-B223-3849-B9E3-A73BC014845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1538558" y="3000049"/>
            <a:ext cx="7560000" cy="1692000"/>
          </a:xfrm>
          <a:prstGeom prst="rect">
            <a:avLst/>
          </a:prstGeom>
        </p:spPr>
        <p:txBody>
          <a:bodyPr anchor="t"/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Symbol" panose="05050102010706020507" pitchFamily="18" charset="2"/>
              <a:buNone/>
              <a:tabLst/>
              <a:defRPr sz="3800" b="0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fr-FR" dirty="0"/>
              <a:t>TITRE DE LA SOUS-PARTIE SUR PLUSIEURS LIGNES</a:t>
            </a:r>
          </a:p>
          <a:p>
            <a:pPr lvl="0"/>
            <a:endParaRPr lang="fr-FR" dirty="0"/>
          </a:p>
        </p:txBody>
      </p:sp>
      <p:sp>
        <p:nvSpPr>
          <p:cNvPr id="9" name="Espace réservé du texte 6">
            <a:extLst>
              <a:ext uri="{FF2B5EF4-FFF2-40B4-BE49-F238E27FC236}">
                <a16:creationId xmlns:a16="http://schemas.microsoft.com/office/drawing/2014/main" id="{73D67ACB-3E0F-4ED7-8607-B138A3FD73A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 flipH="1">
            <a:off x="1376760" y="2968283"/>
            <a:ext cx="45719" cy="17383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726316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CF3B943-80A1-4E09-AFBA-4C7EDC0AD2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3094" y="2087563"/>
            <a:ext cx="10422019" cy="37671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34E310A-4CEE-7246-82CD-435F6B104E3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D70E81EC-A4CC-46F3-8A94-BB7AD42F7D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Cliquez pour ajouter un titre</a:t>
            </a:r>
          </a:p>
        </p:txBody>
      </p:sp>
    </p:spTree>
    <p:extLst>
      <p:ext uri="{BB962C8B-B14F-4D97-AF65-F5344CB8AC3E}">
        <p14:creationId xmlns:p14="http://schemas.microsoft.com/office/powerpoint/2010/main" val="299524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°2 CNAM Couverture fond couleur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Une image contenant alimentation&#10;&#10;Description générée automatiquement" title="Sécurité sociale - l'Assurance Maladie : Agir ensemble, protéger chacun ">
            <a:extLst>
              <a:ext uri="{FF2B5EF4-FFF2-40B4-BE49-F238E27FC236}">
                <a16:creationId xmlns:a16="http://schemas.microsoft.com/office/drawing/2014/main" id="{62AF9597-0C86-4349-A32D-827983D78E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079" t="13944" r="62" b="12486"/>
          <a:stretch/>
        </p:blipFill>
        <p:spPr>
          <a:xfrm>
            <a:off x="536575" y="279400"/>
            <a:ext cx="4705350" cy="1689100"/>
          </a:xfrm>
          <a:prstGeom prst="rect">
            <a:avLst/>
          </a:prstGeom>
        </p:spPr>
      </p:pic>
      <p:sp>
        <p:nvSpPr>
          <p:cNvPr id="9" name="Espace réservé pour une image  2">
            <a:extLst>
              <a:ext uri="{FF2B5EF4-FFF2-40B4-BE49-F238E27FC236}">
                <a16:creationId xmlns:a16="http://schemas.microsoft.com/office/drawing/2014/main" id="{4A942647-1398-2A41-AAA1-AA7C84CCEB7A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6437375" y="2188868"/>
            <a:ext cx="5247825" cy="41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400" b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lang="fr-FR" dirty="0"/>
          </a:p>
        </p:txBody>
      </p:sp>
      <p:sp>
        <p:nvSpPr>
          <p:cNvPr id="10" name="Titre 1">
            <a:extLst>
              <a:ext uri="{FF2B5EF4-FFF2-40B4-BE49-F238E27FC236}">
                <a16:creationId xmlns:a16="http://schemas.microsoft.com/office/drawing/2014/main" id="{61993A03-7512-D045-9F2A-F91E04EFA9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6800" y="2188868"/>
            <a:ext cx="5930575" cy="4157999"/>
          </a:xfrm>
          <a:prstGeom prst="rect">
            <a:avLst/>
          </a:prstGeom>
          <a:solidFill>
            <a:schemeClr val="tx1"/>
          </a:solidFill>
        </p:spPr>
        <p:txBody>
          <a:bodyPr lIns="251999" tIns="270000" rIns="90000" bIns="46800" anchor="t">
            <a:normAutofit/>
          </a:bodyPr>
          <a:lstStyle>
            <a:lvl1pPr algn="l">
              <a:lnSpc>
                <a:spcPct val="120000"/>
              </a:lnSpc>
              <a:spcAft>
                <a:spcPts val="0"/>
              </a:spcAft>
              <a:defRPr sz="4100"/>
            </a:lvl1pPr>
          </a:lstStyle>
          <a:p>
            <a:r>
              <a:rPr lang="fr-FR" dirty="0"/>
              <a:t>CLIQUEZ POUR AJOUTER UN TITR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4B17E3FC-C8AD-432C-B477-A8A2BEAFFBF7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9900000" y="6372000"/>
            <a:ext cx="1800000" cy="288000"/>
          </a:xfrm>
        </p:spPr>
        <p:txBody>
          <a:bodyPr/>
          <a:lstStyle/>
          <a:p>
            <a:fld id="{B8C3EE7F-F74B-C644-8F10-503D241C2E0D}" type="datetime1">
              <a:rPr lang="fr-FR" smtClean="0"/>
              <a:t>19/06/2023</a:t>
            </a:fld>
            <a:endParaRPr lang="fr-FR" dirty="0"/>
          </a:p>
        </p:txBody>
      </p:sp>
      <p:sp>
        <p:nvSpPr>
          <p:cNvPr id="6" name="Espace réservé du texte 13"/>
          <p:cNvSpPr>
            <a:spLocks noGrp="1"/>
          </p:cNvSpPr>
          <p:nvPr>
            <p:ph type="body" sz="quarter" idx="12" hasCustomPrompt="1"/>
          </p:nvPr>
        </p:nvSpPr>
        <p:spPr>
          <a:xfrm>
            <a:off x="701459" y="4989120"/>
            <a:ext cx="5724394" cy="7524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QUEZ POUR AJOUTER UN SOUS-TITRE</a:t>
            </a:r>
          </a:p>
        </p:txBody>
      </p:sp>
      <p:sp>
        <p:nvSpPr>
          <p:cNvPr id="8" name="Espace réservé du texte 13"/>
          <p:cNvSpPr>
            <a:spLocks noGrp="1"/>
          </p:cNvSpPr>
          <p:nvPr>
            <p:ph type="body" sz="quarter" idx="13" hasCustomPrompt="1"/>
          </p:nvPr>
        </p:nvSpPr>
        <p:spPr>
          <a:xfrm>
            <a:off x="4951828" y="5987313"/>
            <a:ext cx="6748047" cy="329080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18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quez pour ajouter du texte (nom de l’entité émettrice)</a:t>
            </a:r>
          </a:p>
        </p:txBody>
      </p:sp>
      <p:pic>
        <p:nvPicPr>
          <p:cNvPr id="11" name="Picture 6">
            <a:extLst>
              <a:ext uri="{FF2B5EF4-FFF2-40B4-BE49-F238E27FC236}">
                <a16:creationId xmlns:a16="http://schemas.microsoft.com/office/drawing/2014/main" id="{66E2E0DF-17C4-4CDE-B40F-FCE3530A72C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7962" y="5597786"/>
            <a:ext cx="1268644" cy="799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476995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2B4DC679-F54F-4846-9912-E80DB1F86B4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3094" y="2087563"/>
            <a:ext cx="10422019" cy="37671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34E310A-4CEE-7246-82CD-435F6B104E3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D70E81EC-A4CC-46F3-8A94-BB7AD42F7D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rgbClr val="2A9CA9"/>
          </a:solidFill>
        </p:spPr>
        <p:txBody>
          <a:bodyPr/>
          <a:lstStyle/>
          <a:p>
            <a:r>
              <a:rPr lang="fr-FR" dirty="0"/>
              <a:t>Cliquez pour ajouter un titre</a:t>
            </a:r>
          </a:p>
        </p:txBody>
      </p:sp>
    </p:spTree>
    <p:extLst>
      <p:ext uri="{BB962C8B-B14F-4D97-AF65-F5344CB8AC3E}">
        <p14:creationId xmlns:p14="http://schemas.microsoft.com/office/powerpoint/2010/main" val="3928303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98C1329A-664A-4E28-B644-3636A328F32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3094" y="2087563"/>
            <a:ext cx="10422019" cy="37671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34E310A-4CEE-7246-82CD-435F6B104E3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D70E81EC-A4CC-46F3-8A94-BB7AD42F7D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rgbClr val="E87C54"/>
          </a:solidFill>
        </p:spPr>
        <p:txBody>
          <a:bodyPr/>
          <a:lstStyle/>
          <a:p>
            <a:r>
              <a:rPr lang="fr-FR" dirty="0"/>
              <a:t>Cliquez pour ajouter un titre</a:t>
            </a:r>
          </a:p>
        </p:txBody>
      </p:sp>
    </p:spTree>
    <p:extLst>
      <p:ext uri="{BB962C8B-B14F-4D97-AF65-F5344CB8AC3E}">
        <p14:creationId xmlns:p14="http://schemas.microsoft.com/office/powerpoint/2010/main" val="23845249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6D3E7924-C220-48DB-B1CD-419E6988750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3094" y="2087563"/>
            <a:ext cx="10422019" cy="37671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34E310A-4CEE-7246-82CD-435F6B104E3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D70E81EC-A4CC-46F3-8A94-BB7AD42F7D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rgbClr val="E73083"/>
          </a:solidFill>
        </p:spPr>
        <p:txBody>
          <a:bodyPr/>
          <a:lstStyle/>
          <a:p>
            <a:r>
              <a:rPr lang="fr-FR" dirty="0"/>
              <a:t>Cliquez pour ajouter un titre</a:t>
            </a:r>
          </a:p>
        </p:txBody>
      </p:sp>
    </p:spTree>
    <p:extLst>
      <p:ext uri="{BB962C8B-B14F-4D97-AF65-F5344CB8AC3E}">
        <p14:creationId xmlns:p14="http://schemas.microsoft.com/office/powerpoint/2010/main" val="1387982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4CFFACC-99FF-5840-ABC3-B3AEF7EC5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86A2F40-717A-4467-A28B-580C93033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Cliquez pour ajouter un t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8D111AFF-88E4-7141-894B-53BBBE1918B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096660" y="1609595"/>
            <a:ext cx="5595938" cy="429431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insérer un élément</a:t>
            </a:r>
          </a:p>
        </p:txBody>
      </p:sp>
      <p:sp>
        <p:nvSpPr>
          <p:cNvPr id="6" name="Espace réservé du texte 4">
            <a:extLst>
              <a:ext uri="{FF2B5EF4-FFF2-40B4-BE49-F238E27FC236}">
                <a16:creationId xmlns:a16="http://schemas.microsoft.com/office/drawing/2014/main" id="{64C7CDFE-DF95-4CA3-98A5-7BD20AEBF1A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8661" y="2087563"/>
            <a:ext cx="5220000" cy="3816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453228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4CFFACC-99FF-5840-ABC3-B3AEF7EC5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86A2F40-717A-4467-A28B-580C93033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rgbClr val="2A9CA9"/>
          </a:solidFill>
        </p:spPr>
        <p:txBody>
          <a:bodyPr/>
          <a:lstStyle/>
          <a:p>
            <a:r>
              <a:rPr lang="fr-FR" dirty="0"/>
              <a:t>Cliquez pour ajouter un t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8D111AFF-88E4-7141-894B-53BBBE1918B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096660" y="1609595"/>
            <a:ext cx="5595938" cy="429431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insérer un élément</a:t>
            </a:r>
          </a:p>
        </p:txBody>
      </p:sp>
      <p:sp>
        <p:nvSpPr>
          <p:cNvPr id="6" name="Espace réservé du texte 4">
            <a:extLst>
              <a:ext uri="{FF2B5EF4-FFF2-40B4-BE49-F238E27FC236}">
                <a16:creationId xmlns:a16="http://schemas.microsoft.com/office/drawing/2014/main" id="{30FA6ADF-24F5-4136-844C-F6784D4250A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8661" y="2087563"/>
            <a:ext cx="5220000" cy="3816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7543294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e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4CFFACC-99FF-5840-ABC3-B3AEF7EC5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86A2F40-717A-4467-A28B-580C93033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rgbClr val="E87C54"/>
          </a:solidFill>
        </p:spPr>
        <p:txBody>
          <a:bodyPr/>
          <a:lstStyle/>
          <a:p>
            <a:r>
              <a:rPr lang="fr-FR" dirty="0"/>
              <a:t>Cliquez pour ajouter un t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8D111AFF-88E4-7141-894B-53BBBE1918B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096660" y="1609595"/>
            <a:ext cx="5595938" cy="429431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insérer un élément</a:t>
            </a:r>
          </a:p>
        </p:txBody>
      </p:sp>
      <p:sp>
        <p:nvSpPr>
          <p:cNvPr id="6" name="Espace réservé du texte 4">
            <a:extLst>
              <a:ext uri="{FF2B5EF4-FFF2-40B4-BE49-F238E27FC236}">
                <a16:creationId xmlns:a16="http://schemas.microsoft.com/office/drawing/2014/main" id="{6ADE6774-34F3-49AC-A02F-D0366059DC4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8661" y="2087563"/>
            <a:ext cx="5220000" cy="3816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247403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e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4CFFACC-99FF-5840-ABC3-B3AEF7EC5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86A2F40-717A-4467-A28B-580C93033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rgbClr val="E73083"/>
          </a:solidFill>
        </p:spPr>
        <p:txBody>
          <a:bodyPr/>
          <a:lstStyle/>
          <a:p>
            <a:r>
              <a:rPr lang="fr-FR" dirty="0"/>
              <a:t>Cliquez pour ajouter un t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8D111AFF-88E4-7141-894B-53BBBE1918B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096660" y="1609595"/>
            <a:ext cx="5595938" cy="429431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insérer un élément</a:t>
            </a:r>
          </a:p>
        </p:txBody>
      </p:sp>
      <p:sp>
        <p:nvSpPr>
          <p:cNvPr id="6" name="Espace réservé du texte 4">
            <a:extLst>
              <a:ext uri="{FF2B5EF4-FFF2-40B4-BE49-F238E27FC236}">
                <a16:creationId xmlns:a16="http://schemas.microsoft.com/office/drawing/2014/main" id="{D662AE38-9407-4D2E-9CC9-7BB7DE45925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8661" y="2087563"/>
            <a:ext cx="5220000" cy="3816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6876794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e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4CFFACC-99FF-5840-ABC3-B3AEF7EC5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86A2F40-717A-4467-A28B-580C93033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chemeClr val="accent4"/>
          </a:solidFill>
        </p:spPr>
        <p:txBody>
          <a:bodyPr/>
          <a:lstStyle/>
          <a:p>
            <a:r>
              <a:rPr lang="fr-FR" dirty="0"/>
              <a:t>Cliquez pour ajouter un t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8D111AFF-88E4-7141-894B-53BBBE1918B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096660" y="1609595"/>
            <a:ext cx="5595938" cy="429431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insérer un élément</a:t>
            </a:r>
          </a:p>
        </p:txBody>
      </p:sp>
      <p:sp>
        <p:nvSpPr>
          <p:cNvPr id="6" name="Espace réservé du texte 4">
            <a:extLst>
              <a:ext uri="{FF2B5EF4-FFF2-40B4-BE49-F238E27FC236}">
                <a16:creationId xmlns:a16="http://schemas.microsoft.com/office/drawing/2014/main" id="{4C16A07E-A0DC-4D23-A540-5B576EF46D1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8661" y="2087563"/>
            <a:ext cx="5220000" cy="3816350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2944003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4CFFACC-99FF-5840-ABC3-B3AEF7EC5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86A2F40-717A-4467-A28B-580C93033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Cliquez pour ajouter un t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8D111AFF-88E4-7141-894B-53BBBE1918B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98660" y="1609595"/>
            <a:ext cx="11193938" cy="429431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insérer un élément</a:t>
            </a:r>
          </a:p>
        </p:txBody>
      </p:sp>
    </p:spTree>
    <p:extLst>
      <p:ext uri="{BB962C8B-B14F-4D97-AF65-F5344CB8AC3E}">
        <p14:creationId xmlns:p14="http://schemas.microsoft.com/office/powerpoint/2010/main" val="295840392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4CFFACC-99FF-5840-ABC3-B3AEF7EC5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86A2F40-717A-4467-A28B-580C93033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rgbClr val="2A9CA9"/>
          </a:solidFill>
        </p:spPr>
        <p:txBody>
          <a:bodyPr/>
          <a:lstStyle/>
          <a:p>
            <a:r>
              <a:rPr lang="fr-FR" dirty="0"/>
              <a:t>Cliquez pour ajouter un t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8D111AFF-88E4-7141-894B-53BBBE1918B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98660" y="1609595"/>
            <a:ext cx="11193938" cy="429431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insérer un élément</a:t>
            </a:r>
          </a:p>
        </p:txBody>
      </p:sp>
    </p:spTree>
    <p:extLst>
      <p:ext uri="{BB962C8B-B14F-4D97-AF65-F5344CB8AC3E}">
        <p14:creationId xmlns:p14="http://schemas.microsoft.com/office/powerpoint/2010/main" val="25369632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°3 CNAM Couverture fond coule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Une image contenant alimentation&#10;&#10;Description générée automatiquement" title="Sécurité sociale - l'Assurance Maladie : Agir ensemble, protéger chacun ">
            <a:extLst>
              <a:ext uri="{FF2B5EF4-FFF2-40B4-BE49-F238E27FC236}">
                <a16:creationId xmlns:a16="http://schemas.microsoft.com/office/drawing/2014/main" id="{5FCC7EBB-3471-4590-8C18-BE9203E2E6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079" t="13944" r="62" b="12486"/>
          <a:stretch/>
        </p:blipFill>
        <p:spPr>
          <a:xfrm>
            <a:off x="536575" y="279400"/>
            <a:ext cx="4705350" cy="1689100"/>
          </a:xfrm>
          <a:prstGeom prst="rect">
            <a:avLst/>
          </a:prstGeom>
        </p:spPr>
      </p:pic>
      <p:sp>
        <p:nvSpPr>
          <p:cNvPr id="10" name="Titre 1">
            <a:extLst>
              <a:ext uri="{FF2B5EF4-FFF2-40B4-BE49-F238E27FC236}">
                <a16:creationId xmlns:a16="http://schemas.microsoft.com/office/drawing/2014/main" id="{61993A03-7512-D045-9F2A-F91E04EFA9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6800" y="2188868"/>
            <a:ext cx="11178400" cy="4157999"/>
          </a:xfrm>
          <a:prstGeom prst="rect">
            <a:avLst/>
          </a:prstGeom>
          <a:solidFill>
            <a:schemeClr val="tx1"/>
          </a:solidFill>
        </p:spPr>
        <p:txBody>
          <a:bodyPr lIns="251999" tIns="270000" rIns="90000" bIns="46800" anchor="t">
            <a:normAutofit/>
          </a:bodyPr>
          <a:lstStyle>
            <a:lvl1pPr algn="l">
              <a:lnSpc>
                <a:spcPct val="120000"/>
              </a:lnSpc>
              <a:spcAft>
                <a:spcPts val="0"/>
              </a:spcAft>
              <a:defRPr sz="4100"/>
            </a:lvl1pPr>
          </a:lstStyle>
          <a:p>
            <a:r>
              <a:rPr lang="fr-FR" dirty="0"/>
              <a:t>CLIQUEZ POUR AJOUTER UN TITRE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92507B6F-FE6B-4F61-B061-42BC8C5E7C8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0000" y="6372000"/>
            <a:ext cx="1800000" cy="288000"/>
          </a:xfrm>
        </p:spPr>
        <p:txBody>
          <a:bodyPr/>
          <a:lstStyle/>
          <a:p>
            <a:fld id="{283CFBEF-98C3-6C4D-AECE-A89E43EA2455}" type="datetime1">
              <a:rPr lang="fr-FR" smtClean="0"/>
              <a:t>19/06/2023</a:t>
            </a:fld>
            <a:endParaRPr lang="fr-FR" dirty="0"/>
          </a:p>
        </p:txBody>
      </p:sp>
      <p:sp>
        <p:nvSpPr>
          <p:cNvPr id="8" name="Espace réservé du texte 13"/>
          <p:cNvSpPr>
            <a:spLocks noGrp="1"/>
          </p:cNvSpPr>
          <p:nvPr>
            <p:ph type="body" sz="quarter" idx="12" hasCustomPrompt="1"/>
          </p:nvPr>
        </p:nvSpPr>
        <p:spPr>
          <a:xfrm>
            <a:off x="701458" y="4834372"/>
            <a:ext cx="10935221" cy="7524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QUEZ POUR AJOUTER UN SOUS-TITRE</a:t>
            </a:r>
          </a:p>
        </p:txBody>
      </p:sp>
      <p:pic>
        <p:nvPicPr>
          <p:cNvPr id="14" name="Picture 6">
            <a:extLst>
              <a:ext uri="{FF2B5EF4-FFF2-40B4-BE49-F238E27FC236}">
                <a16:creationId xmlns:a16="http://schemas.microsoft.com/office/drawing/2014/main" id="{8F5ACDA2-FC75-4399-A724-6214615D105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7962" y="5597786"/>
            <a:ext cx="1268644" cy="799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18899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4CFFACC-99FF-5840-ABC3-B3AEF7EC5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86A2F40-717A-4467-A28B-580C93033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rgbClr val="E87C54"/>
          </a:solidFill>
        </p:spPr>
        <p:txBody>
          <a:bodyPr/>
          <a:lstStyle/>
          <a:p>
            <a:r>
              <a:rPr lang="fr-FR" dirty="0"/>
              <a:t>Cliquez pour ajouter un t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8D111AFF-88E4-7141-894B-53BBBE1918B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98660" y="1609595"/>
            <a:ext cx="11193938" cy="429431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insérer un élément</a:t>
            </a:r>
          </a:p>
        </p:txBody>
      </p:sp>
    </p:spTree>
    <p:extLst>
      <p:ext uri="{BB962C8B-B14F-4D97-AF65-F5344CB8AC3E}">
        <p14:creationId xmlns:p14="http://schemas.microsoft.com/office/powerpoint/2010/main" val="16696992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4CFFACC-99FF-5840-ABC3-B3AEF7EC5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86A2F40-717A-4467-A28B-580C93033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rgbClr val="E73083"/>
          </a:solidFill>
        </p:spPr>
        <p:txBody>
          <a:bodyPr/>
          <a:lstStyle/>
          <a:p>
            <a:r>
              <a:rPr lang="fr-FR" dirty="0"/>
              <a:t>Cliquez pour ajouter un t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8D111AFF-88E4-7141-894B-53BBBE1918B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98660" y="1609595"/>
            <a:ext cx="11193938" cy="429431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insérer un élément</a:t>
            </a:r>
          </a:p>
        </p:txBody>
      </p:sp>
    </p:spTree>
    <p:extLst>
      <p:ext uri="{BB962C8B-B14F-4D97-AF65-F5344CB8AC3E}">
        <p14:creationId xmlns:p14="http://schemas.microsoft.com/office/powerpoint/2010/main" val="370360999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4CFFACC-99FF-5840-ABC3-B3AEF7EC5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86A2F40-717A-4467-A28B-580C93033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Cliquez pour ajouter un titre</a:t>
            </a:r>
          </a:p>
        </p:txBody>
      </p:sp>
      <p:sp>
        <p:nvSpPr>
          <p:cNvPr id="10" name="Espace réservé du texte 8">
            <a:extLst>
              <a:ext uri="{FF2B5EF4-FFF2-40B4-BE49-F238E27FC236}">
                <a16:creationId xmlns:a16="http://schemas.microsoft.com/office/drawing/2014/main" id="{761F1608-1EEB-E647-B6C1-A92DFDEACC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8660" y="4888434"/>
            <a:ext cx="3527240" cy="91546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ajouter du texte</a:t>
            </a:r>
          </a:p>
        </p:txBody>
      </p:sp>
      <p:sp>
        <p:nvSpPr>
          <p:cNvPr id="11" name="Espace réservé du texte 8">
            <a:extLst>
              <a:ext uri="{FF2B5EF4-FFF2-40B4-BE49-F238E27FC236}">
                <a16:creationId xmlns:a16="http://schemas.microsoft.com/office/drawing/2014/main" id="{12396C78-3A19-AA4A-BA82-771000D34AB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33040" y="4888432"/>
            <a:ext cx="3527240" cy="915469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ajouter du texte</a:t>
            </a:r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EC2BF74E-545A-A440-902F-FA50E56110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67420" y="4888431"/>
            <a:ext cx="3527240" cy="91547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ajouter du texte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823BC6F5-8015-C948-A0DF-067DBD51FF6B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98475" y="1824038"/>
            <a:ext cx="3527425" cy="28495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Cliquez pour insérer un élément</a:t>
            </a:r>
          </a:p>
        </p:txBody>
      </p:sp>
      <p:sp>
        <p:nvSpPr>
          <p:cNvPr id="14" name="Espace réservé du contenu 4">
            <a:extLst>
              <a:ext uri="{FF2B5EF4-FFF2-40B4-BE49-F238E27FC236}">
                <a16:creationId xmlns:a16="http://schemas.microsoft.com/office/drawing/2014/main" id="{A4EA6C08-DD50-7E46-B36D-C6F5E1D6A9D7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332855" y="1824038"/>
            <a:ext cx="3527425" cy="28495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Cliquez pour insérer un élément</a:t>
            </a:r>
          </a:p>
        </p:txBody>
      </p:sp>
      <p:sp>
        <p:nvSpPr>
          <p:cNvPr id="15" name="Espace réservé du contenu 4">
            <a:extLst>
              <a:ext uri="{FF2B5EF4-FFF2-40B4-BE49-F238E27FC236}">
                <a16:creationId xmlns:a16="http://schemas.microsoft.com/office/drawing/2014/main" id="{724E9820-D288-7446-90D8-96CAB19684D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167235" y="1824038"/>
            <a:ext cx="3527425" cy="28495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Cliquez pour insérer un élément</a:t>
            </a:r>
          </a:p>
        </p:txBody>
      </p:sp>
    </p:spTree>
    <p:extLst>
      <p:ext uri="{BB962C8B-B14F-4D97-AF65-F5344CB8AC3E}">
        <p14:creationId xmlns:p14="http://schemas.microsoft.com/office/powerpoint/2010/main" val="422908762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4CFFACC-99FF-5840-ABC3-B3AEF7EC5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86A2F40-717A-4467-A28B-580C93033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rgbClr val="2A9CA9"/>
          </a:solidFill>
        </p:spPr>
        <p:txBody>
          <a:bodyPr/>
          <a:lstStyle/>
          <a:p>
            <a:r>
              <a:rPr lang="fr-FR" dirty="0"/>
              <a:t>Cliquez pour ajouter un titre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823BC6F5-8015-C948-A0DF-067DBD51FF6B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98475" y="1824038"/>
            <a:ext cx="3527425" cy="28495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Espace réservé du contenu 4">
            <a:extLst>
              <a:ext uri="{FF2B5EF4-FFF2-40B4-BE49-F238E27FC236}">
                <a16:creationId xmlns:a16="http://schemas.microsoft.com/office/drawing/2014/main" id="{A4EA6C08-DD50-7E46-B36D-C6F5E1D6A9D7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32855" y="1824038"/>
            <a:ext cx="3527425" cy="28495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space réservé du contenu 4">
            <a:extLst>
              <a:ext uri="{FF2B5EF4-FFF2-40B4-BE49-F238E27FC236}">
                <a16:creationId xmlns:a16="http://schemas.microsoft.com/office/drawing/2014/main" id="{724E9820-D288-7446-90D8-96CAB19684DA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167235" y="1824038"/>
            <a:ext cx="3527425" cy="28495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F2F5452A-EA35-364C-871A-EF7CC620C4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8660" y="4888434"/>
            <a:ext cx="3527240" cy="91546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ajouter du texte</a:t>
            </a:r>
          </a:p>
        </p:txBody>
      </p:sp>
      <p:sp>
        <p:nvSpPr>
          <p:cNvPr id="17" name="Espace réservé du texte 8">
            <a:extLst>
              <a:ext uri="{FF2B5EF4-FFF2-40B4-BE49-F238E27FC236}">
                <a16:creationId xmlns:a16="http://schemas.microsoft.com/office/drawing/2014/main" id="{826E2E5D-419D-F744-910A-52FB82C616E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33040" y="4888432"/>
            <a:ext cx="3527240" cy="915469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ajouter du texte</a:t>
            </a:r>
          </a:p>
        </p:txBody>
      </p:sp>
      <p:sp>
        <p:nvSpPr>
          <p:cNvPr id="18" name="Espace réservé du texte 8">
            <a:extLst>
              <a:ext uri="{FF2B5EF4-FFF2-40B4-BE49-F238E27FC236}">
                <a16:creationId xmlns:a16="http://schemas.microsoft.com/office/drawing/2014/main" id="{822EADD7-9147-EC4B-B04B-311375EF40B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67420" y="4888431"/>
            <a:ext cx="3527240" cy="91547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ajouter du texte</a:t>
            </a:r>
          </a:p>
        </p:txBody>
      </p:sp>
    </p:spTree>
    <p:extLst>
      <p:ext uri="{BB962C8B-B14F-4D97-AF65-F5344CB8AC3E}">
        <p14:creationId xmlns:p14="http://schemas.microsoft.com/office/powerpoint/2010/main" val="356670156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4CFFACC-99FF-5840-ABC3-B3AEF7EC5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86A2F40-717A-4467-A28B-580C93033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rgbClr val="E87C54"/>
          </a:solidFill>
        </p:spPr>
        <p:txBody>
          <a:bodyPr/>
          <a:lstStyle/>
          <a:p>
            <a:r>
              <a:rPr lang="fr-FR" dirty="0"/>
              <a:t>Cliquez pour ajouter un titre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823BC6F5-8015-C948-A0DF-067DBD51FF6B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98475" y="1824038"/>
            <a:ext cx="3527425" cy="28495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Espace réservé du contenu 4">
            <a:extLst>
              <a:ext uri="{FF2B5EF4-FFF2-40B4-BE49-F238E27FC236}">
                <a16:creationId xmlns:a16="http://schemas.microsoft.com/office/drawing/2014/main" id="{A4EA6C08-DD50-7E46-B36D-C6F5E1D6A9D7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32855" y="1824038"/>
            <a:ext cx="3527425" cy="28495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space réservé du contenu 4">
            <a:extLst>
              <a:ext uri="{FF2B5EF4-FFF2-40B4-BE49-F238E27FC236}">
                <a16:creationId xmlns:a16="http://schemas.microsoft.com/office/drawing/2014/main" id="{724E9820-D288-7446-90D8-96CAB19684DA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167235" y="1824038"/>
            <a:ext cx="3527425" cy="28495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21928D4E-4DC9-7743-8E29-22CA76F8BA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8660" y="4888434"/>
            <a:ext cx="3527240" cy="91546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ajouter du texte</a:t>
            </a:r>
          </a:p>
        </p:txBody>
      </p:sp>
      <p:sp>
        <p:nvSpPr>
          <p:cNvPr id="17" name="Espace réservé du texte 8">
            <a:extLst>
              <a:ext uri="{FF2B5EF4-FFF2-40B4-BE49-F238E27FC236}">
                <a16:creationId xmlns:a16="http://schemas.microsoft.com/office/drawing/2014/main" id="{55C896D7-F7BF-3B45-9D73-EEF39DDECB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33040" y="4888432"/>
            <a:ext cx="3527240" cy="915469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ajouter du texte</a:t>
            </a:r>
          </a:p>
        </p:txBody>
      </p:sp>
      <p:sp>
        <p:nvSpPr>
          <p:cNvPr id="18" name="Espace réservé du texte 8">
            <a:extLst>
              <a:ext uri="{FF2B5EF4-FFF2-40B4-BE49-F238E27FC236}">
                <a16:creationId xmlns:a16="http://schemas.microsoft.com/office/drawing/2014/main" id="{971C6247-F563-9D41-B02F-4C097708A15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67420" y="4888431"/>
            <a:ext cx="3527240" cy="91547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ajouter du texte</a:t>
            </a:r>
          </a:p>
        </p:txBody>
      </p:sp>
    </p:spTree>
    <p:extLst>
      <p:ext uri="{BB962C8B-B14F-4D97-AF65-F5344CB8AC3E}">
        <p14:creationId xmlns:p14="http://schemas.microsoft.com/office/powerpoint/2010/main" val="237918132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3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4CFFACC-99FF-5840-ABC3-B3AEF7EC5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86A2F40-717A-4467-A28B-580C93033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rgbClr val="E73083"/>
          </a:solidFill>
        </p:spPr>
        <p:txBody>
          <a:bodyPr/>
          <a:lstStyle/>
          <a:p>
            <a:r>
              <a:rPr lang="fr-FR" dirty="0"/>
              <a:t>Cliquez pour ajouter un titre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823BC6F5-8015-C948-A0DF-067DBD51FF6B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98475" y="1824038"/>
            <a:ext cx="3527425" cy="28495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Espace réservé du contenu 4">
            <a:extLst>
              <a:ext uri="{FF2B5EF4-FFF2-40B4-BE49-F238E27FC236}">
                <a16:creationId xmlns:a16="http://schemas.microsoft.com/office/drawing/2014/main" id="{A4EA6C08-DD50-7E46-B36D-C6F5E1D6A9D7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32855" y="1824038"/>
            <a:ext cx="3527425" cy="28495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space réservé du contenu 4">
            <a:extLst>
              <a:ext uri="{FF2B5EF4-FFF2-40B4-BE49-F238E27FC236}">
                <a16:creationId xmlns:a16="http://schemas.microsoft.com/office/drawing/2014/main" id="{724E9820-D288-7446-90D8-96CAB19684DA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167235" y="1824038"/>
            <a:ext cx="3527425" cy="28495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2F079DAE-8087-FE48-B24F-3114264C09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8660" y="4888434"/>
            <a:ext cx="3527240" cy="91546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ajouter du texte</a:t>
            </a:r>
          </a:p>
        </p:txBody>
      </p:sp>
      <p:sp>
        <p:nvSpPr>
          <p:cNvPr id="17" name="Espace réservé du texte 8">
            <a:extLst>
              <a:ext uri="{FF2B5EF4-FFF2-40B4-BE49-F238E27FC236}">
                <a16:creationId xmlns:a16="http://schemas.microsoft.com/office/drawing/2014/main" id="{F615992A-2E96-9841-A17D-A1581687B4A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33040" y="4888432"/>
            <a:ext cx="3527240" cy="915469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ajouter du texte</a:t>
            </a:r>
          </a:p>
        </p:txBody>
      </p:sp>
      <p:sp>
        <p:nvSpPr>
          <p:cNvPr id="18" name="Espace réservé du texte 8">
            <a:extLst>
              <a:ext uri="{FF2B5EF4-FFF2-40B4-BE49-F238E27FC236}">
                <a16:creationId xmlns:a16="http://schemas.microsoft.com/office/drawing/2014/main" id="{2B4AA268-8909-0A46-B5FD-C7B5494FB6F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67420" y="4888431"/>
            <a:ext cx="3527240" cy="91547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ajouter du texte</a:t>
            </a:r>
          </a:p>
        </p:txBody>
      </p:sp>
    </p:spTree>
    <p:extLst>
      <p:ext uri="{BB962C8B-B14F-4D97-AF65-F5344CB8AC3E}">
        <p14:creationId xmlns:p14="http://schemas.microsoft.com/office/powerpoint/2010/main" val="220748045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5338D63-7F58-4C41-967C-A9B0AAD4A3E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04000" y="496800"/>
            <a:ext cx="11185200" cy="5407113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0" name="Espace réservé du numéro de diapositive 49">
            <a:extLst>
              <a:ext uri="{FF2B5EF4-FFF2-40B4-BE49-F238E27FC236}">
                <a16:creationId xmlns:a16="http://schemas.microsoft.com/office/drawing/2014/main" id="{28BD423F-B223-3849-B9E3-A73BC014845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Espace réservé du texte 6">
            <a:extLst>
              <a:ext uri="{FF2B5EF4-FFF2-40B4-BE49-F238E27FC236}">
                <a16:creationId xmlns:a16="http://schemas.microsoft.com/office/drawing/2014/main" id="{C0D333F6-48EC-8A4C-A930-531E2DE5E3C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7301" y="1437861"/>
            <a:ext cx="50599" cy="13434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9F24CBFD-D250-A846-8089-C12AD963658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116013" y="1438275"/>
            <a:ext cx="7156450" cy="1343025"/>
          </a:xfrm>
          <a:prstGeom prst="rect">
            <a:avLst/>
          </a:prstGeom>
        </p:spPr>
        <p:txBody>
          <a:bodyPr/>
          <a:lstStyle>
            <a:lvl1pPr>
              <a:defRPr sz="3600" b="1" i="0" cap="all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fr-FR" dirty="0"/>
              <a:t>Cliquez pour ajouter du texte</a:t>
            </a: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0053A370-BCB9-F741-B757-FB3ED04A0B7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116013" y="3747290"/>
            <a:ext cx="2998787" cy="16383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 b="1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 dirty="0"/>
              <a:t>Cliquez pour ajouter du texte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DDEF4A67-CF56-D046-AA7C-7AF35FFB01E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392341" y="3746502"/>
            <a:ext cx="2998787" cy="16383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 b="1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quez pour ajouter du texte</a:t>
            </a:r>
          </a:p>
        </p:txBody>
      </p:sp>
      <p:sp>
        <p:nvSpPr>
          <p:cNvPr id="12" name="Espace réservé du texte 5">
            <a:extLst>
              <a:ext uri="{FF2B5EF4-FFF2-40B4-BE49-F238E27FC236}">
                <a16:creationId xmlns:a16="http://schemas.microsoft.com/office/drawing/2014/main" id="{E702EB90-1B53-5B40-B4D8-18EFA767867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668669" y="3746502"/>
            <a:ext cx="2998787" cy="16383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 b="1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quez pour ajouter du texte</a:t>
            </a:r>
          </a:p>
        </p:txBody>
      </p:sp>
    </p:spTree>
    <p:extLst>
      <p:ext uri="{BB962C8B-B14F-4D97-AF65-F5344CB8AC3E}">
        <p14:creationId xmlns:p14="http://schemas.microsoft.com/office/powerpoint/2010/main" val="410795082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761413" cy="70696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54954" y="2603500"/>
            <a:ext cx="8825659" cy="3416300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6250" y="6391838"/>
            <a:ext cx="11167453" cy="304799"/>
          </a:xfrm>
        </p:spPr>
        <p:txBody>
          <a:bodyPr/>
          <a:lstStyle/>
          <a:p>
            <a:r>
              <a:rPr lang="fr-FR" dirty="0"/>
              <a:t>11/05/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352540" y="295729"/>
            <a:ext cx="838199" cy="767687"/>
          </a:xfrm>
          <a:prstGeom prst="rect">
            <a:avLst/>
          </a:prstGeom>
        </p:spPr>
        <p:txBody>
          <a:bodyPr/>
          <a:lstStyle/>
          <a:p>
            <a:fld id="{D8F602E6-4D9D-42E9-B849-2FB7AAFA31E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014077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°1 CNAM Couverture avec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pour une image  2">
            <a:extLst>
              <a:ext uri="{FF2B5EF4-FFF2-40B4-BE49-F238E27FC236}">
                <a16:creationId xmlns:a16="http://schemas.microsoft.com/office/drawing/2014/main" id="{4A942647-1398-2A41-AAA1-AA7C84CCEB7A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507201" y="2188868"/>
            <a:ext cx="11178000" cy="41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400" b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lang="fr-FR" dirty="0"/>
          </a:p>
        </p:txBody>
      </p:sp>
      <p:pic>
        <p:nvPicPr>
          <p:cNvPr id="6" name="Image 5" descr="Une image contenant alimentation&#10;&#10;Description générée automatiquement" title="Sécurité sociale - l'Assurance Maladie : Agir ensemble, protéger chacun ">
            <a:extLst>
              <a:ext uri="{FF2B5EF4-FFF2-40B4-BE49-F238E27FC236}">
                <a16:creationId xmlns:a16="http://schemas.microsoft.com/office/drawing/2014/main" id="{6C1F8D08-6EB0-422B-93A1-7AFDDC66FE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079" t="13944" r="62" b="12486"/>
          <a:stretch/>
        </p:blipFill>
        <p:spPr>
          <a:xfrm>
            <a:off x="536575" y="279400"/>
            <a:ext cx="4705350" cy="1689100"/>
          </a:xfrm>
          <a:prstGeom prst="rect">
            <a:avLst/>
          </a:prstGeom>
        </p:spPr>
      </p:pic>
      <p:sp>
        <p:nvSpPr>
          <p:cNvPr id="22" name="Titre 1">
            <a:extLst>
              <a:ext uri="{FF2B5EF4-FFF2-40B4-BE49-F238E27FC236}">
                <a16:creationId xmlns:a16="http://schemas.microsoft.com/office/drawing/2014/main" id="{08C5C4EE-51F7-9940-9606-76F8D4D73B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6801" y="2188868"/>
            <a:ext cx="11193074" cy="4157999"/>
          </a:xfrm>
          <a:prstGeom prst="rect">
            <a:avLst/>
          </a:prstGeom>
          <a:noFill/>
        </p:spPr>
        <p:txBody>
          <a:bodyPr lIns="251999" tIns="270000" rIns="90000" bIns="46800" anchor="t">
            <a:normAutofit/>
          </a:bodyPr>
          <a:lstStyle>
            <a:lvl1pPr algn="l">
              <a:lnSpc>
                <a:spcPct val="120000"/>
              </a:lnSpc>
              <a:spcAft>
                <a:spcPts val="0"/>
              </a:spcAft>
              <a:defRPr sz="4100"/>
            </a:lvl1pPr>
          </a:lstStyle>
          <a:p>
            <a:r>
              <a:rPr lang="fr-FR" dirty="0"/>
              <a:t>CLIQUEZ POUR AJOUTER UN TITRE</a:t>
            </a:r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03F3D622-9637-41B2-A77E-476826BB4A98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9899487" y="6372000"/>
            <a:ext cx="1800000" cy="288000"/>
          </a:xfrm>
        </p:spPr>
        <p:txBody>
          <a:bodyPr/>
          <a:lstStyle/>
          <a:p>
            <a:fld id="{7A90C9BA-8212-E643-99E2-71E2B6F6098A}" type="datetime1">
              <a:rPr lang="fr-FR" smtClean="0"/>
              <a:t>19/06/2023</a:t>
            </a:fld>
            <a:endParaRPr lang="fr-FR" dirty="0"/>
          </a:p>
        </p:txBody>
      </p:sp>
      <p:sp>
        <p:nvSpPr>
          <p:cNvPr id="7" name="Espace réservé du texte 13"/>
          <p:cNvSpPr>
            <a:spLocks noGrp="1"/>
          </p:cNvSpPr>
          <p:nvPr>
            <p:ph type="body" sz="quarter" idx="12" hasCustomPrompt="1"/>
          </p:nvPr>
        </p:nvSpPr>
        <p:spPr>
          <a:xfrm>
            <a:off x="736518" y="5031320"/>
            <a:ext cx="10935221" cy="7524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QUEZ POUR AJOUTER UN SOUS-TITRE</a:t>
            </a:r>
          </a:p>
        </p:txBody>
      </p:sp>
      <p:sp>
        <p:nvSpPr>
          <p:cNvPr id="8" name="Espace réservé du texte 13"/>
          <p:cNvSpPr>
            <a:spLocks noGrp="1"/>
          </p:cNvSpPr>
          <p:nvPr>
            <p:ph type="body" sz="quarter" idx="13" hasCustomPrompt="1"/>
          </p:nvPr>
        </p:nvSpPr>
        <p:spPr>
          <a:xfrm>
            <a:off x="4389120" y="5943568"/>
            <a:ext cx="7276241" cy="38689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Symbol" panose="05050102010706020507" pitchFamily="18" charset="2"/>
              <a:buNone/>
              <a:tabLst/>
              <a:defRPr sz="1800" b="0" i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fr-FR" dirty="0"/>
              <a:t>Cliquez pour ajouter du texte (nom de l’entité émettrice)</a:t>
            </a:r>
          </a:p>
          <a:p>
            <a:pPr lvl="0"/>
            <a:endParaRPr lang="fr-FR" dirty="0"/>
          </a:p>
        </p:txBody>
      </p:sp>
      <p:pic>
        <p:nvPicPr>
          <p:cNvPr id="10" name="Picture 6">
            <a:extLst>
              <a:ext uri="{FF2B5EF4-FFF2-40B4-BE49-F238E27FC236}">
                <a16:creationId xmlns:a16="http://schemas.microsoft.com/office/drawing/2014/main" id="{F29FD38D-2FA1-4F09-8AD1-8D7CF3ED08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7962" y="5597786"/>
            <a:ext cx="1268644" cy="799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90319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°2 CNAM Couverture fond couleur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Une image contenant alimentation&#10;&#10;Description générée automatiquement" title="Sécurité sociale - l'Assurance Maladie : Agir ensemble, protéger chacun ">
            <a:extLst>
              <a:ext uri="{FF2B5EF4-FFF2-40B4-BE49-F238E27FC236}">
                <a16:creationId xmlns:a16="http://schemas.microsoft.com/office/drawing/2014/main" id="{62AF9597-0C86-4349-A32D-827983D78E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079" t="13944" r="62" b="12486"/>
          <a:stretch/>
        </p:blipFill>
        <p:spPr>
          <a:xfrm>
            <a:off x="536575" y="279400"/>
            <a:ext cx="4705350" cy="1689100"/>
          </a:xfrm>
          <a:prstGeom prst="rect">
            <a:avLst/>
          </a:prstGeom>
        </p:spPr>
      </p:pic>
      <p:sp>
        <p:nvSpPr>
          <p:cNvPr id="9" name="Espace réservé pour une image  2">
            <a:extLst>
              <a:ext uri="{FF2B5EF4-FFF2-40B4-BE49-F238E27FC236}">
                <a16:creationId xmlns:a16="http://schemas.microsoft.com/office/drawing/2014/main" id="{4A942647-1398-2A41-AAA1-AA7C84CCEB7A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6437375" y="2188868"/>
            <a:ext cx="5247825" cy="41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400" b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lang="fr-FR" dirty="0"/>
          </a:p>
        </p:txBody>
      </p:sp>
      <p:sp>
        <p:nvSpPr>
          <p:cNvPr id="10" name="Titre 1">
            <a:extLst>
              <a:ext uri="{FF2B5EF4-FFF2-40B4-BE49-F238E27FC236}">
                <a16:creationId xmlns:a16="http://schemas.microsoft.com/office/drawing/2014/main" id="{61993A03-7512-D045-9F2A-F91E04EFA9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6800" y="2188868"/>
            <a:ext cx="5930575" cy="4157999"/>
          </a:xfrm>
          <a:prstGeom prst="rect">
            <a:avLst/>
          </a:prstGeom>
          <a:solidFill>
            <a:schemeClr val="tx1"/>
          </a:solidFill>
        </p:spPr>
        <p:txBody>
          <a:bodyPr lIns="251999" tIns="270000" rIns="90000" bIns="46800" anchor="t">
            <a:normAutofit/>
          </a:bodyPr>
          <a:lstStyle>
            <a:lvl1pPr algn="l">
              <a:lnSpc>
                <a:spcPct val="120000"/>
              </a:lnSpc>
              <a:spcAft>
                <a:spcPts val="0"/>
              </a:spcAft>
              <a:defRPr sz="4100"/>
            </a:lvl1pPr>
          </a:lstStyle>
          <a:p>
            <a:r>
              <a:rPr lang="fr-FR" dirty="0"/>
              <a:t>CLIQUEZ POUR AJOUTER UN TITR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4B17E3FC-C8AD-432C-B477-A8A2BEAFFBF7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9900000" y="6372000"/>
            <a:ext cx="1800000" cy="288000"/>
          </a:xfrm>
        </p:spPr>
        <p:txBody>
          <a:bodyPr/>
          <a:lstStyle/>
          <a:p>
            <a:fld id="{B8C3EE7F-F74B-C644-8F10-503D241C2E0D}" type="datetime1">
              <a:rPr lang="fr-FR" smtClean="0"/>
              <a:t>19/06/2023</a:t>
            </a:fld>
            <a:endParaRPr lang="fr-FR" dirty="0"/>
          </a:p>
        </p:txBody>
      </p:sp>
      <p:sp>
        <p:nvSpPr>
          <p:cNvPr id="6" name="Espace réservé du texte 13"/>
          <p:cNvSpPr>
            <a:spLocks noGrp="1"/>
          </p:cNvSpPr>
          <p:nvPr>
            <p:ph type="body" sz="quarter" idx="12" hasCustomPrompt="1"/>
          </p:nvPr>
        </p:nvSpPr>
        <p:spPr>
          <a:xfrm>
            <a:off x="701459" y="4989120"/>
            <a:ext cx="5724394" cy="7524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QUEZ POUR AJOUTER UN SOUS-TITRE</a:t>
            </a:r>
          </a:p>
        </p:txBody>
      </p:sp>
      <p:sp>
        <p:nvSpPr>
          <p:cNvPr id="8" name="Espace réservé du texte 13"/>
          <p:cNvSpPr>
            <a:spLocks noGrp="1"/>
          </p:cNvSpPr>
          <p:nvPr>
            <p:ph type="body" sz="quarter" idx="13" hasCustomPrompt="1"/>
          </p:nvPr>
        </p:nvSpPr>
        <p:spPr>
          <a:xfrm>
            <a:off x="4951828" y="5987313"/>
            <a:ext cx="6748047" cy="329080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18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quez pour ajouter du texte (nom de l’entité émettrice)</a:t>
            </a:r>
          </a:p>
        </p:txBody>
      </p:sp>
      <p:pic>
        <p:nvPicPr>
          <p:cNvPr id="11" name="Picture 6">
            <a:extLst>
              <a:ext uri="{FF2B5EF4-FFF2-40B4-BE49-F238E27FC236}">
                <a16:creationId xmlns:a16="http://schemas.microsoft.com/office/drawing/2014/main" id="{66E2E0DF-17C4-4CDE-B40F-FCE3530A72C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7962" y="5597786"/>
            <a:ext cx="1268644" cy="799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949922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N°1 CNAM Couverture avec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 title="Sécurité sociale - l'Assurance Maladie : Agir ensemble, protéger chacun - Caisse nationale">
            <a:extLst>
              <a:ext uri="{FF2B5EF4-FFF2-40B4-BE49-F238E27FC236}">
                <a16:creationId xmlns:a16="http://schemas.microsoft.com/office/drawing/2014/main" id="{CEA28011-C0C0-F648-8291-02F48A1D571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752" y="-49428"/>
            <a:ext cx="7587938" cy="2304000"/>
          </a:xfrm>
          <a:prstGeom prst="rect">
            <a:avLst/>
          </a:prstGeom>
        </p:spPr>
      </p:pic>
      <p:sp>
        <p:nvSpPr>
          <p:cNvPr id="9" name="Espace réservé pour une image  2">
            <a:extLst>
              <a:ext uri="{FF2B5EF4-FFF2-40B4-BE49-F238E27FC236}">
                <a16:creationId xmlns:a16="http://schemas.microsoft.com/office/drawing/2014/main" id="{4A942647-1398-2A41-AAA1-AA7C84CCEB7A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507201" y="2188868"/>
            <a:ext cx="11178000" cy="41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400" b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lang="fr-FR" dirty="0"/>
          </a:p>
        </p:txBody>
      </p:sp>
      <p:sp>
        <p:nvSpPr>
          <p:cNvPr id="22" name="Titre 1">
            <a:extLst>
              <a:ext uri="{FF2B5EF4-FFF2-40B4-BE49-F238E27FC236}">
                <a16:creationId xmlns:a16="http://schemas.microsoft.com/office/drawing/2014/main" id="{08C5C4EE-51F7-9940-9606-76F8D4D73B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6801" y="2188868"/>
            <a:ext cx="6840000" cy="4157999"/>
          </a:xfrm>
          <a:prstGeom prst="rect">
            <a:avLst/>
          </a:prstGeom>
          <a:noFill/>
        </p:spPr>
        <p:txBody>
          <a:bodyPr lIns="251999" tIns="270000" rIns="90000" bIns="46800" anchor="t">
            <a:normAutofit/>
          </a:bodyPr>
          <a:lstStyle>
            <a:lvl1pPr algn="l">
              <a:lnSpc>
                <a:spcPct val="120000"/>
              </a:lnSpc>
              <a:spcAft>
                <a:spcPts val="0"/>
              </a:spcAft>
              <a:defRPr sz="4100"/>
            </a:lvl1pPr>
          </a:lstStyle>
          <a:p>
            <a:r>
              <a:rPr lang="fr-FR" dirty="0"/>
              <a:t>CLIQUEZ POUR AJOUTER UN TITRE</a:t>
            </a:r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03F3D622-9637-41B2-A77E-476826BB4A98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9899487" y="6372000"/>
            <a:ext cx="1800000" cy="288000"/>
          </a:xfrm>
        </p:spPr>
        <p:txBody>
          <a:bodyPr/>
          <a:lstStyle/>
          <a:p>
            <a:fld id="{7A90C9BA-8212-E643-99E2-71E2B6F6098A}" type="datetime1">
              <a:rPr lang="fr-FR" smtClean="0"/>
              <a:t>19/06/2023</a:t>
            </a:fld>
            <a:endParaRPr lang="fr-FR" dirty="0"/>
          </a:p>
        </p:txBody>
      </p:sp>
      <p:sp>
        <p:nvSpPr>
          <p:cNvPr id="7" name="Espace réservé du texte 13"/>
          <p:cNvSpPr>
            <a:spLocks noGrp="1"/>
          </p:cNvSpPr>
          <p:nvPr>
            <p:ph type="body" sz="quarter" idx="12" hasCustomPrompt="1"/>
          </p:nvPr>
        </p:nvSpPr>
        <p:spPr>
          <a:xfrm>
            <a:off x="701458" y="4834372"/>
            <a:ext cx="10935221" cy="7524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QUEZ POUR AJOUTER UN SOUS-TITRE</a:t>
            </a:r>
          </a:p>
        </p:txBody>
      </p:sp>
      <p:sp>
        <p:nvSpPr>
          <p:cNvPr id="8" name="Espace réservé du texte 13"/>
          <p:cNvSpPr>
            <a:spLocks noGrp="1"/>
          </p:cNvSpPr>
          <p:nvPr>
            <p:ph type="body" sz="quarter" idx="13" hasCustomPrompt="1"/>
          </p:nvPr>
        </p:nvSpPr>
        <p:spPr>
          <a:xfrm>
            <a:off x="5962389" y="5999839"/>
            <a:ext cx="5688904" cy="324263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18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quez pour ajouter du texte</a:t>
            </a:r>
          </a:p>
        </p:txBody>
      </p:sp>
      <p:pic>
        <p:nvPicPr>
          <p:cNvPr id="11" name="Picture 6">
            <a:extLst>
              <a:ext uri="{FF2B5EF4-FFF2-40B4-BE49-F238E27FC236}">
                <a16:creationId xmlns:a16="http://schemas.microsoft.com/office/drawing/2014/main" id="{749F3865-CE2C-4278-853A-F3A4D527709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7962" y="5597786"/>
            <a:ext cx="1268644" cy="799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904660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°3 CNAM Couverture fond coule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Une image contenant alimentation&#10;&#10;Description générée automatiquement" title="Sécurité sociale - l'Assurance Maladie : Agir ensemble, protéger chacun ">
            <a:extLst>
              <a:ext uri="{FF2B5EF4-FFF2-40B4-BE49-F238E27FC236}">
                <a16:creationId xmlns:a16="http://schemas.microsoft.com/office/drawing/2014/main" id="{5FCC7EBB-3471-4590-8C18-BE9203E2E6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079" t="13944" r="62" b="12486"/>
          <a:stretch/>
        </p:blipFill>
        <p:spPr>
          <a:xfrm>
            <a:off x="536575" y="279400"/>
            <a:ext cx="4705350" cy="1689100"/>
          </a:xfrm>
          <a:prstGeom prst="rect">
            <a:avLst/>
          </a:prstGeom>
        </p:spPr>
      </p:pic>
      <p:sp>
        <p:nvSpPr>
          <p:cNvPr id="10" name="Titre 1">
            <a:extLst>
              <a:ext uri="{FF2B5EF4-FFF2-40B4-BE49-F238E27FC236}">
                <a16:creationId xmlns:a16="http://schemas.microsoft.com/office/drawing/2014/main" id="{61993A03-7512-D045-9F2A-F91E04EFA9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6800" y="2188868"/>
            <a:ext cx="11178400" cy="4157999"/>
          </a:xfrm>
          <a:prstGeom prst="rect">
            <a:avLst/>
          </a:prstGeom>
          <a:solidFill>
            <a:schemeClr val="tx1"/>
          </a:solidFill>
        </p:spPr>
        <p:txBody>
          <a:bodyPr lIns="251999" tIns="270000" rIns="90000" bIns="46800" anchor="t">
            <a:normAutofit/>
          </a:bodyPr>
          <a:lstStyle>
            <a:lvl1pPr algn="l">
              <a:lnSpc>
                <a:spcPct val="120000"/>
              </a:lnSpc>
              <a:spcAft>
                <a:spcPts val="0"/>
              </a:spcAft>
              <a:defRPr sz="4100"/>
            </a:lvl1pPr>
          </a:lstStyle>
          <a:p>
            <a:r>
              <a:rPr lang="fr-FR" dirty="0"/>
              <a:t>CLIQUEZ POUR AJOUTER UN TITRE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92507B6F-FE6B-4F61-B061-42BC8C5E7C8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0000" y="6372000"/>
            <a:ext cx="1800000" cy="288000"/>
          </a:xfrm>
        </p:spPr>
        <p:txBody>
          <a:bodyPr/>
          <a:lstStyle/>
          <a:p>
            <a:fld id="{283CFBEF-98C3-6C4D-AECE-A89E43EA2455}" type="datetime1">
              <a:rPr lang="fr-FR" smtClean="0"/>
              <a:t>19/06/2023</a:t>
            </a:fld>
            <a:endParaRPr lang="fr-FR" dirty="0"/>
          </a:p>
        </p:txBody>
      </p:sp>
      <p:sp>
        <p:nvSpPr>
          <p:cNvPr id="8" name="Espace réservé du texte 13"/>
          <p:cNvSpPr>
            <a:spLocks noGrp="1"/>
          </p:cNvSpPr>
          <p:nvPr>
            <p:ph type="body" sz="quarter" idx="12" hasCustomPrompt="1"/>
          </p:nvPr>
        </p:nvSpPr>
        <p:spPr>
          <a:xfrm>
            <a:off x="701458" y="4834372"/>
            <a:ext cx="10935221" cy="7524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QUEZ POUR AJOUTER UN SOUS-TITRE</a:t>
            </a:r>
          </a:p>
        </p:txBody>
      </p:sp>
      <p:pic>
        <p:nvPicPr>
          <p:cNvPr id="14" name="Picture 6">
            <a:extLst>
              <a:ext uri="{FF2B5EF4-FFF2-40B4-BE49-F238E27FC236}">
                <a16:creationId xmlns:a16="http://schemas.microsoft.com/office/drawing/2014/main" id="{8F5ACDA2-FC75-4399-A724-6214615D105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7962" y="5597786"/>
            <a:ext cx="1268644" cy="799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950751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N°1 CNAM Couverture avec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 title="Sécurité sociale - l'Assurance Maladie : Agir ensemble, protéger chacun - Caisse nationale">
            <a:extLst>
              <a:ext uri="{FF2B5EF4-FFF2-40B4-BE49-F238E27FC236}">
                <a16:creationId xmlns:a16="http://schemas.microsoft.com/office/drawing/2014/main" id="{CEA28011-C0C0-F648-8291-02F48A1D571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752" y="-49428"/>
            <a:ext cx="7587938" cy="2304000"/>
          </a:xfrm>
          <a:prstGeom prst="rect">
            <a:avLst/>
          </a:prstGeom>
        </p:spPr>
      </p:pic>
      <p:sp>
        <p:nvSpPr>
          <p:cNvPr id="9" name="Espace réservé pour une image  2">
            <a:extLst>
              <a:ext uri="{FF2B5EF4-FFF2-40B4-BE49-F238E27FC236}">
                <a16:creationId xmlns:a16="http://schemas.microsoft.com/office/drawing/2014/main" id="{4A942647-1398-2A41-AAA1-AA7C84CCEB7A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507201" y="2188868"/>
            <a:ext cx="11178000" cy="41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400" b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lang="fr-FR" dirty="0"/>
          </a:p>
        </p:txBody>
      </p:sp>
      <p:sp>
        <p:nvSpPr>
          <p:cNvPr id="22" name="Titre 1">
            <a:extLst>
              <a:ext uri="{FF2B5EF4-FFF2-40B4-BE49-F238E27FC236}">
                <a16:creationId xmlns:a16="http://schemas.microsoft.com/office/drawing/2014/main" id="{08C5C4EE-51F7-9940-9606-76F8D4D73B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6801" y="2188868"/>
            <a:ext cx="6840000" cy="4157999"/>
          </a:xfrm>
          <a:prstGeom prst="rect">
            <a:avLst/>
          </a:prstGeom>
          <a:noFill/>
        </p:spPr>
        <p:txBody>
          <a:bodyPr lIns="251999" tIns="270000" rIns="90000" bIns="46800" anchor="t">
            <a:normAutofit/>
          </a:bodyPr>
          <a:lstStyle>
            <a:lvl1pPr algn="l">
              <a:lnSpc>
                <a:spcPct val="120000"/>
              </a:lnSpc>
              <a:spcAft>
                <a:spcPts val="0"/>
              </a:spcAft>
              <a:defRPr sz="4100"/>
            </a:lvl1pPr>
          </a:lstStyle>
          <a:p>
            <a:r>
              <a:rPr lang="fr-FR" dirty="0"/>
              <a:t>CLIQUEZ POUR AJOUTER UN TITRE</a:t>
            </a:r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03F3D622-9637-41B2-A77E-476826BB4A98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9899487" y="6372000"/>
            <a:ext cx="1800000" cy="288000"/>
          </a:xfrm>
        </p:spPr>
        <p:txBody>
          <a:bodyPr/>
          <a:lstStyle/>
          <a:p>
            <a:fld id="{7A90C9BA-8212-E643-99E2-71E2B6F6098A}" type="datetime1">
              <a:rPr lang="fr-FR" smtClean="0"/>
              <a:t>19/06/2023</a:t>
            </a:fld>
            <a:endParaRPr lang="fr-FR" dirty="0"/>
          </a:p>
        </p:txBody>
      </p:sp>
      <p:sp>
        <p:nvSpPr>
          <p:cNvPr id="7" name="Espace réservé du texte 13"/>
          <p:cNvSpPr>
            <a:spLocks noGrp="1"/>
          </p:cNvSpPr>
          <p:nvPr>
            <p:ph type="body" sz="quarter" idx="12" hasCustomPrompt="1"/>
          </p:nvPr>
        </p:nvSpPr>
        <p:spPr>
          <a:xfrm>
            <a:off x="701458" y="4834372"/>
            <a:ext cx="10935221" cy="7524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QUEZ POUR AJOUTER UN SOUS-TITRE</a:t>
            </a:r>
          </a:p>
        </p:txBody>
      </p:sp>
      <p:sp>
        <p:nvSpPr>
          <p:cNvPr id="8" name="Espace réservé du texte 13"/>
          <p:cNvSpPr>
            <a:spLocks noGrp="1"/>
          </p:cNvSpPr>
          <p:nvPr>
            <p:ph type="body" sz="quarter" idx="13" hasCustomPrompt="1"/>
          </p:nvPr>
        </p:nvSpPr>
        <p:spPr>
          <a:xfrm>
            <a:off x="5962389" y="5999839"/>
            <a:ext cx="5688904" cy="324263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18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quez pour ajouter du texte</a:t>
            </a:r>
          </a:p>
        </p:txBody>
      </p:sp>
      <p:pic>
        <p:nvPicPr>
          <p:cNvPr id="11" name="Picture 6">
            <a:extLst>
              <a:ext uri="{FF2B5EF4-FFF2-40B4-BE49-F238E27FC236}">
                <a16:creationId xmlns:a16="http://schemas.microsoft.com/office/drawing/2014/main" id="{749F3865-CE2C-4278-853A-F3A4D527709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7962" y="5597786"/>
            <a:ext cx="1268644" cy="799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327194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N°2 CNAM Couverture fond couleur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pour une image  2">
            <a:extLst>
              <a:ext uri="{FF2B5EF4-FFF2-40B4-BE49-F238E27FC236}">
                <a16:creationId xmlns:a16="http://schemas.microsoft.com/office/drawing/2014/main" id="{4A942647-1398-2A41-AAA1-AA7C84CCEB7A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6437375" y="2188868"/>
            <a:ext cx="5247825" cy="41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400" b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lang="fr-FR" dirty="0"/>
          </a:p>
        </p:txBody>
      </p:sp>
      <p:sp>
        <p:nvSpPr>
          <p:cNvPr id="10" name="Titre 1">
            <a:extLst>
              <a:ext uri="{FF2B5EF4-FFF2-40B4-BE49-F238E27FC236}">
                <a16:creationId xmlns:a16="http://schemas.microsoft.com/office/drawing/2014/main" id="{61993A03-7512-D045-9F2A-F91E04EFA9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6800" y="2188868"/>
            <a:ext cx="5930575" cy="4157999"/>
          </a:xfrm>
          <a:prstGeom prst="rect">
            <a:avLst/>
          </a:prstGeom>
          <a:solidFill>
            <a:srgbClr val="2A9CA9"/>
          </a:solidFill>
        </p:spPr>
        <p:txBody>
          <a:bodyPr lIns="251999" tIns="270000" rIns="90000" bIns="46800" anchor="t">
            <a:normAutofit/>
          </a:bodyPr>
          <a:lstStyle>
            <a:lvl1pPr algn="l">
              <a:lnSpc>
                <a:spcPct val="120000"/>
              </a:lnSpc>
              <a:spcAft>
                <a:spcPts val="0"/>
              </a:spcAft>
              <a:defRPr sz="4100"/>
            </a:lvl1pPr>
          </a:lstStyle>
          <a:p>
            <a:r>
              <a:rPr lang="fr-FR" dirty="0"/>
              <a:t>CLIQUEZ POUR AJOUTER UN TITR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4B17E3FC-C8AD-432C-B477-A8A2BEAFFBF7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9900000" y="6372000"/>
            <a:ext cx="1800000" cy="288000"/>
          </a:xfrm>
        </p:spPr>
        <p:txBody>
          <a:bodyPr/>
          <a:lstStyle/>
          <a:p>
            <a:fld id="{B8C3EE7F-F74B-C644-8F10-503D241C2E0D}" type="datetime1">
              <a:rPr lang="fr-FR" smtClean="0"/>
              <a:t>19/06/2023</a:t>
            </a:fld>
            <a:endParaRPr lang="fr-FR" dirty="0"/>
          </a:p>
        </p:txBody>
      </p:sp>
      <p:sp>
        <p:nvSpPr>
          <p:cNvPr id="6" name="Espace réservé du texte 13"/>
          <p:cNvSpPr>
            <a:spLocks noGrp="1"/>
          </p:cNvSpPr>
          <p:nvPr>
            <p:ph type="body" sz="quarter" idx="12" hasCustomPrompt="1"/>
          </p:nvPr>
        </p:nvSpPr>
        <p:spPr>
          <a:xfrm>
            <a:off x="701459" y="4834372"/>
            <a:ext cx="5724394" cy="7524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QUEZ POUR AJOUTER UN SOUS-TITRE</a:t>
            </a:r>
          </a:p>
        </p:txBody>
      </p:sp>
      <p:sp>
        <p:nvSpPr>
          <p:cNvPr id="8" name="Espace réservé du texte 13"/>
          <p:cNvSpPr>
            <a:spLocks noGrp="1"/>
          </p:cNvSpPr>
          <p:nvPr>
            <p:ph type="body" sz="quarter" idx="13" hasCustomPrompt="1"/>
          </p:nvPr>
        </p:nvSpPr>
        <p:spPr>
          <a:xfrm>
            <a:off x="751561" y="6001381"/>
            <a:ext cx="5688904" cy="324263"/>
          </a:xfrm>
          <a:prstGeom prst="rect">
            <a:avLst/>
          </a:prstGeom>
        </p:spPr>
        <p:txBody>
          <a:bodyPr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Symbol" panose="05050102010706020507" pitchFamily="18" charset="2"/>
              <a:buNone/>
              <a:tabLst/>
              <a:defRPr sz="1600" i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fr-FR" dirty="0"/>
              <a:t>Cliquez pour ajouter du texte (nom de l’entité émettrice)</a:t>
            </a:r>
          </a:p>
          <a:p>
            <a:pPr lvl="0"/>
            <a:endParaRPr lang="fr-FR" dirty="0"/>
          </a:p>
        </p:txBody>
      </p:sp>
      <p:pic>
        <p:nvPicPr>
          <p:cNvPr id="11" name="Image 10" title="Sécurité sociale - l'Assurance Maladie : Agir ensemble, protéger chacun - Caisse nationale">
            <a:extLst>
              <a:ext uri="{FF2B5EF4-FFF2-40B4-BE49-F238E27FC236}">
                <a16:creationId xmlns:a16="http://schemas.microsoft.com/office/drawing/2014/main" id="{B016652D-7AC7-B847-9586-4DBCD1C31C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752" y="-49428"/>
            <a:ext cx="7587938" cy="2304000"/>
          </a:xfrm>
          <a:prstGeom prst="rect">
            <a:avLst/>
          </a:prstGeom>
        </p:spPr>
      </p:pic>
      <p:pic>
        <p:nvPicPr>
          <p:cNvPr id="12" name="Picture 6">
            <a:extLst>
              <a:ext uri="{FF2B5EF4-FFF2-40B4-BE49-F238E27FC236}">
                <a16:creationId xmlns:a16="http://schemas.microsoft.com/office/drawing/2014/main" id="{92C81616-22AB-44FD-AB43-9ECBC4BA342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7962" y="5597786"/>
            <a:ext cx="1268644" cy="799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0219602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N°3 CNAM Couverture fond coule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1">
            <a:extLst>
              <a:ext uri="{FF2B5EF4-FFF2-40B4-BE49-F238E27FC236}">
                <a16:creationId xmlns:a16="http://schemas.microsoft.com/office/drawing/2014/main" id="{61993A03-7512-D045-9F2A-F91E04EFA9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6800" y="2188868"/>
            <a:ext cx="11178400" cy="4157999"/>
          </a:xfrm>
          <a:prstGeom prst="rect">
            <a:avLst/>
          </a:prstGeom>
          <a:solidFill>
            <a:srgbClr val="2A9CA9"/>
          </a:solidFill>
        </p:spPr>
        <p:txBody>
          <a:bodyPr lIns="251999" tIns="270000" rIns="90000" bIns="46800" anchor="t">
            <a:normAutofit/>
          </a:bodyPr>
          <a:lstStyle>
            <a:lvl1pPr algn="l">
              <a:lnSpc>
                <a:spcPct val="120000"/>
              </a:lnSpc>
              <a:spcAft>
                <a:spcPts val="0"/>
              </a:spcAft>
              <a:defRPr sz="4100"/>
            </a:lvl1pPr>
          </a:lstStyle>
          <a:p>
            <a:r>
              <a:rPr lang="fr-FR" dirty="0"/>
              <a:t>CLIQUEZ POUR AJOUTER UN TITRE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92507B6F-FE6B-4F61-B061-42BC8C5E7C8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0000" y="6372000"/>
            <a:ext cx="1800000" cy="288000"/>
          </a:xfrm>
        </p:spPr>
        <p:txBody>
          <a:bodyPr/>
          <a:lstStyle/>
          <a:p>
            <a:fld id="{283CFBEF-98C3-6C4D-AECE-A89E43EA2455}" type="datetime1">
              <a:rPr lang="fr-FR" smtClean="0"/>
              <a:t>19/06/2023</a:t>
            </a:fld>
            <a:endParaRPr lang="fr-FR" dirty="0"/>
          </a:p>
        </p:txBody>
      </p:sp>
      <p:sp>
        <p:nvSpPr>
          <p:cNvPr id="8" name="Espace réservé du texte 13"/>
          <p:cNvSpPr>
            <a:spLocks noGrp="1"/>
          </p:cNvSpPr>
          <p:nvPr>
            <p:ph type="body" sz="quarter" idx="12" hasCustomPrompt="1"/>
          </p:nvPr>
        </p:nvSpPr>
        <p:spPr>
          <a:xfrm>
            <a:off x="701458" y="4834372"/>
            <a:ext cx="10935221" cy="7524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QUEZ POUR AJOUTER UN SOUS-TITRE</a:t>
            </a:r>
          </a:p>
        </p:txBody>
      </p:sp>
      <p:sp>
        <p:nvSpPr>
          <p:cNvPr id="9" name="Espace réservé du texte 13"/>
          <p:cNvSpPr>
            <a:spLocks noGrp="1"/>
          </p:cNvSpPr>
          <p:nvPr>
            <p:ph type="body" sz="quarter" idx="13" hasCustomPrompt="1"/>
          </p:nvPr>
        </p:nvSpPr>
        <p:spPr>
          <a:xfrm>
            <a:off x="5962389" y="6013907"/>
            <a:ext cx="5688904" cy="324263"/>
          </a:xfrm>
          <a:prstGeom prst="rect">
            <a:avLst/>
          </a:prstGeom>
        </p:spPr>
        <p:txBody>
          <a:bodyPr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Symbol" panose="05050102010706020507" pitchFamily="18" charset="2"/>
              <a:buNone/>
              <a:tabLst/>
              <a:defRPr sz="1600" b="0" i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fr-FR" dirty="0"/>
              <a:t>Cliquez pour ajouter du texte (nom de l’entité émettrice)</a:t>
            </a:r>
          </a:p>
          <a:p>
            <a:pPr lvl="0"/>
            <a:endParaRPr lang="fr-FR" dirty="0"/>
          </a:p>
        </p:txBody>
      </p:sp>
      <p:pic>
        <p:nvPicPr>
          <p:cNvPr id="7" name="Image 6" title="Sécurité sociale - l'Assurance Maladie : Agir ensemble, protéger chacun - Caisse nationale">
            <a:extLst>
              <a:ext uri="{FF2B5EF4-FFF2-40B4-BE49-F238E27FC236}">
                <a16:creationId xmlns:a16="http://schemas.microsoft.com/office/drawing/2014/main" id="{C669554B-24A3-6E4A-BF99-164EAC00863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752" y="-49428"/>
            <a:ext cx="7587938" cy="23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328262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>
            <a:extLst>
              <a:ext uri="{FF2B5EF4-FFF2-40B4-BE49-F238E27FC236}">
                <a16:creationId xmlns:a16="http://schemas.microsoft.com/office/drawing/2014/main" id="{6B3716BC-8FD3-496D-ACC7-678BE5DE6E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595" y="482903"/>
            <a:ext cx="11186809" cy="5406942"/>
          </a:xfrm>
          <a:prstGeom prst="rect">
            <a:avLst/>
          </a:prstGeom>
          <a:solidFill>
            <a:schemeClr val="tx1"/>
          </a:solidFill>
        </p:spPr>
        <p:txBody>
          <a:bodyPr lIns="396000" tIns="180000">
            <a:normAutofit/>
          </a:bodyPr>
          <a:lstStyle>
            <a:lvl1pPr algn="l">
              <a:defRPr sz="2500"/>
            </a:lvl1pPr>
          </a:lstStyle>
          <a:p>
            <a:r>
              <a:rPr lang="fr-FR" dirty="0"/>
              <a:t>SOMMAI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BF3A9F-5739-4B40-A377-C403E92DB70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198747" y="1268705"/>
            <a:ext cx="1080000" cy="552732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3195322" y="1808727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32F40D82-1D3E-C543-A9C8-76923BEA9D3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198747" y="2272799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86A352DF-AB9E-9B4F-AED0-504809360D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95322" y="2826889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9F35C531-5E0C-2348-94D4-E0DD456C2743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3198747" y="3276893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115F9863-8A3D-CA4E-B187-7654539E5C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95322" y="3845051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023166E1-6828-4A45-B43D-B0C2EE9820E9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3198747" y="4315607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507F5AEF-E57D-BC4A-AC62-A4381DC446A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95322" y="4869697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39" name="Espace réservé du texte 2">
            <a:extLst>
              <a:ext uri="{FF2B5EF4-FFF2-40B4-BE49-F238E27FC236}">
                <a16:creationId xmlns:a16="http://schemas.microsoft.com/office/drawing/2014/main" id="{961AF32D-B3C4-B445-80F7-88D960D0C1D1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7554360" y="1254637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40" name="Espace réservé du texte 4">
            <a:extLst>
              <a:ext uri="{FF2B5EF4-FFF2-40B4-BE49-F238E27FC236}">
                <a16:creationId xmlns:a16="http://schemas.microsoft.com/office/drawing/2014/main" id="{E72F3648-22FD-2C45-9AA6-7AC920990BE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50935" y="1808727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42" name="Espace réservé du texte 2">
            <a:extLst>
              <a:ext uri="{FF2B5EF4-FFF2-40B4-BE49-F238E27FC236}">
                <a16:creationId xmlns:a16="http://schemas.microsoft.com/office/drawing/2014/main" id="{35295063-CF4F-3C4D-B623-028D3714E8AF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554360" y="2258731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43" name="Espace réservé du texte 4">
            <a:extLst>
              <a:ext uri="{FF2B5EF4-FFF2-40B4-BE49-F238E27FC236}">
                <a16:creationId xmlns:a16="http://schemas.microsoft.com/office/drawing/2014/main" id="{DC69E802-F70E-CD47-80B7-94A25976D0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550935" y="2826889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63405BB2-EA8B-DF4F-B40D-37B864F7C344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7554360" y="3276893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46" name="Espace réservé du texte 4">
            <a:extLst>
              <a:ext uri="{FF2B5EF4-FFF2-40B4-BE49-F238E27FC236}">
                <a16:creationId xmlns:a16="http://schemas.microsoft.com/office/drawing/2014/main" id="{C96A372E-23AB-1645-B4A8-AAF1D6AE633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50935" y="3845051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E04447C2-B2BB-094A-A2D2-3EFA71DA32C1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31" name="Espace réservé du texte 6">
            <a:extLst>
              <a:ext uri="{FF2B5EF4-FFF2-40B4-BE49-F238E27FC236}">
                <a16:creationId xmlns:a16="http://schemas.microsoft.com/office/drawing/2014/main" id="{A1BD8D2E-882B-4115-BB0A-4A38D47DF6B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150567" y="1521862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5" name="Espace réservé du texte 6">
            <a:extLst>
              <a:ext uri="{FF2B5EF4-FFF2-40B4-BE49-F238E27FC236}">
                <a16:creationId xmlns:a16="http://schemas.microsoft.com/office/drawing/2014/main" id="{084485DE-C49B-4B00-B58D-6170FBE477F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150567" y="2538946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6" name="Espace réservé du texte 6">
            <a:extLst>
              <a:ext uri="{FF2B5EF4-FFF2-40B4-BE49-F238E27FC236}">
                <a16:creationId xmlns:a16="http://schemas.microsoft.com/office/drawing/2014/main" id="{8FAC638C-D037-47B5-A2D3-B689A0E7531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150567" y="3557108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7" name="Espace réservé du texte 6">
            <a:extLst>
              <a:ext uri="{FF2B5EF4-FFF2-40B4-BE49-F238E27FC236}">
                <a16:creationId xmlns:a16="http://schemas.microsoft.com/office/drawing/2014/main" id="{BCBB00D8-F4CA-4503-AFB4-6935E50F1A3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150567" y="4581754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2" name="Espace réservé du texte 6">
            <a:extLst>
              <a:ext uri="{FF2B5EF4-FFF2-40B4-BE49-F238E27FC236}">
                <a16:creationId xmlns:a16="http://schemas.microsoft.com/office/drawing/2014/main" id="{466F3304-30B1-4357-B802-6A687D0B9E6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512502" y="1521862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3" name="Espace réservé du texte 6">
            <a:extLst>
              <a:ext uri="{FF2B5EF4-FFF2-40B4-BE49-F238E27FC236}">
                <a16:creationId xmlns:a16="http://schemas.microsoft.com/office/drawing/2014/main" id="{6A33E5C5-DEB2-4E8A-8A19-D6622B086DA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12502" y="2538946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4" name="Espace réservé du texte 6">
            <a:extLst>
              <a:ext uri="{FF2B5EF4-FFF2-40B4-BE49-F238E27FC236}">
                <a16:creationId xmlns:a16="http://schemas.microsoft.com/office/drawing/2014/main" id="{F21ADA1C-A3AB-4AC8-A63A-C3E2AE47095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512502" y="3557108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2578143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>
            <a:extLst>
              <a:ext uri="{FF2B5EF4-FFF2-40B4-BE49-F238E27FC236}">
                <a16:creationId xmlns:a16="http://schemas.microsoft.com/office/drawing/2014/main" id="{6B3716BC-8FD3-496D-ACC7-678BE5DE6E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595" y="496971"/>
            <a:ext cx="11186809" cy="5406942"/>
          </a:xfrm>
          <a:prstGeom prst="rect">
            <a:avLst/>
          </a:prstGeom>
          <a:solidFill>
            <a:srgbClr val="2A9CA9"/>
          </a:solidFill>
        </p:spPr>
        <p:txBody>
          <a:bodyPr lIns="396000" tIns="180000">
            <a:normAutofit/>
          </a:bodyPr>
          <a:lstStyle>
            <a:lvl1pPr algn="l">
              <a:defRPr sz="2500"/>
            </a:lvl1pPr>
          </a:lstStyle>
          <a:p>
            <a:r>
              <a:rPr lang="fr-FR" dirty="0"/>
              <a:t>SOMMAI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BF3A9F-5739-4B40-A377-C403E92DB70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198747" y="1254637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3195322" y="1808727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32F40D82-1D3E-C543-A9C8-76923BEA9D3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198747" y="2272799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86A352DF-AB9E-9B4F-AED0-504809360D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95322" y="2826889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9F35C531-5E0C-2348-94D4-E0DD456C2743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3198747" y="3290961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115F9863-8A3D-CA4E-B187-7654539E5C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95322" y="3845051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023166E1-6828-4A45-B43D-B0C2EE9820E9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3198747" y="4315607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507F5AEF-E57D-BC4A-AC62-A4381DC446A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95322" y="4869697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39" name="Espace réservé du texte 2">
            <a:extLst>
              <a:ext uri="{FF2B5EF4-FFF2-40B4-BE49-F238E27FC236}">
                <a16:creationId xmlns:a16="http://schemas.microsoft.com/office/drawing/2014/main" id="{961AF32D-B3C4-B445-80F7-88D960D0C1D1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7554360" y="1254637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40" name="Espace réservé du texte 4">
            <a:extLst>
              <a:ext uri="{FF2B5EF4-FFF2-40B4-BE49-F238E27FC236}">
                <a16:creationId xmlns:a16="http://schemas.microsoft.com/office/drawing/2014/main" id="{E72F3648-22FD-2C45-9AA6-7AC920990BE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50935" y="1808727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42" name="Espace réservé du texte 2">
            <a:extLst>
              <a:ext uri="{FF2B5EF4-FFF2-40B4-BE49-F238E27FC236}">
                <a16:creationId xmlns:a16="http://schemas.microsoft.com/office/drawing/2014/main" id="{35295063-CF4F-3C4D-B623-028D3714E8AF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554360" y="2272799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43" name="Espace réservé du texte 4">
            <a:extLst>
              <a:ext uri="{FF2B5EF4-FFF2-40B4-BE49-F238E27FC236}">
                <a16:creationId xmlns:a16="http://schemas.microsoft.com/office/drawing/2014/main" id="{DC69E802-F70E-CD47-80B7-94A25976D0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550935" y="2826889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63405BB2-EA8B-DF4F-B40D-37B864F7C344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7554360" y="3290961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46" name="Espace réservé du texte 4">
            <a:extLst>
              <a:ext uri="{FF2B5EF4-FFF2-40B4-BE49-F238E27FC236}">
                <a16:creationId xmlns:a16="http://schemas.microsoft.com/office/drawing/2014/main" id="{C96A372E-23AB-1645-B4A8-AAF1D6AE633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50935" y="3845051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E04447C2-B2BB-094A-A2D2-3EFA71DA32C1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31" name="Espace réservé du texte 6">
            <a:extLst>
              <a:ext uri="{FF2B5EF4-FFF2-40B4-BE49-F238E27FC236}">
                <a16:creationId xmlns:a16="http://schemas.microsoft.com/office/drawing/2014/main" id="{A1BD8D2E-882B-4115-BB0A-4A38D47DF6B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150567" y="1521862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5" name="Espace réservé du texte 6">
            <a:extLst>
              <a:ext uri="{FF2B5EF4-FFF2-40B4-BE49-F238E27FC236}">
                <a16:creationId xmlns:a16="http://schemas.microsoft.com/office/drawing/2014/main" id="{084485DE-C49B-4B00-B58D-6170FBE477F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150567" y="2538946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6" name="Espace réservé du texte 6">
            <a:extLst>
              <a:ext uri="{FF2B5EF4-FFF2-40B4-BE49-F238E27FC236}">
                <a16:creationId xmlns:a16="http://schemas.microsoft.com/office/drawing/2014/main" id="{8FAC638C-D037-47B5-A2D3-B689A0E7531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150567" y="3557108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7" name="Espace réservé du texte 6">
            <a:extLst>
              <a:ext uri="{FF2B5EF4-FFF2-40B4-BE49-F238E27FC236}">
                <a16:creationId xmlns:a16="http://schemas.microsoft.com/office/drawing/2014/main" id="{BCBB00D8-F4CA-4503-AFB4-6935E50F1A3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150567" y="4581754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2" name="Espace réservé du texte 6">
            <a:extLst>
              <a:ext uri="{FF2B5EF4-FFF2-40B4-BE49-F238E27FC236}">
                <a16:creationId xmlns:a16="http://schemas.microsoft.com/office/drawing/2014/main" id="{466F3304-30B1-4357-B802-6A687D0B9E6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512502" y="1521862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3" name="Espace réservé du texte 6">
            <a:extLst>
              <a:ext uri="{FF2B5EF4-FFF2-40B4-BE49-F238E27FC236}">
                <a16:creationId xmlns:a16="http://schemas.microsoft.com/office/drawing/2014/main" id="{6A33E5C5-DEB2-4E8A-8A19-D6622B086DA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12502" y="2538946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4" name="Espace réservé du texte 6">
            <a:extLst>
              <a:ext uri="{FF2B5EF4-FFF2-40B4-BE49-F238E27FC236}">
                <a16:creationId xmlns:a16="http://schemas.microsoft.com/office/drawing/2014/main" id="{F21ADA1C-A3AB-4AC8-A63A-C3E2AE47095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512502" y="3557108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2793567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>
            <a:extLst>
              <a:ext uri="{FF2B5EF4-FFF2-40B4-BE49-F238E27FC236}">
                <a16:creationId xmlns:a16="http://schemas.microsoft.com/office/drawing/2014/main" id="{6B3716BC-8FD3-496D-ACC7-678BE5DE6E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595" y="496971"/>
            <a:ext cx="11186809" cy="5406942"/>
          </a:xfrm>
          <a:prstGeom prst="rect">
            <a:avLst/>
          </a:prstGeom>
          <a:solidFill>
            <a:srgbClr val="E87C54"/>
          </a:solidFill>
        </p:spPr>
        <p:txBody>
          <a:bodyPr lIns="396000" tIns="180000">
            <a:normAutofit/>
          </a:bodyPr>
          <a:lstStyle>
            <a:lvl1pPr algn="l">
              <a:defRPr sz="2500"/>
            </a:lvl1pPr>
          </a:lstStyle>
          <a:p>
            <a:r>
              <a:rPr lang="fr-FR" dirty="0"/>
              <a:t>SOMMAI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BF3A9F-5739-4B40-A377-C403E92DB70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198747" y="1254637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3195322" y="1808727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32F40D82-1D3E-C543-A9C8-76923BEA9D3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198747" y="2272799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86A352DF-AB9E-9B4F-AED0-504809360D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95322" y="2826889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9F35C531-5E0C-2348-94D4-E0DD456C2743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3198747" y="3290961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115F9863-8A3D-CA4E-B187-7654539E5C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95322" y="3845051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023166E1-6828-4A45-B43D-B0C2EE9820E9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3198747" y="4315607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507F5AEF-E57D-BC4A-AC62-A4381DC446A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95322" y="4869697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39" name="Espace réservé du texte 2">
            <a:extLst>
              <a:ext uri="{FF2B5EF4-FFF2-40B4-BE49-F238E27FC236}">
                <a16:creationId xmlns:a16="http://schemas.microsoft.com/office/drawing/2014/main" id="{961AF32D-B3C4-B445-80F7-88D960D0C1D1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7554360" y="1254637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40" name="Espace réservé du texte 4">
            <a:extLst>
              <a:ext uri="{FF2B5EF4-FFF2-40B4-BE49-F238E27FC236}">
                <a16:creationId xmlns:a16="http://schemas.microsoft.com/office/drawing/2014/main" id="{E72F3648-22FD-2C45-9AA6-7AC920990BE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50935" y="1808727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42" name="Espace réservé du texte 2">
            <a:extLst>
              <a:ext uri="{FF2B5EF4-FFF2-40B4-BE49-F238E27FC236}">
                <a16:creationId xmlns:a16="http://schemas.microsoft.com/office/drawing/2014/main" id="{35295063-CF4F-3C4D-B623-028D3714E8AF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554360" y="2272799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43" name="Espace réservé du texte 4">
            <a:extLst>
              <a:ext uri="{FF2B5EF4-FFF2-40B4-BE49-F238E27FC236}">
                <a16:creationId xmlns:a16="http://schemas.microsoft.com/office/drawing/2014/main" id="{DC69E802-F70E-CD47-80B7-94A25976D0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550935" y="2826889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63405BB2-EA8B-DF4F-B40D-37B864F7C344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7554360" y="3290961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46" name="Espace réservé du texte 4">
            <a:extLst>
              <a:ext uri="{FF2B5EF4-FFF2-40B4-BE49-F238E27FC236}">
                <a16:creationId xmlns:a16="http://schemas.microsoft.com/office/drawing/2014/main" id="{C96A372E-23AB-1645-B4A8-AAF1D6AE633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50935" y="3845051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E04447C2-B2BB-094A-A2D2-3EFA71DA32C1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31" name="Espace réservé du texte 6">
            <a:extLst>
              <a:ext uri="{FF2B5EF4-FFF2-40B4-BE49-F238E27FC236}">
                <a16:creationId xmlns:a16="http://schemas.microsoft.com/office/drawing/2014/main" id="{A1BD8D2E-882B-4115-BB0A-4A38D47DF6B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150567" y="1521862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5" name="Espace réservé du texte 6">
            <a:extLst>
              <a:ext uri="{FF2B5EF4-FFF2-40B4-BE49-F238E27FC236}">
                <a16:creationId xmlns:a16="http://schemas.microsoft.com/office/drawing/2014/main" id="{084485DE-C49B-4B00-B58D-6170FBE477F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150567" y="2538946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6" name="Espace réservé du texte 6">
            <a:extLst>
              <a:ext uri="{FF2B5EF4-FFF2-40B4-BE49-F238E27FC236}">
                <a16:creationId xmlns:a16="http://schemas.microsoft.com/office/drawing/2014/main" id="{8FAC638C-D037-47B5-A2D3-B689A0E7531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150567" y="3557108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7" name="Espace réservé du texte 6">
            <a:extLst>
              <a:ext uri="{FF2B5EF4-FFF2-40B4-BE49-F238E27FC236}">
                <a16:creationId xmlns:a16="http://schemas.microsoft.com/office/drawing/2014/main" id="{BCBB00D8-F4CA-4503-AFB4-6935E50F1A3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150567" y="4581754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2" name="Espace réservé du texte 6">
            <a:extLst>
              <a:ext uri="{FF2B5EF4-FFF2-40B4-BE49-F238E27FC236}">
                <a16:creationId xmlns:a16="http://schemas.microsoft.com/office/drawing/2014/main" id="{466F3304-30B1-4357-B802-6A687D0B9E6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512502" y="1521862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3" name="Espace réservé du texte 6">
            <a:extLst>
              <a:ext uri="{FF2B5EF4-FFF2-40B4-BE49-F238E27FC236}">
                <a16:creationId xmlns:a16="http://schemas.microsoft.com/office/drawing/2014/main" id="{6A33E5C5-DEB2-4E8A-8A19-D6622B086DA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12502" y="2538946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4" name="Espace réservé du texte 6">
            <a:extLst>
              <a:ext uri="{FF2B5EF4-FFF2-40B4-BE49-F238E27FC236}">
                <a16:creationId xmlns:a16="http://schemas.microsoft.com/office/drawing/2014/main" id="{F21ADA1C-A3AB-4AC8-A63A-C3E2AE47095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512502" y="3557108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5513126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>
            <a:extLst>
              <a:ext uri="{FF2B5EF4-FFF2-40B4-BE49-F238E27FC236}">
                <a16:creationId xmlns:a16="http://schemas.microsoft.com/office/drawing/2014/main" id="{6B3716BC-8FD3-496D-ACC7-678BE5DE6E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595" y="496971"/>
            <a:ext cx="11186809" cy="5406942"/>
          </a:xfrm>
          <a:prstGeom prst="rect">
            <a:avLst/>
          </a:prstGeom>
          <a:solidFill>
            <a:srgbClr val="E73083"/>
          </a:solidFill>
        </p:spPr>
        <p:txBody>
          <a:bodyPr lIns="396000" tIns="180000">
            <a:normAutofit/>
          </a:bodyPr>
          <a:lstStyle>
            <a:lvl1pPr algn="l">
              <a:defRPr sz="2500"/>
            </a:lvl1pPr>
          </a:lstStyle>
          <a:p>
            <a:r>
              <a:rPr lang="fr-FR" dirty="0"/>
              <a:t>SOMMAI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BF3A9F-5739-4B40-A377-C403E92DB70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198747" y="1254637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3195322" y="1808727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32F40D82-1D3E-C543-A9C8-76923BEA9D3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198747" y="2272799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86A352DF-AB9E-9B4F-AED0-504809360D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95322" y="2826889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9F35C531-5E0C-2348-94D4-E0DD456C2743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3198747" y="3290961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115F9863-8A3D-CA4E-B187-7654539E5C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95322" y="3845051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023166E1-6828-4A45-B43D-B0C2EE9820E9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3198747" y="4315607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507F5AEF-E57D-BC4A-AC62-A4381DC446A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95322" y="4869697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39" name="Espace réservé du texte 2">
            <a:extLst>
              <a:ext uri="{FF2B5EF4-FFF2-40B4-BE49-F238E27FC236}">
                <a16:creationId xmlns:a16="http://schemas.microsoft.com/office/drawing/2014/main" id="{961AF32D-B3C4-B445-80F7-88D960D0C1D1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7554360" y="1254637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40" name="Espace réservé du texte 4">
            <a:extLst>
              <a:ext uri="{FF2B5EF4-FFF2-40B4-BE49-F238E27FC236}">
                <a16:creationId xmlns:a16="http://schemas.microsoft.com/office/drawing/2014/main" id="{E72F3648-22FD-2C45-9AA6-7AC920990BE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50935" y="1808727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42" name="Espace réservé du texte 2">
            <a:extLst>
              <a:ext uri="{FF2B5EF4-FFF2-40B4-BE49-F238E27FC236}">
                <a16:creationId xmlns:a16="http://schemas.microsoft.com/office/drawing/2014/main" id="{35295063-CF4F-3C4D-B623-028D3714E8AF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554360" y="2272799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43" name="Espace réservé du texte 4">
            <a:extLst>
              <a:ext uri="{FF2B5EF4-FFF2-40B4-BE49-F238E27FC236}">
                <a16:creationId xmlns:a16="http://schemas.microsoft.com/office/drawing/2014/main" id="{DC69E802-F70E-CD47-80B7-94A25976D0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550935" y="2826889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63405BB2-EA8B-DF4F-B40D-37B864F7C344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7554360" y="3290961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46" name="Espace réservé du texte 4">
            <a:extLst>
              <a:ext uri="{FF2B5EF4-FFF2-40B4-BE49-F238E27FC236}">
                <a16:creationId xmlns:a16="http://schemas.microsoft.com/office/drawing/2014/main" id="{C96A372E-23AB-1645-B4A8-AAF1D6AE633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50935" y="3845051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E04447C2-B2BB-094A-A2D2-3EFA71DA32C1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31" name="Espace réservé du texte 6">
            <a:extLst>
              <a:ext uri="{FF2B5EF4-FFF2-40B4-BE49-F238E27FC236}">
                <a16:creationId xmlns:a16="http://schemas.microsoft.com/office/drawing/2014/main" id="{A1BD8D2E-882B-4115-BB0A-4A38D47DF6B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150567" y="1521862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5" name="Espace réservé du texte 6">
            <a:extLst>
              <a:ext uri="{FF2B5EF4-FFF2-40B4-BE49-F238E27FC236}">
                <a16:creationId xmlns:a16="http://schemas.microsoft.com/office/drawing/2014/main" id="{084485DE-C49B-4B00-B58D-6170FBE477F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150567" y="2538946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6" name="Espace réservé du texte 6">
            <a:extLst>
              <a:ext uri="{FF2B5EF4-FFF2-40B4-BE49-F238E27FC236}">
                <a16:creationId xmlns:a16="http://schemas.microsoft.com/office/drawing/2014/main" id="{8FAC638C-D037-47B5-A2D3-B689A0E7531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150567" y="3557108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7" name="Espace réservé du texte 6">
            <a:extLst>
              <a:ext uri="{FF2B5EF4-FFF2-40B4-BE49-F238E27FC236}">
                <a16:creationId xmlns:a16="http://schemas.microsoft.com/office/drawing/2014/main" id="{BCBB00D8-F4CA-4503-AFB4-6935E50F1A3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150567" y="4581754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2" name="Espace réservé du texte 6">
            <a:extLst>
              <a:ext uri="{FF2B5EF4-FFF2-40B4-BE49-F238E27FC236}">
                <a16:creationId xmlns:a16="http://schemas.microsoft.com/office/drawing/2014/main" id="{466F3304-30B1-4357-B802-6A687D0B9E6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512502" y="1521862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3" name="Espace réservé du texte 6">
            <a:extLst>
              <a:ext uri="{FF2B5EF4-FFF2-40B4-BE49-F238E27FC236}">
                <a16:creationId xmlns:a16="http://schemas.microsoft.com/office/drawing/2014/main" id="{6A33E5C5-DEB2-4E8A-8A19-D6622B086DA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12502" y="2538946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4" name="Espace réservé du texte 6">
            <a:extLst>
              <a:ext uri="{FF2B5EF4-FFF2-40B4-BE49-F238E27FC236}">
                <a16:creationId xmlns:a16="http://schemas.microsoft.com/office/drawing/2014/main" id="{F21ADA1C-A3AB-4AC8-A63A-C3E2AE47095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512502" y="3557108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3243248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verture de 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5338D63-7F58-4C41-967C-A9B0AAD4A3E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04000" y="496800"/>
            <a:ext cx="11185200" cy="5407113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BF3A9F-5739-4B40-A377-C403E92DB70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538560" y="1700171"/>
            <a:ext cx="2880000" cy="1299879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88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1538558" y="3000049"/>
            <a:ext cx="7560000" cy="169200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20000"/>
              </a:lnSpc>
              <a:buNone/>
              <a:defRPr sz="38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 sur plusieurs lignes</a:t>
            </a:r>
          </a:p>
        </p:txBody>
      </p:sp>
      <p:sp>
        <p:nvSpPr>
          <p:cNvPr id="50" name="Espace réservé du numéro de diapositive 49">
            <a:extLst>
              <a:ext uri="{FF2B5EF4-FFF2-40B4-BE49-F238E27FC236}">
                <a16:creationId xmlns:a16="http://schemas.microsoft.com/office/drawing/2014/main" id="{28BD423F-B223-3849-B9E3-A73BC014845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id="{73D67ACB-3E0F-4ED7-8607-B138A3FD73A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47961" y="2283861"/>
            <a:ext cx="28800" cy="2422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7128544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uverture de 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5338D63-7F58-4C41-967C-A9B0AAD4A3E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04000" y="496800"/>
            <a:ext cx="11185200" cy="5407113"/>
          </a:xfrm>
          <a:prstGeom prst="rect">
            <a:avLst/>
          </a:prstGeom>
          <a:solidFill>
            <a:srgbClr val="2A9CA9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BF3A9F-5739-4B40-A377-C403E92DB70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538560" y="1700171"/>
            <a:ext cx="2880000" cy="1299879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88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1538558" y="3000049"/>
            <a:ext cx="7560000" cy="169200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20000"/>
              </a:lnSpc>
              <a:buNone/>
              <a:defRPr sz="38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 sur plusieurs lignes</a:t>
            </a:r>
          </a:p>
        </p:txBody>
      </p:sp>
      <p:sp>
        <p:nvSpPr>
          <p:cNvPr id="50" name="Espace réservé du numéro de diapositive 49">
            <a:extLst>
              <a:ext uri="{FF2B5EF4-FFF2-40B4-BE49-F238E27FC236}">
                <a16:creationId xmlns:a16="http://schemas.microsoft.com/office/drawing/2014/main" id="{28BD423F-B223-3849-B9E3-A73BC014845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id="{73D67ACB-3E0F-4ED7-8607-B138A3FD73A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47961" y="2283861"/>
            <a:ext cx="28800" cy="2422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747526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N°2 CNAM Couverture fond couleur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pour une image  2">
            <a:extLst>
              <a:ext uri="{FF2B5EF4-FFF2-40B4-BE49-F238E27FC236}">
                <a16:creationId xmlns:a16="http://schemas.microsoft.com/office/drawing/2014/main" id="{4A942647-1398-2A41-AAA1-AA7C84CCEB7A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6437375" y="2188868"/>
            <a:ext cx="5247825" cy="41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400" b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lang="fr-FR" dirty="0"/>
          </a:p>
        </p:txBody>
      </p:sp>
      <p:sp>
        <p:nvSpPr>
          <p:cNvPr id="10" name="Titre 1">
            <a:extLst>
              <a:ext uri="{FF2B5EF4-FFF2-40B4-BE49-F238E27FC236}">
                <a16:creationId xmlns:a16="http://schemas.microsoft.com/office/drawing/2014/main" id="{61993A03-7512-D045-9F2A-F91E04EFA9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6800" y="2188868"/>
            <a:ext cx="5930575" cy="4157999"/>
          </a:xfrm>
          <a:prstGeom prst="rect">
            <a:avLst/>
          </a:prstGeom>
          <a:solidFill>
            <a:srgbClr val="2A9CA9"/>
          </a:solidFill>
        </p:spPr>
        <p:txBody>
          <a:bodyPr lIns="251999" tIns="270000" rIns="90000" bIns="46800" anchor="t">
            <a:normAutofit/>
          </a:bodyPr>
          <a:lstStyle>
            <a:lvl1pPr algn="l">
              <a:lnSpc>
                <a:spcPct val="120000"/>
              </a:lnSpc>
              <a:spcAft>
                <a:spcPts val="0"/>
              </a:spcAft>
              <a:defRPr sz="4100"/>
            </a:lvl1pPr>
          </a:lstStyle>
          <a:p>
            <a:r>
              <a:rPr lang="fr-FR" dirty="0"/>
              <a:t>CLIQUEZ POUR AJOUTER UN TITR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4B17E3FC-C8AD-432C-B477-A8A2BEAFFBF7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9900000" y="6372000"/>
            <a:ext cx="1800000" cy="288000"/>
          </a:xfrm>
        </p:spPr>
        <p:txBody>
          <a:bodyPr/>
          <a:lstStyle/>
          <a:p>
            <a:fld id="{B8C3EE7F-F74B-C644-8F10-503D241C2E0D}" type="datetime1">
              <a:rPr lang="fr-FR" smtClean="0"/>
              <a:t>19/06/2023</a:t>
            </a:fld>
            <a:endParaRPr lang="fr-FR" dirty="0"/>
          </a:p>
        </p:txBody>
      </p:sp>
      <p:sp>
        <p:nvSpPr>
          <p:cNvPr id="6" name="Espace réservé du texte 13"/>
          <p:cNvSpPr>
            <a:spLocks noGrp="1"/>
          </p:cNvSpPr>
          <p:nvPr>
            <p:ph type="body" sz="quarter" idx="12" hasCustomPrompt="1"/>
          </p:nvPr>
        </p:nvSpPr>
        <p:spPr>
          <a:xfrm>
            <a:off x="701459" y="4834372"/>
            <a:ext cx="5724394" cy="7524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QUEZ POUR AJOUTER UN SOUS-TITRE</a:t>
            </a:r>
          </a:p>
        </p:txBody>
      </p:sp>
      <p:sp>
        <p:nvSpPr>
          <p:cNvPr id="8" name="Espace réservé du texte 13"/>
          <p:cNvSpPr>
            <a:spLocks noGrp="1"/>
          </p:cNvSpPr>
          <p:nvPr>
            <p:ph type="body" sz="quarter" idx="13" hasCustomPrompt="1"/>
          </p:nvPr>
        </p:nvSpPr>
        <p:spPr>
          <a:xfrm>
            <a:off x="751561" y="6001381"/>
            <a:ext cx="5688904" cy="324263"/>
          </a:xfrm>
          <a:prstGeom prst="rect">
            <a:avLst/>
          </a:prstGeom>
        </p:spPr>
        <p:txBody>
          <a:bodyPr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Symbol" panose="05050102010706020507" pitchFamily="18" charset="2"/>
              <a:buNone/>
              <a:tabLst/>
              <a:defRPr sz="1600" i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fr-FR" dirty="0"/>
              <a:t>Cliquez pour ajouter du texte (nom de l’entité émettrice)</a:t>
            </a:r>
          </a:p>
          <a:p>
            <a:pPr lvl="0"/>
            <a:endParaRPr lang="fr-FR" dirty="0"/>
          </a:p>
        </p:txBody>
      </p:sp>
      <p:pic>
        <p:nvPicPr>
          <p:cNvPr id="11" name="Image 10" title="Sécurité sociale - l'Assurance Maladie : Agir ensemble, protéger chacun - Caisse nationale">
            <a:extLst>
              <a:ext uri="{FF2B5EF4-FFF2-40B4-BE49-F238E27FC236}">
                <a16:creationId xmlns:a16="http://schemas.microsoft.com/office/drawing/2014/main" id="{B016652D-7AC7-B847-9586-4DBCD1C31C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752" y="-49428"/>
            <a:ext cx="7587938" cy="2304000"/>
          </a:xfrm>
          <a:prstGeom prst="rect">
            <a:avLst/>
          </a:prstGeom>
        </p:spPr>
      </p:pic>
      <p:pic>
        <p:nvPicPr>
          <p:cNvPr id="12" name="Picture 6">
            <a:extLst>
              <a:ext uri="{FF2B5EF4-FFF2-40B4-BE49-F238E27FC236}">
                <a16:creationId xmlns:a16="http://schemas.microsoft.com/office/drawing/2014/main" id="{92C81616-22AB-44FD-AB43-9ECBC4BA342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7962" y="5597786"/>
            <a:ext cx="1268644" cy="799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3216516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uverture de 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5338D63-7F58-4C41-967C-A9B0AAD4A3E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04000" y="496800"/>
            <a:ext cx="11185200" cy="5407113"/>
          </a:xfrm>
          <a:prstGeom prst="rect">
            <a:avLst/>
          </a:prstGeom>
          <a:solidFill>
            <a:srgbClr val="E87C54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BF3A9F-5739-4B40-A377-C403E92DB70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538560" y="1700171"/>
            <a:ext cx="2880000" cy="1299879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88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1538558" y="3000049"/>
            <a:ext cx="7560000" cy="169200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20000"/>
              </a:lnSpc>
              <a:buNone/>
              <a:defRPr sz="38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 sur plusieurs lignes</a:t>
            </a:r>
          </a:p>
        </p:txBody>
      </p:sp>
      <p:sp>
        <p:nvSpPr>
          <p:cNvPr id="50" name="Espace réservé du numéro de diapositive 49">
            <a:extLst>
              <a:ext uri="{FF2B5EF4-FFF2-40B4-BE49-F238E27FC236}">
                <a16:creationId xmlns:a16="http://schemas.microsoft.com/office/drawing/2014/main" id="{28BD423F-B223-3849-B9E3-A73BC014845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id="{73D67ACB-3E0F-4ED7-8607-B138A3FD73A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47961" y="2283861"/>
            <a:ext cx="28800" cy="2422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588400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uverture de 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5338D63-7F58-4C41-967C-A9B0AAD4A3E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04000" y="496800"/>
            <a:ext cx="11185200" cy="5407113"/>
          </a:xfrm>
          <a:prstGeom prst="rect">
            <a:avLst/>
          </a:prstGeom>
          <a:solidFill>
            <a:srgbClr val="E7308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BF3A9F-5739-4B40-A377-C403E92DB70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538560" y="1700171"/>
            <a:ext cx="2880000" cy="1299879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88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1538558" y="3000049"/>
            <a:ext cx="7560000" cy="169200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20000"/>
              </a:lnSpc>
              <a:buNone/>
              <a:defRPr sz="38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 sur plusieurs lignes</a:t>
            </a:r>
          </a:p>
        </p:txBody>
      </p:sp>
      <p:sp>
        <p:nvSpPr>
          <p:cNvPr id="50" name="Espace réservé du numéro de diapositive 49">
            <a:extLst>
              <a:ext uri="{FF2B5EF4-FFF2-40B4-BE49-F238E27FC236}">
                <a16:creationId xmlns:a16="http://schemas.microsoft.com/office/drawing/2014/main" id="{28BD423F-B223-3849-B9E3-A73BC014845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id="{73D67ACB-3E0F-4ED7-8607-B138A3FD73A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47961" y="2283861"/>
            <a:ext cx="28800" cy="2422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4064081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verture de sous-part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5338D63-7F58-4C41-967C-A9B0AAD4A3E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04000" y="496800"/>
            <a:ext cx="11185200" cy="5407113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1538558" y="3000049"/>
            <a:ext cx="7560000" cy="1692000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20000"/>
              </a:lnSpc>
              <a:buNone/>
              <a:defRPr sz="3800" b="0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E LA SOUS-PARTIE SUR PLUSIEURS LIGNES</a:t>
            </a:r>
          </a:p>
        </p:txBody>
      </p:sp>
      <p:sp>
        <p:nvSpPr>
          <p:cNvPr id="50" name="Espace réservé du numéro de diapositive 49">
            <a:extLst>
              <a:ext uri="{FF2B5EF4-FFF2-40B4-BE49-F238E27FC236}">
                <a16:creationId xmlns:a16="http://schemas.microsoft.com/office/drawing/2014/main" id="{28BD423F-B223-3849-B9E3-A73BC014845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id="{73D67ACB-3E0F-4ED7-8607-B138A3FD73A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 flipH="1">
            <a:off x="1376760" y="2968283"/>
            <a:ext cx="45719" cy="17383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2993333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uverture de sous-part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5338D63-7F58-4C41-967C-A9B0AAD4A3E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04000" y="496800"/>
            <a:ext cx="11185200" cy="5407113"/>
          </a:xfrm>
          <a:prstGeom prst="rect">
            <a:avLst/>
          </a:prstGeom>
          <a:solidFill>
            <a:srgbClr val="2A9CA9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0" name="Espace réservé du numéro de diapositive 49">
            <a:extLst>
              <a:ext uri="{FF2B5EF4-FFF2-40B4-BE49-F238E27FC236}">
                <a16:creationId xmlns:a16="http://schemas.microsoft.com/office/drawing/2014/main" id="{28BD423F-B223-3849-B9E3-A73BC014845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1538558" y="3000049"/>
            <a:ext cx="7560000" cy="1692000"/>
          </a:xfrm>
          <a:prstGeom prst="rect">
            <a:avLst/>
          </a:prstGeom>
        </p:spPr>
        <p:txBody>
          <a:bodyPr anchor="t"/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Symbol" panose="05050102010706020507" pitchFamily="18" charset="2"/>
              <a:buNone/>
              <a:tabLst/>
              <a:defRPr sz="3800" b="0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fr-FR" dirty="0"/>
              <a:t>TITRE DE LA SOUS-PARTIE SUR PLUSIEURS LIGNES</a:t>
            </a:r>
          </a:p>
          <a:p>
            <a:pPr lvl="0"/>
            <a:endParaRPr lang="fr-FR" dirty="0"/>
          </a:p>
        </p:txBody>
      </p:sp>
      <p:sp>
        <p:nvSpPr>
          <p:cNvPr id="9" name="Espace réservé du texte 6">
            <a:extLst>
              <a:ext uri="{FF2B5EF4-FFF2-40B4-BE49-F238E27FC236}">
                <a16:creationId xmlns:a16="http://schemas.microsoft.com/office/drawing/2014/main" id="{73D67ACB-3E0F-4ED7-8607-B138A3FD73A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 flipH="1">
            <a:off x="1376760" y="2968283"/>
            <a:ext cx="45719" cy="17383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6854876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uverture de sous-part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5338D63-7F58-4C41-967C-A9B0AAD4A3E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04000" y="496800"/>
            <a:ext cx="11185200" cy="5407113"/>
          </a:xfrm>
          <a:prstGeom prst="rect">
            <a:avLst/>
          </a:prstGeom>
          <a:solidFill>
            <a:srgbClr val="E87C54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0" name="Espace réservé du numéro de diapositive 49">
            <a:extLst>
              <a:ext uri="{FF2B5EF4-FFF2-40B4-BE49-F238E27FC236}">
                <a16:creationId xmlns:a16="http://schemas.microsoft.com/office/drawing/2014/main" id="{28BD423F-B223-3849-B9E3-A73BC014845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1538558" y="3000049"/>
            <a:ext cx="7560000" cy="1692000"/>
          </a:xfrm>
          <a:prstGeom prst="rect">
            <a:avLst/>
          </a:prstGeom>
        </p:spPr>
        <p:txBody>
          <a:bodyPr anchor="t"/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Symbol" panose="05050102010706020507" pitchFamily="18" charset="2"/>
              <a:buNone/>
              <a:tabLst/>
              <a:defRPr sz="3800" b="0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fr-FR" dirty="0"/>
              <a:t>TITRE DE LA SOUS-PARTIE SUR PLUSIEURS LIGNES</a:t>
            </a:r>
          </a:p>
          <a:p>
            <a:pPr lvl="0"/>
            <a:endParaRPr lang="fr-FR" dirty="0"/>
          </a:p>
        </p:txBody>
      </p:sp>
      <p:sp>
        <p:nvSpPr>
          <p:cNvPr id="9" name="Espace réservé du texte 6">
            <a:extLst>
              <a:ext uri="{FF2B5EF4-FFF2-40B4-BE49-F238E27FC236}">
                <a16:creationId xmlns:a16="http://schemas.microsoft.com/office/drawing/2014/main" id="{73D67ACB-3E0F-4ED7-8607-B138A3FD73A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 flipH="1">
            <a:off x="1376760" y="2968283"/>
            <a:ext cx="45719" cy="17383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8358393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uverture de sous-part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5338D63-7F58-4C41-967C-A9B0AAD4A3E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04000" y="496800"/>
            <a:ext cx="11185200" cy="5407113"/>
          </a:xfrm>
          <a:prstGeom prst="rect">
            <a:avLst/>
          </a:prstGeom>
          <a:solidFill>
            <a:srgbClr val="E7308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0" name="Espace réservé du numéro de diapositive 49">
            <a:extLst>
              <a:ext uri="{FF2B5EF4-FFF2-40B4-BE49-F238E27FC236}">
                <a16:creationId xmlns:a16="http://schemas.microsoft.com/office/drawing/2014/main" id="{28BD423F-B223-3849-B9E3-A73BC014845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1538558" y="3000049"/>
            <a:ext cx="7560000" cy="1692000"/>
          </a:xfrm>
          <a:prstGeom prst="rect">
            <a:avLst/>
          </a:prstGeom>
        </p:spPr>
        <p:txBody>
          <a:bodyPr anchor="t"/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Symbol" panose="05050102010706020507" pitchFamily="18" charset="2"/>
              <a:buNone/>
              <a:tabLst/>
              <a:defRPr sz="3800" b="0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fr-FR" dirty="0"/>
              <a:t>TITRE DE LA SOUS-PARTIE SUR PLUSIEURS LIGNES</a:t>
            </a:r>
          </a:p>
          <a:p>
            <a:pPr lvl="0"/>
            <a:endParaRPr lang="fr-FR" dirty="0"/>
          </a:p>
        </p:txBody>
      </p:sp>
      <p:sp>
        <p:nvSpPr>
          <p:cNvPr id="9" name="Espace réservé du texte 6">
            <a:extLst>
              <a:ext uri="{FF2B5EF4-FFF2-40B4-BE49-F238E27FC236}">
                <a16:creationId xmlns:a16="http://schemas.microsoft.com/office/drawing/2014/main" id="{73D67ACB-3E0F-4ED7-8607-B138A3FD73A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 flipH="1">
            <a:off x="1376760" y="2968283"/>
            <a:ext cx="45719" cy="17383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1579826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CF3B943-80A1-4E09-AFBA-4C7EDC0AD2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3094" y="2087563"/>
            <a:ext cx="10422019" cy="37671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34E310A-4CEE-7246-82CD-435F6B104E3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D70E81EC-A4CC-46F3-8A94-BB7AD42F7D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Cliquez pour ajouter un titre</a:t>
            </a:r>
          </a:p>
        </p:txBody>
      </p:sp>
    </p:spTree>
    <p:extLst>
      <p:ext uri="{BB962C8B-B14F-4D97-AF65-F5344CB8AC3E}">
        <p14:creationId xmlns:p14="http://schemas.microsoft.com/office/powerpoint/2010/main" val="36060861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2B4DC679-F54F-4846-9912-E80DB1F86B4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3094" y="2087563"/>
            <a:ext cx="10422019" cy="37671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34E310A-4CEE-7246-82CD-435F6B104E3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D70E81EC-A4CC-46F3-8A94-BB7AD42F7D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rgbClr val="2A9CA9"/>
          </a:solidFill>
        </p:spPr>
        <p:txBody>
          <a:bodyPr/>
          <a:lstStyle/>
          <a:p>
            <a:r>
              <a:rPr lang="fr-FR" dirty="0"/>
              <a:t>Cliquez pour ajouter un titre</a:t>
            </a:r>
          </a:p>
        </p:txBody>
      </p:sp>
    </p:spTree>
    <p:extLst>
      <p:ext uri="{BB962C8B-B14F-4D97-AF65-F5344CB8AC3E}">
        <p14:creationId xmlns:p14="http://schemas.microsoft.com/office/powerpoint/2010/main" val="4282703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98C1329A-664A-4E28-B644-3636A328F32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3094" y="2087563"/>
            <a:ext cx="10422019" cy="37671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34E310A-4CEE-7246-82CD-435F6B104E3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D70E81EC-A4CC-46F3-8A94-BB7AD42F7D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rgbClr val="E87C54"/>
          </a:solidFill>
        </p:spPr>
        <p:txBody>
          <a:bodyPr/>
          <a:lstStyle/>
          <a:p>
            <a:r>
              <a:rPr lang="fr-FR" dirty="0"/>
              <a:t>Cliquez pour ajouter un titre</a:t>
            </a:r>
          </a:p>
        </p:txBody>
      </p:sp>
    </p:spTree>
    <p:extLst>
      <p:ext uri="{BB962C8B-B14F-4D97-AF65-F5344CB8AC3E}">
        <p14:creationId xmlns:p14="http://schemas.microsoft.com/office/powerpoint/2010/main" val="1663017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6D3E7924-C220-48DB-B1CD-419E6988750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73094" y="2087563"/>
            <a:ext cx="10422019" cy="37671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34E310A-4CEE-7246-82CD-435F6B104E3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D70E81EC-A4CC-46F3-8A94-BB7AD42F7D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rgbClr val="E73083"/>
          </a:solidFill>
        </p:spPr>
        <p:txBody>
          <a:bodyPr/>
          <a:lstStyle/>
          <a:p>
            <a:r>
              <a:rPr lang="fr-FR" dirty="0"/>
              <a:t>Cliquez pour ajouter un titre</a:t>
            </a:r>
          </a:p>
        </p:txBody>
      </p:sp>
    </p:spTree>
    <p:extLst>
      <p:ext uri="{BB962C8B-B14F-4D97-AF65-F5344CB8AC3E}">
        <p14:creationId xmlns:p14="http://schemas.microsoft.com/office/powerpoint/2010/main" val="28321907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N°3 CNAM Couverture fond coule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1">
            <a:extLst>
              <a:ext uri="{FF2B5EF4-FFF2-40B4-BE49-F238E27FC236}">
                <a16:creationId xmlns:a16="http://schemas.microsoft.com/office/drawing/2014/main" id="{61993A03-7512-D045-9F2A-F91E04EFA9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6800" y="2188868"/>
            <a:ext cx="11178400" cy="4157999"/>
          </a:xfrm>
          <a:prstGeom prst="rect">
            <a:avLst/>
          </a:prstGeom>
          <a:solidFill>
            <a:srgbClr val="2A9CA9"/>
          </a:solidFill>
        </p:spPr>
        <p:txBody>
          <a:bodyPr lIns="251999" tIns="270000" rIns="90000" bIns="46800" anchor="t">
            <a:normAutofit/>
          </a:bodyPr>
          <a:lstStyle>
            <a:lvl1pPr algn="l">
              <a:lnSpc>
                <a:spcPct val="120000"/>
              </a:lnSpc>
              <a:spcAft>
                <a:spcPts val="0"/>
              </a:spcAft>
              <a:defRPr sz="4100"/>
            </a:lvl1pPr>
          </a:lstStyle>
          <a:p>
            <a:r>
              <a:rPr lang="fr-FR" dirty="0"/>
              <a:t>CLIQUEZ POUR AJOUTER UN TITRE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92507B6F-FE6B-4F61-B061-42BC8C5E7C8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00000" y="6372000"/>
            <a:ext cx="1800000" cy="288000"/>
          </a:xfrm>
        </p:spPr>
        <p:txBody>
          <a:bodyPr/>
          <a:lstStyle/>
          <a:p>
            <a:fld id="{283CFBEF-98C3-6C4D-AECE-A89E43EA2455}" type="datetime1">
              <a:rPr lang="fr-FR" smtClean="0"/>
              <a:t>19/06/2023</a:t>
            </a:fld>
            <a:endParaRPr lang="fr-FR" dirty="0"/>
          </a:p>
        </p:txBody>
      </p:sp>
      <p:sp>
        <p:nvSpPr>
          <p:cNvPr id="8" name="Espace réservé du texte 13"/>
          <p:cNvSpPr>
            <a:spLocks noGrp="1"/>
          </p:cNvSpPr>
          <p:nvPr>
            <p:ph type="body" sz="quarter" idx="12" hasCustomPrompt="1"/>
          </p:nvPr>
        </p:nvSpPr>
        <p:spPr>
          <a:xfrm>
            <a:off x="701458" y="4834372"/>
            <a:ext cx="10935221" cy="7524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QUEZ POUR AJOUTER UN SOUS-TITRE</a:t>
            </a:r>
          </a:p>
        </p:txBody>
      </p:sp>
      <p:sp>
        <p:nvSpPr>
          <p:cNvPr id="9" name="Espace réservé du texte 13"/>
          <p:cNvSpPr>
            <a:spLocks noGrp="1"/>
          </p:cNvSpPr>
          <p:nvPr>
            <p:ph type="body" sz="quarter" idx="13" hasCustomPrompt="1"/>
          </p:nvPr>
        </p:nvSpPr>
        <p:spPr>
          <a:xfrm>
            <a:off x="5962389" y="6013907"/>
            <a:ext cx="5688904" cy="324263"/>
          </a:xfrm>
          <a:prstGeom prst="rect">
            <a:avLst/>
          </a:prstGeom>
        </p:spPr>
        <p:txBody>
          <a:bodyPr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Symbol" panose="05050102010706020507" pitchFamily="18" charset="2"/>
              <a:buNone/>
              <a:tabLst/>
              <a:defRPr sz="1600" b="0" i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fr-FR" dirty="0"/>
              <a:t>Cliquez pour ajouter du texte (nom de l’entité émettrice)</a:t>
            </a:r>
          </a:p>
          <a:p>
            <a:pPr lvl="0"/>
            <a:endParaRPr lang="fr-FR" dirty="0"/>
          </a:p>
        </p:txBody>
      </p:sp>
      <p:pic>
        <p:nvPicPr>
          <p:cNvPr id="7" name="Image 6" title="Sécurité sociale - l'Assurance Maladie : Agir ensemble, protéger chacun - Caisse nationale">
            <a:extLst>
              <a:ext uri="{FF2B5EF4-FFF2-40B4-BE49-F238E27FC236}">
                <a16:creationId xmlns:a16="http://schemas.microsoft.com/office/drawing/2014/main" id="{C669554B-24A3-6E4A-BF99-164EAC00863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752" y="-49428"/>
            <a:ext cx="7587938" cy="23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283996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4CFFACC-99FF-5840-ABC3-B3AEF7EC5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86A2F40-717A-4467-A28B-580C93033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Cliquez pour ajouter un t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8D111AFF-88E4-7141-894B-53BBBE1918B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096660" y="1609595"/>
            <a:ext cx="5595938" cy="429431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insérer un élément</a:t>
            </a:r>
          </a:p>
        </p:txBody>
      </p:sp>
      <p:sp>
        <p:nvSpPr>
          <p:cNvPr id="6" name="Espace réservé du texte 4">
            <a:extLst>
              <a:ext uri="{FF2B5EF4-FFF2-40B4-BE49-F238E27FC236}">
                <a16:creationId xmlns:a16="http://schemas.microsoft.com/office/drawing/2014/main" id="{64C7CDFE-DF95-4CA3-98A5-7BD20AEBF1A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8661" y="2087563"/>
            <a:ext cx="5220000" cy="3816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1340776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4CFFACC-99FF-5840-ABC3-B3AEF7EC5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86A2F40-717A-4467-A28B-580C93033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rgbClr val="2A9CA9"/>
          </a:solidFill>
        </p:spPr>
        <p:txBody>
          <a:bodyPr/>
          <a:lstStyle/>
          <a:p>
            <a:r>
              <a:rPr lang="fr-FR" dirty="0"/>
              <a:t>Cliquez pour ajouter un t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8D111AFF-88E4-7141-894B-53BBBE1918B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096660" y="1609595"/>
            <a:ext cx="5595938" cy="429431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insérer un élément</a:t>
            </a:r>
          </a:p>
        </p:txBody>
      </p:sp>
      <p:sp>
        <p:nvSpPr>
          <p:cNvPr id="6" name="Espace réservé du texte 4">
            <a:extLst>
              <a:ext uri="{FF2B5EF4-FFF2-40B4-BE49-F238E27FC236}">
                <a16:creationId xmlns:a16="http://schemas.microsoft.com/office/drawing/2014/main" id="{30FA6ADF-24F5-4136-844C-F6784D4250A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8661" y="2087563"/>
            <a:ext cx="5220000" cy="3816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1807934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e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4CFFACC-99FF-5840-ABC3-B3AEF7EC5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86A2F40-717A-4467-A28B-580C93033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rgbClr val="E87C54"/>
          </a:solidFill>
        </p:spPr>
        <p:txBody>
          <a:bodyPr/>
          <a:lstStyle/>
          <a:p>
            <a:r>
              <a:rPr lang="fr-FR" dirty="0"/>
              <a:t>Cliquez pour ajouter un t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8D111AFF-88E4-7141-894B-53BBBE1918B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096660" y="1609595"/>
            <a:ext cx="5595938" cy="429431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insérer un élément</a:t>
            </a:r>
          </a:p>
        </p:txBody>
      </p:sp>
      <p:sp>
        <p:nvSpPr>
          <p:cNvPr id="6" name="Espace réservé du texte 4">
            <a:extLst>
              <a:ext uri="{FF2B5EF4-FFF2-40B4-BE49-F238E27FC236}">
                <a16:creationId xmlns:a16="http://schemas.microsoft.com/office/drawing/2014/main" id="{6ADE6774-34F3-49AC-A02F-D0366059DC4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8661" y="2087563"/>
            <a:ext cx="5220000" cy="3816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2637072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e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4CFFACC-99FF-5840-ABC3-B3AEF7EC5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86A2F40-717A-4467-A28B-580C93033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rgbClr val="E73083"/>
          </a:solidFill>
        </p:spPr>
        <p:txBody>
          <a:bodyPr/>
          <a:lstStyle/>
          <a:p>
            <a:r>
              <a:rPr lang="fr-FR" dirty="0"/>
              <a:t>Cliquez pour ajouter un t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8D111AFF-88E4-7141-894B-53BBBE1918B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096660" y="1609595"/>
            <a:ext cx="5595938" cy="429431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insérer un élément</a:t>
            </a:r>
          </a:p>
        </p:txBody>
      </p:sp>
      <p:sp>
        <p:nvSpPr>
          <p:cNvPr id="6" name="Espace réservé du texte 4">
            <a:extLst>
              <a:ext uri="{FF2B5EF4-FFF2-40B4-BE49-F238E27FC236}">
                <a16:creationId xmlns:a16="http://schemas.microsoft.com/office/drawing/2014/main" id="{D662AE38-9407-4D2E-9CC9-7BB7DE45925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8661" y="2087563"/>
            <a:ext cx="5220000" cy="3816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1879702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e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4CFFACC-99FF-5840-ABC3-B3AEF7EC5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86A2F40-717A-4467-A28B-580C93033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chemeClr val="accent4"/>
          </a:solidFill>
        </p:spPr>
        <p:txBody>
          <a:bodyPr/>
          <a:lstStyle/>
          <a:p>
            <a:r>
              <a:rPr lang="fr-FR" dirty="0"/>
              <a:t>Cliquez pour ajouter un t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8D111AFF-88E4-7141-894B-53BBBE1918B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096660" y="1609595"/>
            <a:ext cx="5595938" cy="429431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insérer un élément</a:t>
            </a:r>
          </a:p>
        </p:txBody>
      </p:sp>
      <p:sp>
        <p:nvSpPr>
          <p:cNvPr id="6" name="Espace réservé du texte 4">
            <a:extLst>
              <a:ext uri="{FF2B5EF4-FFF2-40B4-BE49-F238E27FC236}">
                <a16:creationId xmlns:a16="http://schemas.microsoft.com/office/drawing/2014/main" id="{4C16A07E-A0DC-4D23-A540-5B576EF46D1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8661" y="2087563"/>
            <a:ext cx="5220000" cy="3816350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34098946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4CFFACC-99FF-5840-ABC3-B3AEF7EC5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86A2F40-717A-4467-A28B-580C93033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Cliquez pour ajouter un t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8D111AFF-88E4-7141-894B-53BBBE1918B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98660" y="1609595"/>
            <a:ext cx="11193938" cy="429431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insérer un élément</a:t>
            </a:r>
          </a:p>
        </p:txBody>
      </p:sp>
    </p:spTree>
    <p:extLst>
      <p:ext uri="{BB962C8B-B14F-4D97-AF65-F5344CB8AC3E}">
        <p14:creationId xmlns:p14="http://schemas.microsoft.com/office/powerpoint/2010/main" val="111199933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4CFFACC-99FF-5840-ABC3-B3AEF7EC5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86A2F40-717A-4467-A28B-580C93033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rgbClr val="2A9CA9"/>
          </a:solidFill>
        </p:spPr>
        <p:txBody>
          <a:bodyPr/>
          <a:lstStyle/>
          <a:p>
            <a:r>
              <a:rPr lang="fr-FR" dirty="0"/>
              <a:t>Cliquez pour ajouter un t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8D111AFF-88E4-7141-894B-53BBBE1918B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98660" y="1609595"/>
            <a:ext cx="11193938" cy="429431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insérer un élément</a:t>
            </a:r>
          </a:p>
        </p:txBody>
      </p:sp>
    </p:spTree>
    <p:extLst>
      <p:ext uri="{BB962C8B-B14F-4D97-AF65-F5344CB8AC3E}">
        <p14:creationId xmlns:p14="http://schemas.microsoft.com/office/powerpoint/2010/main" val="87020154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4CFFACC-99FF-5840-ABC3-B3AEF7EC5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86A2F40-717A-4467-A28B-580C93033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rgbClr val="E87C54"/>
          </a:solidFill>
        </p:spPr>
        <p:txBody>
          <a:bodyPr/>
          <a:lstStyle/>
          <a:p>
            <a:r>
              <a:rPr lang="fr-FR" dirty="0"/>
              <a:t>Cliquez pour ajouter un t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8D111AFF-88E4-7141-894B-53BBBE1918B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98660" y="1609595"/>
            <a:ext cx="11193938" cy="429431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insérer un élément</a:t>
            </a:r>
          </a:p>
        </p:txBody>
      </p:sp>
    </p:spTree>
    <p:extLst>
      <p:ext uri="{BB962C8B-B14F-4D97-AF65-F5344CB8AC3E}">
        <p14:creationId xmlns:p14="http://schemas.microsoft.com/office/powerpoint/2010/main" val="160610663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4CFFACC-99FF-5840-ABC3-B3AEF7EC5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86A2F40-717A-4467-A28B-580C93033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rgbClr val="E73083"/>
          </a:solidFill>
        </p:spPr>
        <p:txBody>
          <a:bodyPr/>
          <a:lstStyle/>
          <a:p>
            <a:r>
              <a:rPr lang="fr-FR" dirty="0"/>
              <a:t>Cliquez pour ajouter un t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8D111AFF-88E4-7141-894B-53BBBE1918B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98660" y="1609595"/>
            <a:ext cx="11193938" cy="429431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insérer un élément</a:t>
            </a:r>
          </a:p>
        </p:txBody>
      </p:sp>
    </p:spTree>
    <p:extLst>
      <p:ext uri="{BB962C8B-B14F-4D97-AF65-F5344CB8AC3E}">
        <p14:creationId xmlns:p14="http://schemas.microsoft.com/office/powerpoint/2010/main" val="85173024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4CFFACC-99FF-5840-ABC3-B3AEF7EC5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86A2F40-717A-4467-A28B-580C93033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Cliquez pour ajouter un titre</a:t>
            </a:r>
          </a:p>
        </p:txBody>
      </p:sp>
      <p:sp>
        <p:nvSpPr>
          <p:cNvPr id="10" name="Espace réservé du texte 8">
            <a:extLst>
              <a:ext uri="{FF2B5EF4-FFF2-40B4-BE49-F238E27FC236}">
                <a16:creationId xmlns:a16="http://schemas.microsoft.com/office/drawing/2014/main" id="{761F1608-1EEB-E647-B6C1-A92DFDEACC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8660" y="4888434"/>
            <a:ext cx="3527240" cy="91546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ajouter du texte</a:t>
            </a:r>
          </a:p>
        </p:txBody>
      </p:sp>
      <p:sp>
        <p:nvSpPr>
          <p:cNvPr id="11" name="Espace réservé du texte 8">
            <a:extLst>
              <a:ext uri="{FF2B5EF4-FFF2-40B4-BE49-F238E27FC236}">
                <a16:creationId xmlns:a16="http://schemas.microsoft.com/office/drawing/2014/main" id="{12396C78-3A19-AA4A-BA82-771000D34AB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33040" y="4888432"/>
            <a:ext cx="3527240" cy="915469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ajouter du texte</a:t>
            </a:r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EC2BF74E-545A-A440-902F-FA50E56110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67420" y="4888431"/>
            <a:ext cx="3527240" cy="91547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ajouter du texte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823BC6F5-8015-C948-A0DF-067DBD51FF6B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98475" y="1824038"/>
            <a:ext cx="3527425" cy="28495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Cliquez pour insérer un élément</a:t>
            </a:r>
          </a:p>
        </p:txBody>
      </p:sp>
      <p:sp>
        <p:nvSpPr>
          <p:cNvPr id="14" name="Espace réservé du contenu 4">
            <a:extLst>
              <a:ext uri="{FF2B5EF4-FFF2-40B4-BE49-F238E27FC236}">
                <a16:creationId xmlns:a16="http://schemas.microsoft.com/office/drawing/2014/main" id="{A4EA6C08-DD50-7E46-B36D-C6F5E1D6A9D7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332855" y="1824038"/>
            <a:ext cx="3527425" cy="28495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Cliquez pour insérer un élément</a:t>
            </a:r>
          </a:p>
        </p:txBody>
      </p:sp>
      <p:sp>
        <p:nvSpPr>
          <p:cNvPr id="15" name="Espace réservé du contenu 4">
            <a:extLst>
              <a:ext uri="{FF2B5EF4-FFF2-40B4-BE49-F238E27FC236}">
                <a16:creationId xmlns:a16="http://schemas.microsoft.com/office/drawing/2014/main" id="{724E9820-D288-7446-90D8-96CAB19684D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167235" y="1824038"/>
            <a:ext cx="3527425" cy="28495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Cliquez pour insérer un élément</a:t>
            </a:r>
          </a:p>
        </p:txBody>
      </p:sp>
    </p:spTree>
    <p:extLst>
      <p:ext uri="{BB962C8B-B14F-4D97-AF65-F5344CB8AC3E}">
        <p14:creationId xmlns:p14="http://schemas.microsoft.com/office/powerpoint/2010/main" val="42927440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>
            <a:extLst>
              <a:ext uri="{FF2B5EF4-FFF2-40B4-BE49-F238E27FC236}">
                <a16:creationId xmlns:a16="http://schemas.microsoft.com/office/drawing/2014/main" id="{6B3716BC-8FD3-496D-ACC7-678BE5DE6E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595" y="482903"/>
            <a:ext cx="11186809" cy="5406942"/>
          </a:xfrm>
          <a:prstGeom prst="rect">
            <a:avLst/>
          </a:prstGeom>
          <a:solidFill>
            <a:schemeClr val="tx1"/>
          </a:solidFill>
        </p:spPr>
        <p:txBody>
          <a:bodyPr lIns="396000" tIns="180000">
            <a:normAutofit/>
          </a:bodyPr>
          <a:lstStyle>
            <a:lvl1pPr algn="l">
              <a:defRPr sz="2500"/>
            </a:lvl1pPr>
          </a:lstStyle>
          <a:p>
            <a:r>
              <a:rPr lang="fr-FR" dirty="0"/>
              <a:t>SOMMAI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BF3A9F-5739-4B40-A377-C403E92DB70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198747" y="1268705"/>
            <a:ext cx="1080000" cy="552732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3195322" y="1808727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32F40D82-1D3E-C543-A9C8-76923BEA9D3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198747" y="2272799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86A352DF-AB9E-9B4F-AED0-504809360D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95322" y="2826889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9F35C531-5E0C-2348-94D4-E0DD456C2743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3198747" y="3276893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115F9863-8A3D-CA4E-B187-7654539E5C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95322" y="3845051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023166E1-6828-4A45-B43D-B0C2EE9820E9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3198747" y="4315607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507F5AEF-E57D-BC4A-AC62-A4381DC446A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95322" y="4869697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39" name="Espace réservé du texte 2">
            <a:extLst>
              <a:ext uri="{FF2B5EF4-FFF2-40B4-BE49-F238E27FC236}">
                <a16:creationId xmlns:a16="http://schemas.microsoft.com/office/drawing/2014/main" id="{961AF32D-B3C4-B445-80F7-88D960D0C1D1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7554360" y="1254637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40" name="Espace réservé du texte 4">
            <a:extLst>
              <a:ext uri="{FF2B5EF4-FFF2-40B4-BE49-F238E27FC236}">
                <a16:creationId xmlns:a16="http://schemas.microsoft.com/office/drawing/2014/main" id="{E72F3648-22FD-2C45-9AA6-7AC920990BE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50935" y="1808727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42" name="Espace réservé du texte 2">
            <a:extLst>
              <a:ext uri="{FF2B5EF4-FFF2-40B4-BE49-F238E27FC236}">
                <a16:creationId xmlns:a16="http://schemas.microsoft.com/office/drawing/2014/main" id="{35295063-CF4F-3C4D-B623-028D3714E8AF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554360" y="2258731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43" name="Espace réservé du texte 4">
            <a:extLst>
              <a:ext uri="{FF2B5EF4-FFF2-40B4-BE49-F238E27FC236}">
                <a16:creationId xmlns:a16="http://schemas.microsoft.com/office/drawing/2014/main" id="{DC69E802-F70E-CD47-80B7-94A25976D0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550935" y="2826889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63405BB2-EA8B-DF4F-B40D-37B864F7C344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7554360" y="3276893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46" name="Espace réservé du texte 4">
            <a:extLst>
              <a:ext uri="{FF2B5EF4-FFF2-40B4-BE49-F238E27FC236}">
                <a16:creationId xmlns:a16="http://schemas.microsoft.com/office/drawing/2014/main" id="{C96A372E-23AB-1645-B4A8-AAF1D6AE633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50935" y="3845051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E04447C2-B2BB-094A-A2D2-3EFA71DA32C1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31" name="Espace réservé du texte 6">
            <a:extLst>
              <a:ext uri="{FF2B5EF4-FFF2-40B4-BE49-F238E27FC236}">
                <a16:creationId xmlns:a16="http://schemas.microsoft.com/office/drawing/2014/main" id="{A1BD8D2E-882B-4115-BB0A-4A38D47DF6B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150567" y="1521862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5" name="Espace réservé du texte 6">
            <a:extLst>
              <a:ext uri="{FF2B5EF4-FFF2-40B4-BE49-F238E27FC236}">
                <a16:creationId xmlns:a16="http://schemas.microsoft.com/office/drawing/2014/main" id="{084485DE-C49B-4B00-B58D-6170FBE477F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150567" y="2538946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6" name="Espace réservé du texte 6">
            <a:extLst>
              <a:ext uri="{FF2B5EF4-FFF2-40B4-BE49-F238E27FC236}">
                <a16:creationId xmlns:a16="http://schemas.microsoft.com/office/drawing/2014/main" id="{8FAC638C-D037-47B5-A2D3-B689A0E7531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150567" y="3557108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7" name="Espace réservé du texte 6">
            <a:extLst>
              <a:ext uri="{FF2B5EF4-FFF2-40B4-BE49-F238E27FC236}">
                <a16:creationId xmlns:a16="http://schemas.microsoft.com/office/drawing/2014/main" id="{BCBB00D8-F4CA-4503-AFB4-6935E50F1A3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150567" y="4581754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2" name="Espace réservé du texte 6">
            <a:extLst>
              <a:ext uri="{FF2B5EF4-FFF2-40B4-BE49-F238E27FC236}">
                <a16:creationId xmlns:a16="http://schemas.microsoft.com/office/drawing/2014/main" id="{466F3304-30B1-4357-B802-6A687D0B9E6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512502" y="1521862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3" name="Espace réservé du texte 6">
            <a:extLst>
              <a:ext uri="{FF2B5EF4-FFF2-40B4-BE49-F238E27FC236}">
                <a16:creationId xmlns:a16="http://schemas.microsoft.com/office/drawing/2014/main" id="{6A33E5C5-DEB2-4E8A-8A19-D6622B086DA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12502" y="2538946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4" name="Espace réservé du texte 6">
            <a:extLst>
              <a:ext uri="{FF2B5EF4-FFF2-40B4-BE49-F238E27FC236}">
                <a16:creationId xmlns:a16="http://schemas.microsoft.com/office/drawing/2014/main" id="{F21ADA1C-A3AB-4AC8-A63A-C3E2AE47095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512502" y="3557108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673771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4CFFACC-99FF-5840-ABC3-B3AEF7EC5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86A2F40-717A-4467-A28B-580C93033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rgbClr val="2A9CA9"/>
          </a:solidFill>
        </p:spPr>
        <p:txBody>
          <a:bodyPr/>
          <a:lstStyle/>
          <a:p>
            <a:r>
              <a:rPr lang="fr-FR" dirty="0"/>
              <a:t>Cliquez pour ajouter un titre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823BC6F5-8015-C948-A0DF-067DBD51FF6B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98475" y="1824038"/>
            <a:ext cx="3527425" cy="28495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Espace réservé du contenu 4">
            <a:extLst>
              <a:ext uri="{FF2B5EF4-FFF2-40B4-BE49-F238E27FC236}">
                <a16:creationId xmlns:a16="http://schemas.microsoft.com/office/drawing/2014/main" id="{A4EA6C08-DD50-7E46-B36D-C6F5E1D6A9D7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32855" y="1824038"/>
            <a:ext cx="3527425" cy="28495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space réservé du contenu 4">
            <a:extLst>
              <a:ext uri="{FF2B5EF4-FFF2-40B4-BE49-F238E27FC236}">
                <a16:creationId xmlns:a16="http://schemas.microsoft.com/office/drawing/2014/main" id="{724E9820-D288-7446-90D8-96CAB19684DA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167235" y="1824038"/>
            <a:ext cx="3527425" cy="28495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F2F5452A-EA35-364C-871A-EF7CC620C4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8660" y="4888434"/>
            <a:ext cx="3527240" cy="91546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ajouter du texte</a:t>
            </a:r>
          </a:p>
        </p:txBody>
      </p:sp>
      <p:sp>
        <p:nvSpPr>
          <p:cNvPr id="17" name="Espace réservé du texte 8">
            <a:extLst>
              <a:ext uri="{FF2B5EF4-FFF2-40B4-BE49-F238E27FC236}">
                <a16:creationId xmlns:a16="http://schemas.microsoft.com/office/drawing/2014/main" id="{826E2E5D-419D-F744-910A-52FB82C616E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33040" y="4888432"/>
            <a:ext cx="3527240" cy="915469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ajouter du texte</a:t>
            </a:r>
          </a:p>
        </p:txBody>
      </p:sp>
      <p:sp>
        <p:nvSpPr>
          <p:cNvPr id="18" name="Espace réservé du texte 8">
            <a:extLst>
              <a:ext uri="{FF2B5EF4-FFF2-40B4-BE49-F238E27FC236}">
                <a16:creationId xmlns:a16="http://schemas.microsoft.com/office/drawing/2014/main" id="{822EADD7-9147-EC4B-B04B-311375EF40B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67420" y="4888431"/>
            <a:ext cx="3527240" cy="91547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ajouter du texte</a:t>
            </a:r>
          </a:p>
        </p:txBody>
      </p:sp>
    </p:spTree>
    <p:extLst>
      <p:ext uri="{BB962C8B-B14F-4D97-AF65-F5344CB8AC3E}">
        <p14:creationId xmlns:p14="http://schemas.microsoft.com/office/powerpoint/2010/main" val="164696363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4CFFACC-99FF-5840-ABC3-B3AEF7EC5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86A2F40-717A-4467-A28B-580C93033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rgbClr val="E87C54"/>
          </a:solidFill>
        </p:spPr>
        <p:txBody>
          <a:bodyPr/>
          <a:lstStyle/>
          <a:p>
            <a:r>
              <a:rPr lang="fr-FR" dirty="0"/>
              <a:t>Cliquez pour ajouter un titre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823BC6F5-8015-C948-A0DF-067DBD51FF6B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98475" y="1824038"/>
            <a:ext cx="3527425" cy="28495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Espace réservé du contenu 4">
            <a:extLst>
              <a:ext uri="{FF2B5EF4-FFF2-40B4-BE49-F238E27FC236}">
                <a16:creationId xmlns:a16="http://schemas.microsoft.com/office/drawing/2014/main" id="{A4EA6C08-DD50-7E46-B36D-C6F5E1D6A9D7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32855" y="1824038"/>
            <a:ext cx="3527425" cy="28495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space réservé du contenu 4">
            <a:extLst>
              <a:ext uri="{FF2B5EF4-FFF2-40B4-BE49-F238E27FC236}">
                <a16:creationId xmlns:a16="http://schemas.microsoft.com/office/drawing/2014/main" id="{724E9820-D288-7446-90D8-96CAB19684DA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167235" y="1824038"/>
            <a:ext cx="3527425" cy="28495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21928D4E-4DC9-7743-8E29-22CA76F8BA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8660" y="4888434"/>
            <a:ext cx="3527240" cy="91546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ajouter du texte</a:t>
            </a:r>
          </a:p>
        </p:txBody>
      </p:sp>
      <p:sp>
        <p:nvSpPr>
          <p:cNvPr id="17" name="Espace réservé du texte 8">
            <a:extLst>
              <a:ext uri="{FF2B5EF4-FFF2-40B4-BE49-F238E27FC236}">
                <a16:creationId xmlns:a16="http://schemas.microsoft.com/office/drawing/2014/main" id="{55C896D7-F7BF-3B45-9D73-EEF39DDECB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33040" y="4888432"/>
            <a:ext cx="3527240" cy="915469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ajouter du texte</a:t>
            </a:r>
          </a:p>
        </p:txBody>
      </p:sp>
      <p:sp>
        <p:nvSpPr>
          <p:cNvPr id="18" name="Espace réservé du texte 8">
            <a:extLst>
              <a:ext uri="{FF2B5EF4-FFF2-40B4-BE49-F238E27FC236}">
                <a16:creationId xmlns:a16="http://schemas.microsoft.com/office/drawing/2014/main" id="{971C6247-F563-9D41-B02F-4C097708A15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67420" y="4888431"/>
            <a:ext cx="3527240" cy="91547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ajouter du texte</a:t>
            </a:r>
          </a:p>
        </p:txBody>
      </p:sp>
    </p:spTree>
    <p:extLst>
      <p:ext uri="{BB962C8B-B14F-4D97-AF65-F5344CB8AC3E}">
        <p14:creationId xmlns:p14="http://schemas.microsoft.com/office/powerpoint/2010/main" val="167570559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3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4CFFACC-99FF-5840-ABC3-B3AEF7EC5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86A2F40-717A-4467-A28B-580C930339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solidFill>
            <a:srgbClr val="E73083"/>
          </a:solidFill>
        </p:spPr>
        <p:txBody>
          <a:bodyPr/>
          <a:lstStyle/>
          <a:p>
            <a:r>
              <a:rPr lang="fr-FR" dirty="0"/>
              <a:t>Cliquez pour ajouter un titre</a:t>
            </a: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823BC6F5-8015-C948-A0DF-067DBD51FF6B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98475" y="1824038"/>
            <a:ext cx="3527425" cy="28495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Espace réservé du contenu 4">
            <a:extLst>
              <a:ext uri="{FF2B5EF4-FFF2-40B4-BE49-F238E27FC236}">
                <a16:creationId xmlns:a16="http://schemas.microsoft.com/office/drawing/2014/main" id="{A4EA6C08-DD50-7E46-B36D-C6F5E1D6A9D7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32855" y="1824038"/>
            <a:ext cx="3527425" cy="28495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Espace réservé du contenu 4">
            <a:extLst>
              <a:ext uri="{FF2B5EF4-FFF2-40B4-BE49-F238E27FC236}">
                <a16:creationId xmlns:a16="http://schemas.microsoft.com/office/drawing/2014/main" id="{724E9820-D288-7446-90D8-96CAB19684DA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167235" y="1824038"/>
            <a:ext cx="3527425" cy="28495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2F079DAE-8087-FE48-B24F-3114264C09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8660" y="4888434"/>
            <a:ext cx="3527240" cy="91546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ajouter du texte</a:t>
            </a:r>
          </a:p>
        </p:txBody>
      </p:sp>
      <p:sp>
        <p:nvSpPr>
          <p:cNvPr id="17" name="Espace réservé du texte 8">
            <a:extLst>
              <a:ext uri="{FF2B5EF4-FFF2-40B4-BE49-F238E27FC236}">
                <a16:creationId xmlns:a16="http://schemas.microsoft.com/office/drawing/2014/main" id="{F615992A-2E96-9841-A17D-A1581687B4A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33040" y="4888432"/>
            <a:ext cx="3527240" cy="915469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ajouter du texte</a:t>
            </a:r>
          </a:p>
        </p:txBody>
      </p:sp>
      <p:sp>
        <p:nvSpPr>
          <p:cNvPr id="18" name="Espace réservé du texte 8">
            <a:extLst>
              <a:ext uri="{FF2B5EF4-FFF2-40B4-BE49-F238E27FC236}">
                <a16:creationId xmlns:a16="http://schemas.microsoft.com/office/drawing/2014/main" id="{2B4AA268-8909-0A46-B5FD-C7B5494FB6F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67420" y="4888431"/>
            <a:ext cx="3527240" cy="91547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ajouter du texte</a:t>
            </a:r>
          </a:p>
        </p:txBody>
      </p:sp>
    </p:spTree>
    <p:extLst>
      <p:ext uri="{BB962C8B-B14F-4D97-AF65-F5344CB8AC3E}">
        <p14:creationId xmlns:p14="http://schemas.microsoft.com/office/powerpoint/2010/main" val="348988595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5338D63-7F58-4C41-967C-A9B0AAD4A3E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04000" y="496800"/>
            <a:ext cx="11185200" cy="5407113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0" name="Espace réservé du numéro de diapositive 49">
            <a:extLst>
              <a:ext uri="{FF2B5EF4-FFF2-40B4-BE49-F238E27FC236}">
                <a16:creationId xmlns:a16="http://schemas.microsoft.com/office/drawing/2014/main" id="{28BD423F-B223-3849-B9E3-A73BC014845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Espace réservé du texte 6">
            <a:extLst>
              <a:ext uri="{FF2B5EF4-FFF2-40B4-BE49-F238E27FC236}">
                <a16:creationId xmlns:a16="http://schemas.microsoft.com/office/drawing/2014/main" id="{C0D333F6-48EC-8A4C-A930-531E2DE5E3C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7301" y="1437861"/>
            <a:ext cx="50599" cy="13434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9F24CBFD-D250-A846-8089-C12AD963658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116013" y="1438275"/>
            <a:ext cx="7156450" cy="1343025"/>
          </a:xfrm>
          <a:prstGeom prst="rect">
            <a:avLst/>
          </a:prstGeom>
        </p:spPr>
        <p:txBody>
          <a:bodyPr/>
          <a:lstStyle>
            <a:lvl1pPr>
              <a:defRPr sz="3600" b="1" i="0" cap="all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fr-FR" dirty="0"/>
              <a:t>Cliquez pour ajouter du texte</a:t>
            </a:r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0053A370-BCB9-F741-B757-FB3ED04A0B7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116013" y="3747290"/>
            <a:ext cx="2998787" cy="16383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 b="1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 dirty="0"/>
              <a:t>Cliquez pour ajouter du texte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DDEF4A67-CF56-D046-AA7C-7AF35FFB01E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392341" y="3746502"/>
            <a:ext cx="2998787" cy="16383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 b="1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quez pour ajouter du texte</a:t>
            </a:r>
          </a:p>
        </p:txBody>
      </p:sp>
      <p:sp>
        <p:nvSpPr>
          <p:cNvPr id="12" name="Espace réservé du texte 5">
            <a:extLst>
              <a:ext uri="{FF2B5EF4-FFF2-40B4-BE49-F238E27FC236}">
                <a16:creationId xmlns:a16="http://schemas.microsoft.com/office/drawing/2014/main" id="{E702EB90-1B53-5B40-B4D8-18EFA767867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668669" y="3746502"/>
            <a:ext cx="2998787" cy="16383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 sz="1400" b="1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quez pour ajouter du texte</a:t>
            </a:r>
          </a:p>
        </p:txBody>
      </p:sp>
    </p:spTree>
    <p:extLst>
      <p:ext uri="{BB962C8B-B14F-4D97-AF65-F5344CB8AC3E}">
        <p14:creationId xmlns:p14="http://schemas.microsoft.com/office/powerpoint/2010/main" val="128650270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 fi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996553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29398"/>
            <a:ext cx="7518400" cy="506904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lang="fr-FR" sz="1700" b="0" kern="1200" baseline="0" dirty="0">
                <a:solidFill>
                  <a:srgbClr val="0C419A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endParaRPr lang="fr-FR" dirty="0"/>
          </a:p>
        </p:txBody>
      </p:sp>
      <p:cxnSp>
        <p:nvCxnSpPr>
          <p:cNvPr id="7" name="Connecteur droit 5"/>
          <p:cNvCxnSpPr/>
          <p:nvPr userDrawn="1"/>
        </p:nvCxnSpPr>
        <p:spPr>
          <a:xfrm>
            <a:off x="0" y="588749"/>
            <a:ext cx="75184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82034" y="928688"/>
            <a:ext cx="11755967" cy="46942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pic>
        <p:nvPicPr>
          <p:cNvPr id="6" name="Image 4">
            <a:extLst>
              <a:ext uri="{FF2B5EF4-FFF2-40B4-BE49-F238E27FC236}">
                <a16:creationId xmlns:a16="http://schemas.microsoft.com/office/drawing/2014/main" id="{26A3ADDE-FBB6-44B6-882B-4847178F228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8726"/>
            <a:ext cx="12192000" cy="550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Image 9">
            <a:extLst>
              <a:ext uri="{FF2B5EF4-FFF2-40B4-BE49-F238E27FC236}">
                <a16:creationId xmlns:a16="http://schemas.microsoft.com/office/drawing/2014/main" id="{72C821B2-1996-445A-8930-F9FC35952F8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1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4641544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365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3" imgH="416" progId="TCLayout.ActiveDocument.1">
                  <p:embed/>
                </p:oleObj>
              </mc:Choice>
              <mc:Fallback>
                <p:oleObj name="think-cell Slide" r:id="rId5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</a:pPr>
            <a:endParaRPr lang="fr-FR" sz="2500" b="1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1399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914400"/>
            <a:r>
              <a:rPr lang="fr-FR">
                <a:solidFill>
                  <a:srgbClr val="464646"/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42614644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761413" cy="70696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54954" y="2603500"/>
            <a:ext cx="8825659" cy="3416300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6250" y="6391838"/>
            <a:ext cx="11167453" cy="304799"/>
          </a:xfrm>
        </p:spPr>
        <p:txBody>
          <a:bodyPr/>
          <a:lstStyle/>
          <a:p>
            <a:r>
              <a:rPr lang="fr-FR" dirty="0">
                <a:solidFill>
                  <a:srgbClr val="0C419A"/>
                </a:solidFill>
              </a:rPr>
              <a:t>11/05/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352540" y="295729"/>
            <a:ext cx="838199" cy="767687"/>
          </a:xfrm>
          <a:prstGeom prst="rect">
            <a:avLst/>
          </a:prstGeom>
        </p:spPr>
        <p:txBody>
          <a:bodyPr/>
          <a:lstStyle/>
          <a:p>
            <a:fld id="{D8F602E6-4D9D-42E9-B849-2FB7AAFA31EC}" type="slidenum">
              <a:rPr lang="fr-FR" smtClean="0">
                <a:solidFill>
                  <a:srgbClr val="0C419A"/>
                </a:solidFill>
              </a:rPr>
              <a:pPr/>
              <a:t>‹N°›</a:t>
            </a:fld>
            <a:endParaRPr lang="fr-FR">
              <a:solidFill>
                <a:srgbClr val="0C419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22981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>
            <a:extLst>
              <a:ext uri="{FF2B5EF4-FFF2-40B4-BE49-F238E27FC236}">
                <a16:creationId xmlns:a16="http://schemas.microsoft.com/office/drawing/2014/main" id="{6B3716BC-8FD3-496D-ACC7-678BE5DE6E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595" y="496971"/>
            <a:ext cx="11186809" cy="5406942"/>
          </a:xfrm>
          <a:prstGeom prst="rect">
            <a:avLst/>
          </a:prstGeom>
          <a:solidFill>
            <a:srgbClr val="2A9CA9"/>
          </a:solidFill>
        </p:spPr>
        <p:txBody>
          <a:bodyPr lIns="396000" tIns="180000">
            <a:normAutofit/>
          </a:bodyPr>
          <a:lstStyle>
            <a:lvl1pPr algn="l">
              <a:defRPr sz="2500"/>
            </a:lvl1pPr>
          </a:lstStyle>
          <a:p>
            <a:r>
              <a:rPr lang="fr-FR" dirty="0"/>
              <a:t>SOMMAI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BF3A9F-5739-4B40-A377-C403E92DB70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198747" y="1254637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3195322" y="1808727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32F40D82-1D3E-C543-A9C8-76923BEA9D3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198747" y="2272799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86A352DF-AB9E-9B4F-AED0-504809360D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95322" y="2826889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9F35C531-5E0C-2348-94D4-E0DD456C2743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3198747" y="3290961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115F9863-8A3D-CA4E-B187-7654539E5C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95322" y="3845051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023166E1-6828-4A45-B43D-B0C2EE9820E9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3198747" y="4315607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507F5AEF-E57D-BC4A-AC62-A4381DC446A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95322" y="4869697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39" name="Espace réservé du texte 2">
            <a:extLst>
              <a:ext uri="{FF2B5EF4-FFF2-40B4-BE49-F238E27FC236}">
                <a16:creationId xmlns:a16="http://schemas.microsoft.com/office/drawing/2014/main" id="{961AF32D-B3C4-B445-80F7-88D960D0C1D1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7554360" y="1254637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40" name="Espace réservé du texte 4">
            <a:extLst>
              <a:ext uri="{FF2B5EF4-FFF2-40B4-BE49-F238E27FC236}">
                <a16:creationId xmlns:a16="http://schemas.microsoft.com/office/drawing/2014/main" id="{E72F3648-22FD-2C45-9AA6-7AC920990BE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50935" y="1808727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42" name="Espace réservé du texte 2">
            <a:extLst>
              <a:ext uri="{FF2B5EF4-FFF2-40B4-BE49-F238E27FC236}">
                <a16:creationId xmlns:a16="http://schemas.microsoft.com/office/drawing/2014/main" id="{35295063-CF4F-3C4D-B623-028D3714E8AF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554360" y="2272799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43" name="Espace réservé du texte 4">
            <a:extLst>
              <a:ext uri="{FF2B5EF4-FFF2-40B4-BE49-F238E27FC236}">
                <a16:creationId xmlns:a16="http://schemas.microsoft.com/office/drawing/2014/main" id="{DC69E802-F70E-CD47-80B7-94A25976D0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550935" y="2826889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63405BB2-EA8B-DF4F-B40D-37B864F7C344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7554360" y="3290961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46" name="Espace réservé du texte 4">
            <a:extLst>
              <a:ext uri="{FF2B5EF4-FFF2-40B4-BE49-F238E27FC236}">
                <a16:creationId xmlns:a16="http://schemas.microsoft.com/office/drawing/2014/main" id="{C96A372E-23AB-1645-B4A8-AAF1D6AE633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50935" y="3845051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E04447C2-B2BB-094A-A2D2-3EFA71DA32C1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31" name="Espace réservé du texte 6">
            <a:extLst>
              <a:ext uri="{FF2B5EF4-FFF2-40B4-BE49-F238E27FC236}">
                <a16:creationId xmlns:a16="http://schemas.microsoft.com/office/drawing/2014/main" id="{A1BD8D2E-882B-4115-BB0A-4A38D47DF6B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150567" y="1521862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5" name="Espace réservé du texte 6">
            <a:extLst>
              <a:ext uri="{FF2B5EF4-FFF2-40B4-BE49-F238E27FC236}">
                <a16:creationId xmlns:a16="http://schemas.microsoft.com/office/drawing/2014/main" id="{084485DE-C49B-4B00-B58D-6170FBE477F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150567" y="2538946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6" name="Espace réservé du texte 6">
            <a:extLst>
              <a:ext uri="{FF2B5EF4-FFF2-40B4-BE49-F238E27FC236}">
                <a16:creationId xmlns:a16="http://schemas.microsoft.com/office/drawing/2014/main" id="{8FAC638C-D037-47B5-A2D3-B689A0E7531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150567" y="3557108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7" name="Espace réservé du texte 6">
            <a:extLst>
              <a:ext uri="{FF2B5EF4-FFF2-40B4-BE49-F238E27FC236}">
                <a16:creationId xmlns:a16="http://schemas.microsoft.com/office/drawing/2014/main" id="{BCBB00D8-F4CA-4503-AFB4-6935E50F1A3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150567" y="4581754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2" name="Espace réservé du texte 6">
            <a:extLst>
              <a:ext uri="{FF2B5EF4-FFF2-40B4-BE49-F238E27FC236}">
                <a16:creationId xmlns:a16="http://schemas.microsoft.com/office/drawing/2014/main" id="{466F3304-30B1-4357-B802-6A687D0B9E6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512502" y="1521862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3" name="Espace réservé du texte 6">
            <a:extLst>
              <a:ext uri="{FF2B5EF4-FFF2-40B4-BE49-F238E27FC236}">
                <a16:creationId xmlns:a16="http://schemas.microsoft.com/office/drawing/2014/main" id="{6A33E5C5-DEB2-4E8A-8A19-D6622B086DA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12502" y="2538946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4" name="Espace réservé du texte 6">
            <a:extLst>
              <a:ext uri="{FF2B5EF4-FFF2-40B4-BE49-F238E27FC236}">
                <a16:creationId xmlns:a16="http://schemas.microsoft.com/office/drawing/2014/main" id="{F21ADA1C-A3AB-4AC8-A63A-C3E2AE47095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512502" y="3557108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61984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>
            <a:extLst>
              <a:ext uri="{FF2B5EF4-FFF2-40B4-BE49-F238E27FC236}">
                <a16:creationId xmlns:a16="http://schemas.microsoft.com/office/drawing/2014/main" id="{6B3716BC-8FD3-496D-ACC7-678BE5DE6E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595" y="496971"/>
            <a:ext cx="11186809" cy="5406942"/>
          </a:xfrm>
          <a:prstGeom prst="rect">
            <a:avLst/>
          </a:prstGeom>
          <a:solidFill>
            <a:srgbClr val="E87C54"/>
          </a:solidFill>
        </p:spPr>
        <p:txBody>
          <a:bodyPr lIns="396000" tIns="180000">
            <a:normAutofit/>
          </a:bodyPr>
          <a:lstStyle>
            <a:lvl1pPr algn="l">
              <a:defRPr sz="2500"/>
            </a:lvl1pPr>
          </a:lstStyle>
          <a:p>
            <a:r>
              <a:rPr lang="fr-FR" dirty="0"/>
              <a:t>SOMMAI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BF3A9F-5739-4B40-A377-C403E92DB70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198747" y="1254637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3195322" y="1808727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32F40D82-1D3E-C543-A9C8-76923BEA9D3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198747" y="2272799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86A352DF-AB9E-9B4F-AED0-504809360D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95322" y="2826889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9F35C531-5E0C-2348-94D4-E0DD456C2743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3198747" y="3290961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115F9863-8A3D-CA4E-B187-7654539E5C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95322" y="3845051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023166E1-6828-4A45-B43D-B0C2EE9820E9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3198747" y="4315607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507F5AEF-E57D-BC4A-AC62-A4381DC446A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95322" y="4869697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39" name="Espace réservé du texte 2">
            <a:extLst>
              <a:ext uri="{FF2B5EF4-FFF2-40B4-BE49-F238E27FC236}">
                <a16:creationId xmlns:a16="http://schemas.microsoft.com/office/drawing/2014/main" id="{961AF32D-B3C4-B445-80F7-88D960D0C1D1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7554360" y="1254637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40" name="Espace réservé du texte 4">
            <a:extLst>
              <a:ext uri="{FF2B5EF4-FFF2-40B4-BE49-F238E27FC236}">
                <a16:creationId xmlns:a16="http://schemas.microsoft.com/office/drawing/2014/main" id="{E72F3648-22FD-2C45-9AA6-7AC920990BE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50935" y="1808727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42" name="Espace réservé du texte 2">
            <a:extLst>
              <a:ext uri="{FF2B5EF4-FFF2-40B4-BE49-F238E27FC236}">
                <a16:creationId xmlns:a16="http://schemas.microsoft.com/office/drawing/2014/main" id="{35295063-CF4F-3C4D-B623-028D3714E8AF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554360" y="2272799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43" name="Espace réservé du texte 4">
            <a:extLst>
              <a:ext uri="{FF2B5EF4-FFF2-40B4-BE49-F238E27FC236}">
                <a16:creationId xmlns:a16="http://schemas.microsoft.com/office/drawing/2014/main" id="{DC69E802-F70E-CD47-80B7-94A25976D0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550935" y="2826889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63405BB2-EA8B-DF4F-B40D-37B864F7C344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7554360" y="3290961"/>
            <a:ext cx="1080000" cy="55273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NN.</a:t>
            </a:r>
          </a:p>
        </p:txBody>
      </p:sp>
      <p:sp>
        <p:nvSpPr>
          <p:cNvPr id="46" name="Espace réservé du texte 4">
            <a:extLst>
              <a:ext uri="{FF2B5EF4-FFF2-40B4-BE49-F238E27FC236}">
                <a16:creationId xmlns:a16="http://schemas.microsoft.com/office/drawing/2014/main" id="{C96A372E-23AB-1645-B4A8-AAF1D6AE633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50935" y="3845051"/>
            <a:ext cx="3600000" cy="360000"/>
          </a:xfrm>
          <a:prstGeom prst="rect">
            <a:avLst/>
          </a:prstGeo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TITRE DU CHAPITRE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E04447C2-B2BB-094A-A2D2-3EFA71DA32C1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31" name="Espace réservé du texte 6">
            <a:extLst>
              <a:ext uri="{FF2B5EF4-FFF2-40B4-BE49-F238E27FC236}">
                <a16:creationId xmlns:a16="http://schemas.microsoft.com/office/drawing/2014/main" id="{A1BD8D2E-882B-4115-BB0A-4A38D47DF6B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150567" y="1521862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5" name="Espace réservé du texte 6">
            <a:extLst>
              <a:ext uri="{FF2B5EF4-FFF2-40B4-BE49-F238E27FC236}">
                <a16:creationId xmlns:a16="http://schemas.microsoft.com/office/drawing/2014/main" id="{084485DE-C49B-4B00-B58D-6170FBE477F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150567" y="2538946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6" name="Espace réservé du texte 6">
            <a:extLst>
              <a:ext uri="{FF2B5EF4-FFF2-40B4-BE49-F238E27FC236}">
                <a16:creationId xmlns:a16="http://schemas.microsoft.com/office/drawing/2014/main" id="{8FAC638C-D037-47B5-A2D3-B689A0E7531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150567" y="3557108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7" name="Espace réservé du texte 6">
            <a:extLst>
              <a:ext uri="{FF2B5EF4-FFF2-40B4-BE49-F238E27FC236}">
                <a16:creationId xmlns:a16="http://schemas.microsoft.com/office/drawing/2014/main" id="{BCBB00D8-F4CA-4503-AFB4-6935E50F1A3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150567" y="4581754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2" name="Espace réservé du texte 6">
            <a:extLst>
              <a:ext uri="{FF2B5EF4-FFF2-40B4-BE49-F238E27FC236}">
                <a16:creationId xmlns:a16="http://schemas.microsoft.com/office/drawing/2014/main" id="{466F3304-30B1-4357-B802-6A687D0B9E6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512502" y="1521862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3" name="Espace réservé du texte 6">
            <a:extLst>
              <a:ext uri="{FF2B5EF4-FFF2-40B4-BE49-F238E27FC236}">
                <a16:creationId xmlns:a16="http://schemas.microsoft.com/office/drawing/2014/main" id="{6A33E5C5-DEB2-4E8A-8A19-D6622B086DA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12502" y="2538946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54" name="Espace réservé du texte 6">
            <a:extLst>
              <a:ext uri="{FF2B5EF4-FFF2-40B4-BE49-F238E27FC236}">
                <a16:creationId xmlns:a16="http://schemas.microsoft.com/office/drawing/2014/main" id="{F21ADA1C-A3AB-4AC8-A63A-C3E2AE47095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512502" y="3557108"/>
            <a:ext cx="21600" cy="63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/>
          <a:lstStyle>
            <a:lvl1pPr marL="0" indent="0">
              <a:buNone/>
              <a:defRPr sz="500"/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90626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2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26" Type="http://schemas.openxmlformats.org/officeDocument/2006/relationships/slideLayout" Target="../slideLayouts/slideLayout63.xml"/><Relationship Id="rId39" Type="http://schemas.openxmlformats.org/officeDocument/2006/relationships/slideLayout" Target="../slideLayouts/slideLayout76.xml"/><Relationship Id="rId21" Type="http://schemas.openxmlformats.org/officeDocument/2006/relationships/slideLayout" Target="../slideLayouts/slideLayout58.xml"/><Relationship Id="rId34" Type="http://schemas.openxmlformats.org/officeDocument/2006/relationships/slideLayout" Target="../slideLayouts/slideLayout71.xml"/><Relationship Id="rId42" Type="http://schemas.openxmlformats.org/officeDocument/2006/relationships/oleObject" Target="../embeddings/oleObject2.bin"/><Relationship Id="rId7" Type="http://schemas.openxmlformats.org/officeDocument/2006/relationships/slideLayout" Target="../slideLayouts/slideLayout44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29" Type="http://schemas.openxmlformats.org/officeDocument/2006/relationships/slideLayout" Target="../slideLayouts/slideLayout66.xml"/><Relationship Id="rId41" Type="http://schemas.openxmlformats.org/officeDocument/2006/relationships/tags" Target="../tags/tag3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slideLayout" Target="../slideLayouts/slideLayout61.xml"/><Relationship Id="rId32" Type="http://schemas.openxmlformats.org/officeDocument/2006/relationships/slideLayout" Target="../slideLayouts/slideLayout69.xml"/><Relationship Id="rId37" Type="http://schemas.openxmlformats.org/officeDocument/2006/relationships/slideLayout" Target="../slideLayouts/slideLayout74.xml"/><Relationship Id="rId40" Type="http://schemas.openxmlformats.org/officeDocument/2006/relationships/theme" Target="../theme/theme2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28" Type="http://schemas.openxmlformats.org/officeDocument/2006/relationships/slideLayout" Target="../slideLayouts/slideLayout65.xml"/><Relationship Id="rId36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31" Type="http://schemas.openxmlformats.org/officeDocument/2006/relationships/slideLayout" Target="../slideLayouts/slideLayout68.xml"/><Relationship Id="rId44" Type="http://schemas.openxmlformats.org/officeDocument/2006/relationships/image" Target="../media/image2.png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Relationship Id="rId27" Type="http://schemas.openxmlformats.org/officeDocument/2006/relationships/slideLayout" Target="../slideLayouts/slideLayout64.xml"/><Relationship Id="rId30" Type="http://schemas.openxmlformats.org/officeDocument/2006/relationships/slideLayout" Target="../slideLayouts/slideLayout67.xml"/><Relationship Id="rId35" Type="http://schemas.openxmlformats.org/officeDocument/2006/relationships/slideLayout" Target="../slideLayouts/slideLayout72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slideLayout" Target="../slideLayouts/slideLayout62.xml"/><Relationship Id="rId33" Type="http://schemas.openxmlformats.org/officeDocument/2006/relationships/slideLayout" Target="../slideLayouts/slideLayout70.xml"/><Relationship Id="rId38" Type="http://schemas.openxmlformats.org/officeDocument/2006/relationships/slideLayout" Target="../slideLayouts/slideLayout7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C2D97A6C-063F-45C1-BEBB-8E71F66E49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4071441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498" imgH="499" progId="TCLayout.ActiveDocument.1">
                  <p:embed/>
                </p:oleObj>
              </mc:Choice>
              <mc:Fallback>
                <p:oleObj name="think-cell Slide" r:id="rId40" imgW="498" imgH="499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C2D97A6C-063F-45C1-BEBB-8E71F66E49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 7" descr="Une image contenant alimentation&#10;&#10;Description générée automatiquement">
            <a:extLst>
              <a:ext uri="{FF2B5EF4-FFF2-40B4-BE49-F238E27FC236}">
                <a16:creationId xmlns:a16="http://schemas.microsoft.com/office/drawing/2014/main" id="{8E264B87-B7E8-47BF-BC87-2D2E37668E67}"/>
              </a:ext>
            </a:extLst>
          </p:cNvPr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9595390" y="5907628"/>
            <a:ext cx="2099671" cy="961074"/>
          </a:xfrm>
          <a:prstGeom prst="rect">
            <a:avLst/>
          </a:prstGeom>
        </p:spPr>
      </p:pic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FDD59078-F0EA-4B2B-B92A-CB1D0AA4F8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73095" y="6229647"/>
            <a:ext cx="1800000" cy="288000"/>
          </a:xfrm>
          <a:prstGeom prst="rect">
            <a:avLst/>
          </a:prstGeom>
        </p:spPr>
        <p:txBody>
          <a:bodyPr vert="horz" lIns="91440" tIns="45720" rIns="0" bIns="45720" rtlCol="0" anchor="ctr">
            <a:noAutofit/>
          </a:bodyPr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A860558D-47B3-CE46-BCFD-EEB8EC94E2E9}" type="datetime1">
              <a:rPr lang="fr-FR" smtClean="0"/>
              <a:t>19/06/2023</a:t>
            </a:fld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A1B493F-9EAA-4161-9132-F480E263F1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5469" y="6229647"/>
            <a:ext cx="720000" cy="288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2" name="Espace réservé du titre 11">
            <a:extLst>
              <a:ext uri="{FF2B5EF4-FFF2-40B4-BE49-F238E27FC236}">
                <a16:creationId xmlns:a16="http://schemas.microsoft.com/office/drawing/2014/main" id="{55144D2C-A2A5-B94C-B384-9177ADFC1F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8660" y="494778"/>
            <a:ext cx="11196000" cy="1114817"/>
          </a:xfrm>
          <a:prstGeom prst="rect">
            <a:avLst/>
          </a:prstGeom>
          <a:solidFill>
            <a:schemeClr val="tx1"/>
          </a:solidFill>
          <a:ln w="3175">
            <a:noFill/>
          </a:ln>
        </p:spPr>
        <p:txBody>
          <a:bodyPr vert="horz" lIns="864000" tIns="72000" rIns="72000" bIns="72000" rtlCol="0" anchor="ctr">
            <a:normAutofit/>
          </a:bodyPr>
          <a:lstStyle/>
          <a:p>
            <a:r>
              <a:rPr lang="fr-FR" dirty="0"/>
              <a:t>Cliquez pour ajouter un titre</a:t>
            </a:r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9D6D73F9-492D-4585-A4AD-255F5B73B7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73095" y="2087731"/>
            <a:ext cx="10421565" cy="3780000"/>
          </a:xfrm>
          <a:prstGeom prst="rect">
            <a:avLst/>
          </a:prstGeom>
          <a:ln w="3175"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3"/>
            <a:endParaRPr lang="fr-FR" dirty="0"/>
          </a:p>
          <a:p>
            <a:pPr lvl="4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316545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35" r:id="rId4"/>
    <p:sldLayoutId id="2147483736" r:id="rId5"/>
    <p:sldLayoutId id="2147483737" r:id="rId6"/>
    <p:sldLayoutId id="2147483704" r:id="rId7"/>
    <p:sldLayoutId id="2147483705" r:id="rId8"/>
    <p:sldLayoutId id="2147483706" r:id="rId9"/>
    <p:sldLayoutId id="2147483707" r:id="rId10"/>
    <p:sldLayoutId id="2147483709" r:id="rId11"/>
    <p:sldLayoutId id="2147483710" r:id="rId12"/>
    <p:sldLayoutId id="2147483711" r:id="rId13"/>
    <p:sldLayoutId id="2147483712" r:id="rId14"/>
    <p:sldLayoutId id="2147483741" r:id="rId15"/>
    <p:sldLayoutId id="2147483742" r:id="rId16"/>
    <p:sldLayoutId id="2147483743" r:id="rId17"/>
    <p:sldLayoutId id="2147483744" r:id="rId18"/>
    <p:sldLayoutId id="2147483714" r:id="rId19"/>
    <p:sldLayoutId id="2147483715" r:id="rId20"/>
    <p:sldLayoutId id="2147483716" r:id="rId21"/>
    <p:sldLayoutId id="2147483717" r:id="rId22"/>
    <p:sldLayoutId id="2147483719" r:id="rId23"/>
    <p:sldLayoutId id="2147483720" r:id="rId24"/>
    <p:sldLayoutId id="2147483721" r:id="rId25"/>
    <p:sldLayoutId id="2147483722" r:id="rId26"/>
    <p:sldLayoutId id="2147483723" r:id="rId27"/>
    <p:sldLayoutId id="2147483724" r:id="rId28"/>
    <p:sldLayoutId id="2147483725" r:id="rId29"/>
    <p:sldLayoutId id="2147483726" r:id="rId30"/>
    <p:sldLayoutId id="2147483727" r:id="rId31"/>
    <p:sldLayoutId id="2147483729" r:id="rId32"/>
    <p:sldLayoutId id="2147483730" r:id="rId33"/>
    <p:sldLayoutId id="2147483731" r:id="rId34"/>
    <p:sldLayoutId id="2147483732" r:id="rId35"/>
    <p:sldLayoutId id="2147483734" r:id="rId36"/>
    <p:sldLayoutId id="2147483787" r:id="rId3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b="1" kern="1200" cap="all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tx2"/>
        </a:buClr>
        <a:buFont typeface="Symbol" panose="05050102010706020507" pitchFamily="18" charset="2"/>
        <a:buNone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174625" indent="-174625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tx2"/>
        </a:buClr>
        <a:buSzPct val="120000"/>
        <a:buFont typeface="Arial" panose="020B0604020202020204" pitchFamily="34" charset="0"/>
        <a:buChar char="•"/>
        <a:defRPr sz="1600" b="1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84150" algn="l" defTabSz="914400" rtl="0" eaLnBrk="1" latinLnBrk="0" hangingPunct="1">
        <a:lnSpc>
          <a:spcPct val="110000"/>
        </a:lnSpc>
        <a:spcBef>
          <a:spcPts val="30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-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30225" indent="-17145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80963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5836DD8-0FFE-4BF4-89E1-77270AC3B7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2700522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498" imgH="499" progId="TCLayout.ActiveDocument.1">
                  <p:embed/>
                </p:oleObj>
              </mc:Choice>
              <mc:Fallback>
                <p:oleObj name="think-cell Slide" r:id="rId42" imgW="498" imgH="49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5836DD8-0FFE-4BF4-89E1-77270AC3B7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 7" descr="Une image contenant alimentation&#10;&#10;Description générée automatiquement">
            <a:extLst>
              <a:ext uri="{FF2B5EF4-FFF2-40B4-BE49-F238E27FC236}">
                <a16:creationId xmlns:a16="http://schemas.microsoft.com/office/drawing/2014/main" id="{8E264B87-B7E8-47BF-BC87-2D2E37668E67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9595390" y="5907628"/>
            <a:ext cx="2099671" cy="961074"/>
          </a:xfrm>
          <a:prstGeom prst="rect">
            <a:avLst/>
          </a:prstGeom>
        </p:spPr>
      </p:pic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FDD59078-F0EA-4B2B-B92A-CB1D0AA4F8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73095" y="6229647"/>
            <a:ext cx="1800000" cy="288000"/>
          </a:xfrm>
          <a:prstGeom prst="rect">
            <a:avLst/>
          </a:prstGeom>
        </p:spPr>
        <p:txBody>
          <a:bodyPr vert="horz" lIns="91440" tIns="45720" rIns="0" bIns="45720" rtlCol="0" anchor="ctr">
            <a:noAutofit/>
          </a:bodyPr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A860558D-47B3-CE46-BCFD-EEB8EC94E2E9}" type="datetime1">
              <a:rPr lang="fr-FR" smtClean="0"/>
              <a:t>19/06/2023</a:t>
            </a:fld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A1B493F-9EAA-4161-9132-F480E263F1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5469" y="6229647"/>
            <a:ext cx="720000" cy="288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2" name="Espace réservé du titre 11">
            <a:extLst>
              <a:ext uri="{FF2B5EF4-FFF2-40B4-BE49-F238E27FC236}">
                <a16:creationId xmlns:a16="http://schemas.microsoft.com/office/drawing/2014/main" id="{55144D2C-A2A5-B94C-B384-9177ADFC1F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8660" y="494778"/>
            <a:ext cx="11196000" cy="1114817"/>
          </a:xfrm>
          <a:prstGeom prst="rect">
            <a:avLst/>
          </a:prstGeom>
          <a:solidFill>
            <a:schemeClr val="tx1"/>
          </a:solidFill>
          <a:ln w="3175">
            <a:noFill/>
          </a:ln>
        </p:spPr>
        <p:txBody>
          <a:bodyPr vert="horz" lIns="864000" tIns="72000" rIns="72000" bIns="72000" rtlCol="0" anchor="ctr">
            <a:normAutofit/>
          </a:bodyPr>
          <a:lstStyle/>
          <a:p>
            <a:r>
              <a:rPr lang="fr-FR" dirty="0"/>
              <a:t>Cliquez pour ajouter un titre</a:t>
            </a:r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9D6D73F9-492D-4585-A4AD-255F5B73B7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73095" y="2087731"/>
            <a:ext cx="10421565" cy="3780000"/>
          </a:xfrm>
          <a:prstGeom prst="rect">
            <a:avLst/>
          </a:prstGeom>
          <a:ln w="3175"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3"/>
            <a:endParaRPr lang="fr-FR" dirty="0"/>
          </a:p>
          <a:p>
            <a:pPr lvl="4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691857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  <p:sldLayoutId id="2147483760" r:id="rId12"/>
    <p:sldLayoutId id="2147483761" r:id="rId13"/>
    <p:sldLayoutId id="2147483762" r:id="rId14"/>
    <p:sldLayoutId id="2147483763" r:id="rId15"/>
    <p:sldLayoutId id="2147483764" r:id="rId16"/>
    <p:sldLayoutId id="2147483765" r:id="rId17"/>
    <p:sldLayoutId id="2147483766" r:id="rId18"/>
    <p:sldLayoutId id="2147483767" r:id="rId19"/>
    <p:sldLayoutId id="2147483768" r:id="rId20"/>
    <p:sldLayoutId id="2147483769" r:id="rId21"/>
    <p:sldLayoutId id="2147483770" r:id="rId22"/>
    <p:sldLayoutId id="2147483771" r:id="rId23"/>
    <p:sldLayoutId id="2147483772" r:id="rId24"/>
    <p:sldLayoutId id="2147483773" r:id="rId25"/>
    <p:sldLayoutId id="2147483774" r:id="rId26"/>
    <p:sldLayoutId id="2147483775" r:id="rId27"/>
    <p:sldLayoutId id="2147483776" r:id="rId28"/>
    <p:sldLayoutId id="2147483777" r:id="rId29"/>
    <p:sldLayoutId id="2147483778" r:id="rId30"/>
    <p:sldLayoutId id="2147483779" r:id="rId31"/>
    <p:sldLayoutId id="2147483780" r:id="rId32"/>
    <p:sldLayoutId id="2147483781" r:id="rId33"/>
    <p:sldLayoutId id="2147483782" r:id="rId34"/>
    <p:sldLayoutId id="2147483783" r:id="rId35"/>
    <p:sldLayoutId id="2147483784" r:id="rId36"/>
    <p:sldLayoutId id="2147483785" r:id="rId37"/>
    <p:sldLayoutId id="2147483786" r:id="rId38"/>
    <p:sldLayoutId id="2147483788" r:id="rId39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b="1" kern="1200" cap="all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tx2"/>
        </a:buClr>
        <a:buFont typeface="Symbol" panose="05050102010706020507" pitchFamily="18" charset="2"/>
        <a:buNone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174625" indent="-174625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tx2"/>
        </a:buClr>
        <a:buSzPct val="120000"/>
        <a:buFont typeface="Arial" panose="020B0604020202020204" pitchFamily="34" charset="0"/>
        <a:buChar char="•"/>
        <a:defRPr sz="1600" b="1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84150" algn="l" defTabSz="914400" rtl="0" eaLnBrk="1" latinLnBrk="0" hangingPunct="1">
        <a:lnSpc>
          <a:spcPct val="110000"/>
        </a:lnSpc>
        <a:spcBef>
          <a:spcPts val="30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-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30225" indent="-17145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80963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50.svg"/><Relationship Id="rId18" Type="http://schemas.openxmlformats.org/officeDocument/2006/relationships/image" Target="../media/image54.svg"/><Relationship Id="rId26" Type="http://schemas.openxmlformats.org/officeDocument/2006/relationships/image" Target="../media/image62.svg"/><Relationship Id="rId3" Type="http://schemas.openxmlformats.org/officeDocument/2006/relationships/notesSlide" Target="../notesSlides/notesSlide2.xml"/><Relationship Id="rId21" Type="http://schemas.openxmlformats.org/officeDocument/2006/relationships/image" Target="../media/image57.png"/><Relationship Id="rId7" Type="http://schemas.openxmlformats.org/officeDocument/2006/relationships/image" Target="../media/image45.svg"/><Relationship Id="rId12" Type="http://schemas.openxmlformats.org/officeDocument/2006/relationships/image" Target="../media/image49.png"/><Relationship Id="rId17" Type="http://schemas.openxmlformats.org/officeDocument/2006/relationships/image" Target="../media/image53.png"/><Relationship Id="rId25" Type="http://schemas.openxmlformats.org/officeDocument/2006/relationships/image" Target="../media/image61.png"/><Relationship Id="rId2" Type="http://schemas.openxmlformats.org/officeDocument/2006/relationships/slideLayout" Target="../slideLayouts/slideLayout21.xml"/><Relationship Id="rId16" Type="http://schemas.microsoft.com/office/2007/relationships/hdphoto" Target="../media/hdphoto2.wdp"/><Relationship Id="rId20" Type="http://schemas.openxmlformats.org/officeDocument/2006/relationships/image" Target="../media/image56.svg"/><Relationship Id="rId1" Type="http://schemas.openxmlformats.org/officeDocument/2006/relationships/tags" Target="../tags/tag11.xml"/><Relationship Id="rId6" Type="http://schemas.openxmlformats.org/officeDocument/2006/relationships/image" Target="../media/image44.png"/><Relationship Id="rId11" Type="http://schemas.openxmlformats.org/officeDocument/2006/relationships/image" Target="../media/image48.svg"/><Relationship Id="rId24" Type="http://schemas.openxmlformats.org/officeDocument/2006/relationships/image" Target="../media/image60.svg"/><Relationship Id="rId5" Type="http://schemas.openxmlformats.org/officeDocument/2006/relationships/image" Target="../media/image1.emf"/><Relationship Id="rId15" Type="http://schemas.openxmlformats.org/officeDocument/2006/relationships/image" Target="../media/image52.png"/><Relationship Id="rId23" Type="http://schemas.openxmlformats.org/officeDocument/2006/relationships/image" Target="../media/image59.png"/><Relationship Id="rId10" Type="http://schemas.openxmlformats.org/officeDocument/2006/relationships/image" Target="../media/image47.png"/><Relationship Id="rId19" Type="http://schemas.openxmlformats.org/officeDocument/2006/relationships/image" Target="../media/image55.png"/><Relationship Id="rId4" Type="http://schemas.openxmlformats.org/officeDocument/2006/relationships/oleObject" Target="../embeddings/oleObject6.bin"/><Relationship Id="rId9" Type="http://schemas.microsoft.com/office/2007/relationships/hdphoto" Target="../media/hdphoto1.wdp"/><Relationship Id="rId14" Type="http://schemas.openxmlformats.org/officeDocument/2006/relationships/image" Target="../media/image51.png"/><Relationship Id="rId22" Type="http://schemas.openxmlformats.org/officeDocument/2006/relationships/image" Target="../media/image58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svg"/><Relationship Id="rId13" Type="http://schemas.openxmlformats.org/officeDocument/2006/relationships/image" Target="../media/image66.svg"/><Relationship Id="rId3" Type="http://schemas.openxmlformats.org/officeDocument/2006/relationships/oleObject" Target="../embeddings/oleObject7.bin"/><Relationship Id="rId7" Type="http://schemas.openxmlformats.org/officeDocument/2006/relationships/image" Target="../media/image57.png"/><Relationship Id="rId12" Type="http://schemas.openxmlformats.org/officeDocument/2006/relationships/image" Target="../media/image65.pn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12.xml"/><Relationship Id="rId6" Type="http://schemas.openxmlformats.org/officeDocument/2006/relationships/image" Target="../media/image60.svg"/><Relationship Id="rId11" Type="http://schemas.openxmlformats.org/officeDocument/2006/relationships/image" Target="../media/image64.svg"/><Relationship Id="rId5" Type="http://schemas.openxmlformats.org/officeDocument/2006/relationships/image" Target="../media/image59.png"/><Relationship Id="rId15" Type="http://schemas.openxmlformats.org/officeDocument/2006/relationships/image" Target="../media/image68.svg"/><Relationship Id="rId10" Type="http://schemas.openxmlformats.org/officeDocument/2006/relationships/image" Target="../media/image63.png"/><Relationship Id="rId4" Type="http://schemas.openxmlformats.org/officeDocument/2006/relationships/image" Target="../media/image1.emf"/><Relationship Id="rId9" Type="http://schemas.openxmlformats.org/officeDocument/2006/relationships/image" Target="../media/image51.png"/><Relationship Id="rId14" Type="http://schemas.openxmlformats.org/officeDocument/2006/relationships/image" Target="../media/image6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13" Type="http://schemas.openxmlformats.org/officeDocument/2006/relationships/image" Target="../media/image76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70.svg"/><Relationship Id="rId12" Type="http://schemas.openxmlformats.org/officeDocument/2006/relationships/image" Target="../media/image7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4.xml"/><Relationship Id="rId6" Type="http://schemas.openxmlformats.org/officeDocument/2006/relationships/image" Target="../media/image69.png"/><Relationship Id="rId11" Type="http://schemas.openxmlformats.org/officeDocument/2006/relationships/image" Target="../media/image74.svg"/><Relationship Id="rId5" Type="http://schemas.openxmlformats.org/officeDocument/2006/relationships/image" Target="../media/image1.emf"/><Relationship Id="rId10" Type="http://schemas.openxmlformats.org/officeDocument/2006/relationships/image" Target="../media/image73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72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78.sv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5.xml"/><Relationship Id="rId6" Type="http://schemas.openxmlformats.org/officeDocument/2006/relationships/image" Target="../media/image77.png"/><Relationship Id="rId11" Type="http://schemas.openxmlformats.org/officeDocument/2006/relationships/image" Target="../media/image82.svg"/><Relationship Id="rId5" Type="http://schemas.openxmlformats.org/officeDocument/2006/relationships/image" Target="../media/image1.emf"/><Relationship Id="rId10" Type="http://schemas.openxmlformats.org/officeDocument/2006/relationships/image" Target="../media/image81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80.sv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84.sv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6.xml"/><Relationship Id="rId6" Type="http://schemas.openxmlformats.org/officeDocument/2006/relationships/image" Target="../media/image8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Relationship Id="rId9" Type="http://schemas.openxmlformats.org/officeDocument/2006/relationships/image" Target="../media/image86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7.xml"/><Relationship Id="rId6" Type="http://schemas.openxmlformats.org/officeDocument/2006/relationships/image" Target="../media/image8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sv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85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8.xml"/><Relationship Id="rId6" Type="http://schemas.openxmlformats.org/officeDocument/2006/relationships/image" Target="../media/image88.png"/><Relationship Id="rId5" Type="http://schemas.openxmlformats.org/officeDocument/2006/relationships/image" Target="../media/image1.emf"/><Relationship Id="rId10" Type="http://schemas.openxmlformats.org/officeDocument/2006/relationships/image" Target="../media/image80.sv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79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13" Type="http://schemas.openxmlformats.org/officeDocument/2006/relationships/package" Target="../embeddings/Microsoft_Excel_Worksheet.xlsx"/><Relationship Id="rId3" Type="http://schemas.openxmlformats.org/officeDocument/2006/relationships/image" Target="../media/image60.svg"/><Relationship Id="rId7" Type="http://schemas.openxmlformats.org/officeDocument/2006/relationships/image" Target="../media/image66.svg"/><Relationship Id="rId12" Type="http://schemas.openxmlformats.org/officeDocument/2006/relationships/image" Target="../media/image92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65.png"/><Relationship Id="rId11" Type="http://schemas.openxmlformats.org/officeDocument/2006/relationships/image" Target="../media/image91.svg"/><Relationship Id="rId5" Type="http://schemas.openxmlformats.org/officeDocument/2006/relationships/image" Target="../media/image89.jpeg"/><Relationship Id="rId10" Type="http://schemas.openxmlformats.org/officeDocument/2006/relationships/image" Target="../media/image90.png"/><Relationship Id="rId4" Type="http://schemas.openxmlformats.org/officeDocument/2006/relationships/image" Target="../media/image51.png"/><Relationship Id="rId9" Type="http://schemas.openxmlformats.org/officeDocument/2006/relationships/image" Target="../media/image50.svg"/><Relationship Id="rId14" Type="http://schemas.openxmlformats.org/officeDocument/2006/relationships/image" Target="../media/image93.wmf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jpeg"/><Relationship Id="rId1" Type="http://schemas.openxmlformats.org/officeDocument/2006/relationships/slideLayout" Target="../slideLayouts/slideLayout1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sv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2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7" Type="http://schemas.openxmlformats.org/officeDocument/2006/relationships/image" Target="../media/image97.wmf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9.xml"/><Relationship Id="rId6" Type="http://schemas.openxmlformats.org/officeDocument/2006/relationships/oleObject" Target="../embeddings/oleObject15.bin"/><Relationship Id="rId5" Type="http://schemas.openxmlformats.org/officeDocument/2006/relationships/hyperlink" Target="mailto:epu.nomdelacaisse@assurance-maladie.fr" TargetMode="External"/><Relationship Id="rId4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svg"/><Relationship Id="rId3" Type="http://schemas.openxmlformats.org/officeDocument/2006/relationships/oleObject" Target="../embeddings/oleObject17.bin"/><Relationship Id="rId7" Type="http://schemas.openxmlformats.org/officeDocument/2006/relationships/image" Target="../media/image100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21.xml"/><Relationship Id="rId6" Type="http://schemas.openxmlformats.org/officeDocument/2006/relationships/image" Target="../media/image99.svg"/><Relationship Id="rId5" Type="http://schemas.openxmlformats.org/officeDocument/2006/relationships/image" Target="../media/image98.png"/><Relationship Id="rId4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svg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2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jpeg"/><Relationship Id="rId1" Type="http://schemas.openxmlformats.org/officeDocument/2006/relationships/slideLayout" Target="../slideLayouts/slideLayout20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1.png"/><Relationship Id="rId3" Type="http://schemas.openxmlformats.org/officeDocument/2006/relationships/image" Target="../media/image106.svg"/><Relationship Id="rId7" Type="http://schemas.openxmlformats.org/officeDocument/2006/relationships/image" Target="../media/image110.svg"/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09.png"/><Relationship Id="rId5" Type="http://schemas.openxmlformats.org/officeDocument/2006/relationships/image" Target="../media/image108.svg"/><Relationship Id="rId4" Type="http://schemas.openxmlformats.org/officeDocument/2006/relationships/image" Target="../media/image107.png"/><Relationship Id="rId9" Type="http://schemas.openxmlformats.org/officeDocument/2006/relationships/image" Target="../media/image112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0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1.emf"/><Relationship Id="rId9" Type="http://schemas.openxmlformats.org/officeDocument/2006/relationships/image" Target="../media/image14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png"/><Relationship Id="rId3" Type="http://schemas.openxmlformats.org/officeDocument/2006/relationships/image" Target="../media/image16.svg"/><Relationship Id="rId7" Type="http://schemas.openxmlformats.org/officeDocument/2006/relationships/image" Target="../media/image20.png"/><Relationship Id="rId12" Type="http://schemas.openxmlformats.org/officeDocument/2006/relationships/image" Target="../media/image25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19.png"/><Relationship Id="rId11" Type="http://schemas.openxmlformats.org/officeDocument/2006/relationships/image" Target="../media/image24.svg"/><Relationship Id="rId5" Type="http://schemas.openxmlformats.org/officeDocument/2006/relationships/image" Target="../media/image18.sv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cW4ORkGoXok" TargetMode="External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13" Type="http://schemas.openxmlformats.org/officeDocument/2006/relationships/image" Target="../media/image39.png"/><Relationship Id="rId18" Type="http://schemas.openxmlformats.org/officeDocument/2006/relationships/image" Target="../media/image21.png"/><Relationship Id="rId3" Type="http://schemas.openxmlformats.org/officeDocument/2006/relationships/image" Target="../media/image30.png"/><Relationship Id="rId7" Type="http://schemas.openxmlformats.org/officeDocument/2006/relationships/image" Target="../media/image33.jpeg"/><Relationship Id="rId12" Type="http://schemas.openxmlformats.org/officeDocument/2006/relationships/image" Target="../media/image38.png"/><Relationship Id="rId17" Type="http://schemas.openxmlformats.org/officeDocument/2006/relationships/image" Target="../media/image43.sv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42.png"/><Relationship Id="rId1" Type="http://schemas.openxmlformats.org/officeDocument/2006/relationships/slideLayout" Target="../slideLayouts/slideLayout75.xml"/><Relationship Id="rId6" Type="http://schemas.openxmlformats.org/officeDocument/2006/relationships/image" Target="../media/image32.png"/><Relationship Id="rId11" Type="http://schemas.openxmlformats.org/officeDocument/2006/relationships/image" Target="../media/image37.png"/><Relationship Id="rId5" Type="http://schemas.openxmlformats.org/officeDocument/2006/relationships/image" Target="../media/image26.png"/><Relationship Id="rId15" Type="http://schemas.openxmlformats.org/officeDocument/2006/relationships/image" Target="../media/image41.jpeg"/><Relationship Id="rId10" Type="http://schemas.openxmlformats.org/officeDocument/2006/relationships/image" Target="../media/image36.png"/><Relationship Id="rId19" Type="http://schemas.openxmlformats.org/officeDocument/2006/relationships/image" Target="../media/image22.svg"/><Relationship Id="rId4" Type="http://schemas.openxmlformats.org/officeDocument/2006/relationships/image" Target="../media/image31.svg"/><Relationship Id="rId9" Type="http://schemas.openxmlformats.org/officeDocument/2006/relationships/image" Target="../media/image35.png"/><Relationship Id="rId14" Type="http://schemas.openxmlformats.org/officeDocument/2006/relationships/image" Target="../media/image40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E-Prescription  </a:t>
            </a:r>
            <a:br>
              <a:rPr lang="fr-FR" dirty="0">
                <a:sym typeface="Wingdings" panose="05000000000000000000" pitchFamily="2" charset="2"/>
              </a:rPr>
            </a:br>
            <a:r>
              <a:rPr lang="fr-FR" dirty="0">
                <a:sym typeface="Wingdings" panose="05000000000000000000" pitchFamily="2" charset="2"/>
              </a:rPr>
              <a:t>  </a:t>
            </a:r>
            <a:r>
              <a:rPr lang="fr-FR"/>
              <a:t>ordonnance numérique</a:t>
            </a:r>
            <a:br>
              <a:rPr lang="fr-FR" dirty="0"/>
            </a:b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4294967295"/>
          </p:nvPr>
        </p:nvSpPr>
        <p:spPr>
          <a:xfrm>
            <a:off x="506800" y="5957635"/>
            <a:ext cx="11158561" cy="316555"/>
          </a:xfrm>
        </p:spPr>
        <p:txBody>
          <a:bodyPr>
            <a:normAutofit fontScale="77500" lnSpcReduction="20000"/>
          </a:bodyPr>
          <a:lstStyle/>
          <a:p>
            <a:pPr algn="ctr"/>
            <a:r>
              <a:rPr lang="fr-FR" dirty="0">
                <a:solidFill>
                  <a:schemeClr val="bg1"/>
                </a:solidFill>
              </a:rPr>
              <a:t>DIONIS</a:t>
            </a:r>
          </a:p>
        </p:txBody>
      </p:sp>
      <p:sp>
        <p:nvSpPr>
          <p:cNvPr id="11" name="Documenttype">
            <a:extLst>
              <a:ext uri="{FF2B5EF4-FFF2-40B4-BE49-F238E27FC236}">
                <a16:creationId xmlns:a16="http://schemas.microsoft.com/office/drawing/2014/main" id="{BEC83341-0C19-4517-8C0E-73C6CC8D33D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837059" y="5710318"/>
            <a:ext cx="9440536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fr-FR" sz="14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95000"/>
              <a:buFont typeface="Arial" panose="020B0604020202020204" pitchFamily="34" charset="0"/>
              <a:buChar char="►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lang="fr-FR" dirty="0">
                <a:solidFill>
                  <a:srgbClr val="FFFFFF"/>
                </a:solidFill>
                <a:latin typeface="Arial"/>
              </a:rPr>
              <a:t>29 septembre 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2022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C16D24CA-E873-48F3-A99D-2E039258682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838200" y="4473559"/>
            <a:ext cx="9440536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fr-FR" sz="20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95000"/>
              <a:buFont typeface="Arial" panose="020B0604020202020204" pitchFamily="34" charset="0"/>
              <a:buChar char="►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fr-FR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résentation générale et contexte préséries</a:t>
            </a:r>
          </a:p>
        </p:txBody>
      </p:sp>
    </p:spTree>
    <p:extLst>
      <p:ext uri="{BB962C8B-B14F-4D97-AF65-F5344CB8AC3E}">
        <p14:creationId xmlns:p14="http://schemas.microsoft.com/office/powerpoint/2010/main" val="5500101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Object 42" hidden="1">
            <a:extLst>
              <a:ext uri="{FF2B5EF4-FFF2-40B4-BE49-F238E27FC236}">
                <a16:creationId xmlns:a16="http://schemas.microsoft.com/office/drawing/2014/main" id="{98F5323E-D7C3-4568-A6A0-A4B81F238B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7394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43" name="Object 42" hidden="1">
                        <a:extLst>
                          <a:ext uri="{FF2B5EF4-FFF2-40B4-BE49-F238E27FC236}">
                            <a16:creationId xmlns:a16="http://schemas.microsoft.com/office/drawing/2014/main" id="{98F5323E-D7C3-4568-A6A0-A4B81F238B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numéro de diapositive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10</a:t>
            </a:fld>
            <a:endParaRPr lang="fr-FR" dirty="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fr-FR" sz="1800" dirty="0"/>
              <a:t>Expérimentation de la e-prescription médicament et chiffres clés</a:t>
            </a:r>
          </a:p>
        </p:txBody>
      </p:sp>
      <p:grpSp>
        <p:nvGrpSpPr>
          <p:cNvPr id="5" name="Group 16">
            <a:extLst>
              <a:ext uri="{FF2B5EF4-FFF2-40B4-BE49-F238E27FC236}">
                <a16:creationId xmlns:a16="http://schemas.microsoft.com/office/drawing/2014/main" id="{AEB794F4-9430-445C-ABD8-DB5171E8591A}"/>
              </a:ext>
            </a:extLst>
          </p:cNvPr>
          <p:cNvGrpSpPr>
            <a:grpSpLocks noChangeAspect="1"/>
          </p:cNvGrpSpPr>
          <p:nvPr/>
        </p:nvGrpSpPr>
        <p:grpSpPr>
          <a:xfrm>
            <a:off x="656183" y="1710958"/>
            <a:ext cx="612920" cy="504000"/>
            <a:chOff x="6275391" y="4131255"/>
            <a:chExt cx="1261206" cy="1037081"/>
          </a:xfrm>
        </p:grpSpPr>
        <p:sp>
          <p:nvSpPr>
            <p:cNvPr id="6" name="Freeform: Shape 35">
              <a:extLst>
                <a:ext uri="{FF2B5EF4-FFF2-40B4-BE49-F238E27FC236}">
                  <a16:creationId xmlns:a16="http://schemas.microsoft.com/office/drawing/2014/main" id="{B8C254A1-6AE7-4103-BC3B-0014DF47E0A3}"/>
                </a:ext>
              </a:extLst>
            </p:cNvPr>
            <p:cNvSpPr/>
            <p:nvPr/>
          </p:nvSpPr>
          <p:spPr>
            <a:xfrm rot="5280000">
              <a:off x="6387452" y="4019194"/>
              <a:ext cx="1037081" cy="1261206"/>
            </a:xfrm>
            <a:custGeom>
              <a:avLst/>
              <a:gdLst>
                <a:gd name="connsiteX0" fmla="*/ 1382775 w 1382775"/>
                <a:gd name="connsiteY0" fmla="*/ 990221 h 1681608"/>
                <a:gd name="connsiteX1" fmla="*/ 691388 w 1382775"/>
                <a:gd name="connsiteY1" fmla="*/ 1681608 h 1681608"/>
                <a:gd name="connsiteX2" fmla="*/ 0 w 1382775"/>
                <a:gd name="connsiteY2" fmla="*/ 990220 h 1681608"/>
                <a:gd name="connsiteX3" fmla="*/ 422268 w 1382775"/>
                <a:gd name="connsiteY3" fmla="*/ 353166 h 1681608"/>
                <a:gd name="connsiteX4" fmla="*/ 484054 w 1382775"/>
                <a:gd name="connsiteY4" fmla="*/ 333986 h 1681608"/>
                <a:gd name="connsiteX5" fmla="*/ 677767 w 1382775"/>
                <a:gd name="connsiteY5" fmla="*/ 0 h 1681608"/>
                <a:gd name="connsiteX6" fmla="*/ 865498 w 1382775"/>
                <a:gd name="connsiteY6" fmla="*/ 323674 h 1681608"/>
                <a:gd name="connsiteX7" fmla="*/ 960507 w 1382775"/>
                <a:gd name="connsiteY7" fmla="*/ 353167 h 1681608"/>
                <a:gd name="connsiteX8" fmla="*/ 1382775 w 1382775"/>
                <a:gd name="connsiteY8" fmla="*/ 990221 h 1681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82775" h="1681608">
                  <a:moveTo>
                    <a:pt x="1382775" y="990221"/>
                  </a:moveTo>
                  <a:cubicBezTo>
                    <a:pt x="1382775" y="1372063"/>
                    <a:pt x="1073230" y="1681608"/>
                    <a:pt x="691388" y="1681608"/>
                  </a:cubicBezTo>
                  <a:cubicBezTo>
                    <a:pt x="309545" y="1681607"/>
                    <a:pt x="0" y="1372062"/>
                    <a:pt x="0" y="990220"/>
                  </a:cubicBezTo>
                  <a:cubicBezTo>
                    <a:pt x="0" y="703839"/>
                    <a:pt x="174119" y="458124"/>
                    <a:pt x="422268" y="353166"/>
                  </a:cubicBezTo>
                  <a:lnTo>
                    <a:pt x="484054" y="333986"/>
                  </a:lnTo>
                  <a:lnTo>
                    <a:pt x="677767" y="0"/>
                  </a:lnTo>
                  <a:lnTo>
                    <a:pt x="865498" y="323674"/>
                  </a:lnTo>
                  <a:lnTo>
                    <a:pt x="960507" y="353167"/>
                  </a:lnTo>
                  <a:cubicBezTo>
                    <a:pt x="1208656" y="458125"/>
                    <a:pt x="1382775" y="703840"/>
                    <a:pt x="1382775" y="990221"/>
                  </a:cubicBezTo>
                  <a:close/>
                </a:path>
              </a:pathLst>
            </a:custGeom>
            <a:solidFill>
              <a:srgbClr val="4C6C9C"/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Oval 14">
              <a:extLst>
                <a:ext uri="{FF2B5EF4-FFF2-40B4-BE49-F238E27FC236}">
                  <a16:creationId xmlns:a16="http://schemas.microsoft.com/office/drawing/2014/main" id="{9E1E1DBB-CF62-435D-B549-FE8E9A02CDD9}"/>
                </a:ext>
              </a:extLst>
            </p:cNvPr>
            <p:cNvSpPr/>
            <p:nvPr/>
          </p:nvSpPr>
          <p:spPr>
            <a:xfrm>
              <a:off x="6374780" y="4238599"/>
              <a:ext cx="822397" cy="822397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>
              <a:outerShdw blurRad="127000" dist="1143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8" name="Freeform: Shape 35">
            <a:extLst>
              <a:ext uri="{FF2B5EF4-FFF2-40B4-BE49-F238E27FC236}">
                <a16:creationId xmlns:a16="http://schemas.microsoft.com/office/drawing/2014/main" id="{3DE56479-B025-4B89-877E-56251FE3A12D}"/>
              </a:ext>
            </a:extLst>
          </p:cNvPr>
          <p:cNvSpPr/>
          <p:nvPr/>
        </p:nvSpPr>
        <p:spPr>
          <a:xfrm rot="5280000">
            <a:off x="698791" y="4145314"/>
            <a:ext cx="504000" cy="612000"/>
          </a:xfrm>
          <a:custGeom>
            <a:avLst/>
            <a:gdLst>
              <a:gd name="connsiteX0" fmla="*/ 1382775 w 1382775"/>
              <a:gd name="connsiteY0" fmla="*/ 990221 h 1681608"/>
              <a:gd name="connsiteX1" fmla="*/ 691388 w 1382775"/>
              <a:gd name="connsiteY1" fmla="*/ 1681608 h 1681608"/>
              <a:gd name="connsiteX2" fmla="*/ 0 w 1382775"/>
              <a:gd name="connsiteY2" fmla="*/ 990220 h 1681608"/>
              <a:gd name="connsiteX3" fmla="*/ 422268 w 1382775"/>
              <a:gd name="connsiteY3" fmla="*/ 353166 h 1681608"/>
              <a:gd name="connsiteX4" fmla="*/ 484054 w 1382775"/>
              <a:gd name="connsiteY4" fmla="*/ 333986 h 1681608"/>
              <a:gd name="connsiteX5" fmla="*/ 677767 w 1382775"/>
              <a:gd name="connsiteY5" fmla="*/ 0 h 1681608"/>
              <a:gd name="connsiteX6" fmla="*/ 865498 w 1382775"/>
              <a:gd name="connsiteY6" fmla="*/ 323674 h 1681608"/>
              <a:gd name="connsiteX7" fmla="*/ 960507 w 1382775"/>
              <a:gd name="connsiteY7" fmla="*/ 353167 h 1681608"/>
              <a:gd name="connsiteX8" fmla="*/ 1382775 w 1382775"/>
              <a:gd name="connsiteY8" fmla="*/ 990221 h 1681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82775" h="1681608">
                <a:moveTo>
                  <a:pt x="1382775" y="990221"/>
                </a:moveTo>
                <a:cubicBezTo>
                  <a:pt x="1382775" y="1372063"/>
                  <a:pt x="1073230" y="1681608"/>
                  <a:pt x="691388" y="1681608"/>
                </a:cubicBezTo>
                <a:cubicBezTo>
                  <a:pt x="309545" y="1681607"/>
                  <a:pt x="0" y="1372062"/>
                  <a:pt x="0" y="990220"/>
                </a:cubicBezTo>
                <a:cubicBezTo>
                  <a:pt x="0" y="703839"/>
                  <a:pt x="174119" y="458124"/>
                  <a:pt x="422268" y="353166"/>
                </a:cubicBezTo>
                <a:lnTo>
                  <a:pt x="484054" y="333986"/>
                </a:lnTo>
                <a:lnTo>
                  <a:pt x="677767" y="0"/>
                </a:lnTo>
                <a:lnTo>
                  <a:pt x="865498" y="323674"/>
                </a:lnTo>
                <a:lnTo>
                  <a:pt x="960507" y="353167"/>
                </a:lnTo>
                <a:cubicBezTo>
                  <a:pt x="1208656" y="458125"/>
                  <a:pt x="1382775" y="703840"/>
                  <a:pt x="1382775" y="990221"/>
                </a:cubicBezTo>
                <a:close/>
              </a:path>
            </a:pathLst>
          </a:custGeom>
          <a:solidFill>
            <a:srgbClr val="4C6C9C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Oval 14">
            <a:extLst>
              <a:ext uri="{FF2B5EF4-FFF2-40B4-BE49-F238E27FC236}">
                <a16:creationId xmlns:a16="http://schemas.microsoft.com/office/drawing/2014/main" id="{9F559A56-9472-4ABE-8FEA-64C52E7343D5}"/>
              </a:ext>
            </a:extLst>
          </p:cNvPr>
          <p:cNvSpPr/>
          <p:nvPr/>
        </p:nvSpPr>
        <p:spPr>
          <a:xfrm>
            <a:off x="689336" y="4251480"/>
            <a:ext cx="399068" cy="399668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>
            <a:outerShdw blurRad="127000" dist="1143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Titre 1">
            <a:extLst>
              <a:ext uri="{FF2B5EF4-FFF2-40B4-BE49-F238E27FC236}">
                <a16:creationId xmlns:a16="http://schemas.microsoft.com/office/drawing/2014/main" id="{2278466A-6BFC-4020-A2CA-7058A45B4C59}"/>
              </a:ext>
            </a:extLst>
          </p:cNvPr>
          <p:cNvSpPr txBox="1">
            <a:spLocks/>
          </p:cNvSpPr>
          <p:nvPr/>
        </p:nvSpPr>
        <p:spPr>
          <a:xfrm>
            <a:off x="536704" y="393360"/>
            <a:ext cx="7032396" cy="506904"/>
          </a:xfrm>
          <a:prstGeom prst="rect">
            <a:avLst/>
          </a:prstGeom>
        </p:spPr>
        <p:txBody>
          <a:bodyPr anchor="t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fr-FR" sz="1600" b="0" kern="1200" baseline="0" dirty="0">
                <a:solidFill>
                  <a:srgbClr val="0C419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C419A"/>
                </a:solidFill>
                <a:latin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C419A"/>
                </a:solidFill>
                <a:latin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C419A"/>
                </a:solidFill>
                <a:latin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C419A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C419A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C419A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C419A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C419A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0C419A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1" name="Graphic 4" descr="Beaker">
            <a:extLst>
              <a:ext uri="{FF2B5EF4-FFF2-40B4-BE49-F238E27FC236}">
                <a16:creationId xmlns:a16="http://schemas.microsoft.com/office/drawing/2014/main" id="{36CBB687-1859-48EA-A24E-33074094368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34744" y="1760088"/>
            <a:ext cx="324000" cy="324000"/>
          </a:xfrm>
          <a:prstGeom prst="rect">
            <a:avLst/>
          </a:prstGeom>
        </p:spPr>
      </p:pic>
      <p:pic>
        <p:nvPicPr>
          <p:cNvPr id="12" name="Picture 34">
            <a:extLst>
              <a:ext uri="{FF2B5EF4-FFF2-40B4-BE49-F238E27FC236}">
                <a16:creationId xmlns:a16="http://schemas.microsoft.com/office/drawing/2014/main" id="{70509BE3-609F-49D7-9465-AE64AD85D5D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colorTemperature colorTemp="5900"/>
                    </a14:imgEffect>
                    <a14:imgEffect>
                      <a14:saturation sat="3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658721" y="2684535"/>
            <a:ext cx="625342" cy="618455"/>
          </a:xfrm>
          <a:prstGeom prst="rect">
            <a:avLst/>
          </a:prstGeom>
          <a:solidFill>
            <a:srgbClr val="406898"/>
          </a:solidFill>
        </p:spPr>
      </p:pic>
      <p:sp>
        <p:nvSpPr>
          <p:cNvPr id="13" name="TextBox 35">
            <a:extLst>
              <a:ext uri="{FF2B5EF4-FFF2-40B4-BE49-F238E27FC236}">
                <a16:creationId xmlns:a16="http://schemas.microsoft.com/office/drawing/2014/main" id="{9016CCBE-0D25-45FE-973D-31797570C98A}"/>
              </a:ext>
            </a:extLst>
          </p:cNvPr>
          <p:cNvSpPr txBox="1"/>
          <p:nvPr/>
        </p:nvSpPr>
        <p:spPr>
          <a:xfrm>
            <a:off x="2516416" y="2753612"/>
            <a:ext cx="8014936" cy="3308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fr-FR" sz="1550" dirty="0">
                <a:latin typeface="Arial" panose="020B0604020202020204"/>
              </a:rPr>
              <a:t>Périmètre géographique Maine-et-Loire, Saône et Loire et Val de Marne</a:t>
            </a:r>
          </a:p>
        </p:txBody>
      </p:sp>
      <p:pic>
        <p:nvPicPr>
          <p:cNvPr id="14" name="Graphic 38" descr="Computer">
            <a:extLst>
              <a:ext uri="{FF2B5EF4-FFF2-40B4-BE49-F238E27FC236}">
                <a16:creationId xmlns:a16="http://schemas.microsoft.com/office/drawing/2014/main" id="{8F3207A7-1D89-44F5-91BE-3A5FC77CE2E5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705886" y="3333950"/>
            <a:ext cx="721454" cy="721454"/>
          </a:xfrm>
          <a:prstGeom prst="rect">
            <a:avLst/>
          </a:prstGeom>
        </p:spPr>
      </p:pic>
      <p:sp>
        <p:nvSpPr>
          <p:cNvPr id="15" name="TextBox 5">
            <a:extLst>
              <a:ext uri="{FF2B5EF4-FFF2-40B4-BE49-F238E27FC236}">
                <a16:creationId xmlns:a16="http://schemas.microsoft.com/office/drawing/2014/main" id="{3F3D1C8B-B109-42AC-9FF9-DC1B66DCAED5}"/>
              </a:ext>
            </a:extLst>
          </p:cNvPr>
          <p:cNvSpPr txBox="1"/>
          <p:nvPr/>
        </p:nvSpPr>
        <p:spPr>
          <a:xfrm>
            <a:off x="1777958" y="3454769"/>
            <a:ext cx="3145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0" u="none" strike="noStrike" kern="0" cap="none" spc="0" normalizeH="0" baseline="0" noProof="0" dirty="0">
                <a:ln>
                  <a:noFill/>
                </a:ln>
                <a:solidFill>
                  <a:srgbClr val="406898"/>
                </a:solidFill>
                <a:effectLst/>
                <a:uLnTx/>
                <a:uFillTx/>
              </a:rPr>
              <a:t>6</a:t>
            </a:r>
            <a:endParaRPr kumimoji="0" lang="fr-FR" sz="1600" b="1" i="0" u="none" strike="noStrike" kern="0" cap="none" spc="0" normalizeH="0" baseline="0" noProof="0" dirty="0">
              <a:ln>
                <a:noFill/>
              </a:ln>
              <a:solidFill>
                <a:srgbClr val="406898"/>
              </a:solidFill>
              <a:effectLst/>
              <a:uLnTx/>
              <a:uFillTx/>
            </a:endParaRPr>
          </a:p>
        </p:txBody>
      </p:sp>
      <p:sp>
        <p:nvSpPr>
          <p:cNvPr id="16" name="TextBox 39">
            <a:extLst>
              <a:ext uri="{FF2B5EF4-FFF2-40B4-BE49-F238E27FC236}">
                <a16:creationId xmlns:a16="http://schemas.microsoft.com/office/drawing/2014/main" id="{01B33C15-2572-452E-8D43-3A20D8A58FB0}"/>
              </a:ext>
            </a:extLst>
          </p:cNvPr>
          <p:cNvSpPr txBox="1"/>
          <p:nvPr/>
        </p:nvSpPr>
        <p:spPr>
          <a:xfrm>
            <a:off x="2516416" y="3411617"/>
            <a:ext cx="8014936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550" dirty="0">
                <a:latin typeface="Arial" panose="020B0604020202020204"/>
              </a:rPr>
              <a:t>6 éditeurs autorisés préalablement retenus à l’issue d’un appel à candidatures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550" dirty="0">
                <a:latin typeface="Arial" panose="020B0604020202020204"/>
              </a:rPr>
              <a:t>3 équipant les médecins et 3 équipant les pharmacies </a:t>
            </a:r>
          </a:p>
        </p:txBody>
      </p:sp>
      <p:grpSp>
        <p:nvGrpSpPr>
          <p:cNvPr id="17" name="Group 17">
            <a:extLst>
              <a:ext uri="{FF2B5EF4-FFF2-40B4-BE49-F238E27FC236}">
                <a16:creationId xmlns:a16="http://schemas.microsoft.com/office/drawing/2014/main" id="{D8D203A0-D2E1-41F1-BC3C-658C5F9071DB}"/>
              </a:ext>
            </a:extLst>
          </p:cNvPr>
          <p:cNvGrpSpPr/>
          <p:nvPr/>
        </p:nvGrpSpPr>
        <p:grpSpPr>
          <a:xfrm>
            <a:off x="5020408" y="4824240"/>
            <a:ext cx="687600" cy="655200"/>
            <a:chOff x="4275470" y="1293887"/>
            <a:chExt cx="599707" cy="576000"/>
          </a:xfrm>
        </p:grpSpPr>
        <p:sp>
          <p:nvSpPr>
            <p:cNvPr id="18" name="Oval 18">
              <a:extLst>
                <a:ext uri="{FF2B5EF4-FFF2-40B4-BE49-F238E27FC236}">
                  <a16:creationId xmlns:a16="http://schemas.microsoft.com/office/drawing/2014/main" id="{6F87EAA4-A4D0-4945-881B-F24B4A20E729}"/>
                </a:ext>
              </a:extLst>
            </p:cNvPr>
            <p:cNvSpPr/>
            <p:nvPr/>
          </p:nvSpPr>
          <p:spPr>
            <a:xfrm>
              <a:off x="4287323" y="1293887"/>
              <a:ext cx="576000" cy="576000"/>
            </a:xfrm>
            <a:prstGeom prst="ellipse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" lastClr="FFFFFF">
                  <a:lumMod val="65000"/>
                </a:sysClr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9" name="Group 19">
              <a:extLst>
                <a:ext uri="{FF2B5EF4-FFF2-40B4-BE49-F238E27FC236}">
                  <a16:creationId xmlns:a16="http://schemas.microsoft.com/office/drawing/2014/main" id="{BE723120-4429-4140-8CAC-D818CD248382}"/>
                </a:ext>
              </a:extLst>
            </p:cNvPr>
            <p:cNvGrpSpPr/>
            <p:nvPr/>
          </p:nvGrpSpPr>
          <p:grpSpPr>
            <a:xfrm>
              <a:off x="4275470" y="1296197"/>
              <a:ext cx="599707" cy="571380"/>
              <a:chOff x="696510" y="2798379"/>
              <a:chExt cx="864000" cy="862364"/>
            </a:xfrm>
          </p:grpSpPr>
          <p:pic>
            <p:nvPicPr>
              <p:cNvPr id="20" name="Graphic 64" descr="Female Profile">
                <a:extLst>
                  <a:ext uri="{FF2B5EF4-FFF2-40B4-BE49-F238E27FC236}">
                    <a16:creationId xmlns:a16="http://schemas.microsoft.com/office/drawing/2014/main" id="{E80AC968-86A7-4D46-92A7-42CA4F943A1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696510" y="2798379"/>
                <a:ext cx="864000" cy="862364"/>
              </a:xfrm>
              <a:prstGeom prst="rect">
                <a:avLst/>
              </a:prstGeom>
            </p:spPr>
          </p:pic>
          <p:pic>
            <p:nvPicPr>
              <p:cNvPr id="21" name="Picture 21">
                <a:extLst>
                  <a:ext uri="{FF2B5EF4-FFF2-40B4-BE49-F238E27FC236}">
                    <a16:creationId xmlns:a16="http://schemas.microsoft.com/office/drawing/2014/main" id="{D9EFE557-D133-4003-BE63-7746D8FE1F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1029086" y="3274126"/>
                <a:ext cx="359309" cy="263989"/>
              </a:xfrm>
              <a:prstGeom prst="rect">
                <a:avLst/>
              </a:prstGeom>
            </p:spPr>
          </p:pic>
        </p:grpSp>
      </p:grpSp>
      <p:sp>
        <p:nvSpPr>
          <p:cNvPr id="22" name="Oval 23">
            <a:extLst>
              <a:ext uri="{FF2B5EF4-FFF2-40B4-BE49-F238E27FC236}">
                <a16:creationId xmlns:a16="http://schemas.microsoft.com/office/drawing/2014/main" id="{5BA0EE22-CA81-47DB-A7AC-5453F845BFC5}"/>
              </a:ext>
            </a:extLst>
          </p:cNvPr>
          <p:cNvSpPr/>
          <p:nvPr/>
        </p:nvSpPr>
        <p:spPr>
          <a:xfrm>
            <a:off x="1552844" y="4823905"/>
            <a:ext cx="686622" cy="655871"/>
          </a:xfrm>
          <a:prstGeom prst="ellipse">
            <a:avLst/>
          </a:prstGeom>
          <a:solidFill>
            <a:sysClr val="window" lastClr="FFFFFF"/>
          </a:solidFill>
          <a:ln w="3175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TextBox 69">
            <a:extLst>
              <a:ext uri="{FF2B5EF4-FFF2-40B4-BE49-F238E27FC236}">
                <a16:creationId xmlns:a16="http://schemas.microsoft.com/office/drawing/2014/main" id="{C0A82069-962E-4C20-A26F-C8E36145FEC0}"/>
              </a:ext>
            </a:extLst>
          </p:cNvPr>
          <p:cNvSpPr txBox="1"/>
          <p:nvPr/>
        </p:nvSpPr>
        <p:spPr>
          <a:xfrm>
            <a:off x="2326336" y="4982563"/>
            <a:ext cx="13692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fr-FR" sz="1600" b="1" dirty="0">
                <a:latin typeface="Arial" panose="020B0604020202020204"/>
              </a:rPr>
              <a:t>86</a:t>
            </a:r>
            <a:r>
              <a:rPr lang="fr-FR" sz="1450" dirty="0">
                <a:latin typeface="Arial" panose="020B0604020202020204"/>
              </a:rPr>
              <a:t> </a:t>
            </a:r>
            <a:r>
              <a:rPr lang="fr-FR" sz="1550" b="1" dirty="0">
                <a:latin typeface="Arial" panose="020B0604020202020204"/>
              </a:rPr>
              <a:t>Médecins</a:t>
            </a:r>
          </a:p>
        </p:txBody>
      </p:sp>
      <p:sp>
        <p:nvSpPr>
          <p:cNvPr id="24" name="TextBox 70">
            <a:extLst>
              <a:ext uri="{FF2B5EF4-FFF2-40B4-BE49-F238E27FC236}">
                <a16:creationId xmlns:a16="http://schemas.microsoft.com/office/drawing/2014/main" id="{8D9946DC-784A-44EC-9284-30D760AB91D0}"/>
              </a:ext>
            </a:extLst>
          </p:cNvPr>
          <p:cNvSpPr txBox="1"/>
          <p:nvPr/>
        </p:nvSpPr>
        <p:spPr>
          <a:xfrm>
            <a:off x="5828181" y="4967174"/>
            <a:ext cx="16145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>
              <a:defRPr sz="1600" b="1">
                <a:latin typeface="Arial" panose="020B0604020202020204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800" dirty="0"/>
              <a:t>64</a:t>
            </a:r>
            <a:r>
              <a:rPr lang="fr-FR" dirty="0"/>
              <a:t> </a:t>
            </a:r>
            <a:r>
              <a:rPr lang="fr-FR" sz="1550" dirty="0"/>
              <a:t>Pharmacies</a:t>
            </a:r>
          </a:p>
        </p:txBody>
      </p:sp>
      <p:pic>
        <p:nvPicPr>
          <p:cNvPr id="25" name="Picture 29">
            <a:extLst>
              <a:ext uri="{FF2B5EF4-FFF2-40B4-BE49-F238E27FC236}">
                <a16:creationId xmlns:a16="http://schemas.microsoft.com/office/drawing/2014/main" id="{F8C0FB01-FC0F-4A95-9282-4454A160AC20}"/>
              </a:ext>
            </a:extLst>
          </p:cNvPr>
          <p:cNvPicPr>
            <a:picLocks noChangeAspect="1"/>
          </p:cNvPicPr>
          <p:nvPr/>
        </p:nvPicPr>
        <p:blipFill>
          <a:blip r:embed="rId15">
            <a:duotone>
              <a:srgbClr val="4F81BD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sharpenSoften amount="500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44816" y="5567117"/>
            <a:ext cx="679962" cy="753272"/>
          </a:xfrm>
          <a:prstGeom prst="rect">
            <a:avLst/>
          </a:prstGeom>
          <a:solidFill>
            <a:srgbClr val="406898"/>
          </a:solidFill>
        </p:spPr>
      </p:pic>
      <p:sp>
        <p:nvSpPr>
          <p:cNvPr id="26" name="TextBox 30">
            <a:extLst>
              <a:ext uri="{FF2B5EF4-FFF2-40B4-BE49-F238E27FC236}">
                <a16:creationId xmlns:a16="http://schemas.microsoft.com/office/drawing/2014/main" id="{EE4CFA25-5398-4D1E-8086-6109BBF12F3D}"/>
              </a:ext>
            </a:extLst>
          </p:cNvPr>
          <p:cNvSpPr txBox="1"/>
          <p:nvPr/>
        </p:nvSpPr>
        <p:spPr>
          <a:xfrm>
            <a:off x="2332938" y="5508474"/>
            <a:ext cx="247215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 dirty="0">
                <a:latin typeface="Arial" panose="020B0604020202020204"/>
              </a:rPr>
              <a:t>675 000 </a:t>
            </a:r>
            <a:r>
              <a:rPr lang="fr-FR" sz="1500" b="1" dirty="0">
                <a:latin typeface="Arial" panose="020B0604020202020204"/>
              </a:rPr>
              <a:t>e-prescriptions</a:t>
            </a:r>
          </a:p>
          <a:p>
            <a:pPr>
              <a:defRPr/>
            </a:pPr>
            <a:r>
              <a:rPr lang="fr-FR" sz="1400" dirty="0">
                <a:latin typeface="Arial" panose="020B0604020202020204"/>
              </a:rPr>
              <a:t>rédigées par les Médecins</a:t>
            </a:r>
          </a:p>
        </p:txBody>
      </p:sp>
      <p:pic>
        <p:nvPicPr>
          <p:cNvPr id="27" name="Graphic 31" descr="Medicine">
            <a:extLst>
              <a:ext uri="{FF2B5EF4-FFF2-40B4-BE49-F238E27FC236}">
                <a16:creationId xmlns:a16="http://schemas.microsoft.com/office/drawing/2014/main" id="{930A85C4-1B3A-45A8-9EE3-059A8A29BB88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088077" y="5603772"/>
            <a:ext cx="679962" cy="679962"/>
          </a:xfrm>
          <a:prstGeom prst="rect">
            <a:avLst/>
          </a:prstGeom>
        </p:spPr>
      </p:pic>
      <p:sp>
        <p:nvSpPr>
          <p:cNvPr id="28" name="TextBox 32">
            <a:extLst>
              <a:ext uri="{FF2B5EF4-FFF2-40B4-BE49-F238E27FC236}">
                <a16:creationId xmlns:a16="http://schemas.microsoft.com/office/drawing/2014/main" id="{FE729567-8B6C-440D-A4E6-6850A3AE27E8}"/>
              </a:ext>
            </a:extLst>
          </p:cNvPr>
          <p:cNvSpPr txBox="1"/>
          <p:nvPr/>
        </p:nvSpPr>
        <p:spPr>
          <a:xfrm>
            <a:off x="5828181" y="5551338"/>
            <a:ext cx="4330434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  <a:p>
            <a:pPr>
              <a:defRPr/>
            </a:pPr>
            <a:r>
              <a:rPr lang="fr-FR" b="1" dirty="0">
                <a:latin typeface="Arial" panose="020B0604020202020204"/>
              </a:rPr>
              <a:t>39 500 </a:t>
            </a:r>
            <a:r>
              <a:rPr lang="fr-FR" sz="1500" b="1" dirty="0">
                <a:latin typeface="Arial" panose="020B0604020202020204"/>
              </a:rPr>
              <a:t>délivrances de e-prescriptions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450" dirty="0">
                <a:latin typeface="Arial" panose="020B0604020202020204"/>
              </a:rPr>
              <a:t>transmises à l’AM</a:t>
            </a:r>
          </a:p>
        </p:txBody>
      </p:sp>
      <p:pic>
        <p:nvPicPr>
          <p:cNvPr id="29" name="Graphic 67" descr="Statistics">
            <a:extLst>
              <a:ext uri="{FF2B5EF4-FFF2-40B4-BE49-F238E27FC236}">
                <a16:creationId xmlns:a16="http://schemas.microsoft.com/office/drawing/2014/main" id="{85E6F811-C9D8-4763-B709-ADA52A6EEFFD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734744" y="4300956"/>
            <a:ext cx="324000" cy="324000"/>
          </a:xfrm>
          <a:prstGeom prst="rect">
            <a:avLst/>
          </a:prstGeom>
        </p:spPr>
      </p:pic>
      <p:pic>
        <p:nvPicPr>
          <p:cNvPr id="31" name="Graphic 36" descr="Doctor">
            <a:extLst>
              <a:ext uri="{FF2B5EF4-FFF2-40B4-BE49-F238E27FC236}">
                <a16:creationId xmlns:a16="http://schemas.microsoft.com/office/drawing/2014/main" id="{9C9D31D5-663D-4EF1-A0B8-15BEE49B80E9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557806" y="4813491"/>
            <a:ext cx="676698" cy="676698"/>
          </a:xfrm>
          <a:prstGeom prst="rect">
            <a:avLst/>
          </a:prstGeom>
        </p:spPr>
      </p:pic>
      <p:sp>
        <p:nvSpPr>
          <p:cNvPr id="32" name="TextBox 43">
            <a:extLst>
              <a:ext uri="{FF2B5EF4-FFF2-40B4-BE49-F238E27FC236}">
                <a16:creationId xmlns:a16="http://schemas.microsoft.com/office/drawing/2014/main" id="{8848F8E2-A54E-4666-B40E-2A03D6375A0C}"/>
              </a:ext>
            </a:extLst>
          </p:cNvPr>
          <p:cNvSpPr txBox="1"/>
          <p:nvPr/>
        </p:nvSpPr>
        <p:spPr>
          <a:xfrm>
            <a:off x="2520714" y="2211241"/>
            <a:ext cx="8014936" cy="3308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550" dirty="0">
                <a:latin typeface="Arial" panose="020B0604020202020204"/>
              </a:rPr>
              <a:t>Concerne l’ensemble des médicaments et une partie des dispositifs médicaux (*)</a:t>
            </a:r>
          </a:p>
        </p:txBody>
      </p:sp>
      <p:pic>
        <p:nvPicPr>
          <p:cNvPr id="33" name="Graphic 2" descr="Medicine">
            <a:extLst>
              <a:ext uri="{FF2B5EF4-FFF2-40B4-BE49-F238E27FC236}">
                <a16:creationId xmlns:a16="http://schemas.microsoft.com/office/drawing/2014/main" id="{59D18758-EE6F-4C53-ABAB-64D95CA21C34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1656350" y="2231341"/>
            <a:ext cx="377119" cy="377119"/>
          </a:xfrm>
          <a:prstGeom prst="rect">
            <a:avLst/>
          </a:prstGeom>
        </p:spPr>
      </p:pic>
      <p:sp>
        <p:nvSpPr>
          <p:cNvPr id="34" name="Rectangle: Rounded Corners 3">
            <a:extLst>
              <a:ext uri="{FF2B5EF4-FFF2-40B4-BE49-F238E27FC236}">
                <a16:creationId xmlns:a16="http://schemas.microsoft.com/office/drawing/2014/main" id="{71737C28-7444-44D4-9DB3-267592472775}"/>
              </a:ext>
            </a:extLst>
          </p:cNvPr>
          <p:cNvSpPr/>
          <p:nvPr/>
        </p:nvSpPr>
        <p:spPr>
          <a:xfrm rot="2646561">
            <a:off x="2164685" y="2267033"/>
            <a:ext cx="144016" cy="307777"/>
          </a:xfrm>
          <a:prstGeom prst="roundRect">
            <a:avLst>
              <a:gd name="adj" fmla="val 50000"/>
            </a:avLst>
          </a:prstGeom>
          <a:solidFill>
            <a:srgbClr val="4C6C9C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Rectangle: Rounded Corners 44">
            <a:extLst>
              <a:ext uri="{FF2B5EF4-FFF2-40B4-BE49-F238E27FC236}">
                <a16:creationId xmlns:a16="http://schemas.microsoft.com/office/drawing/2014/main" id="{185DD4C1-DE2F-41FA-9838-4C15B6E68302}"/>
              </a:ext>
            </a:extLst>
          </p:cNvPr>
          <p:cNvSpPr/>
          <p:nvPr/>
        </p:nvSpPr>
        <p:spPr>
          <a:xfrm rot="19004639">
            <a:off x="2164685" y="2267840"/>
            <a:ext cx="144016" cy="307777"/>
          </a:xfrm>
          <a:prstGeom prst="roundRect">
            <a:avLst>
              <a:gd name="adj" fmla="val 50000"/>
            </a:avLst>
          </a:prstGeom>
          <a:solidFill>
            <a:srgbClr val="4C6C9C"/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" name="Oval 6">
            <a:extLst>
              <a:ext uri="{FF2B5EF4-FFF2-40B4-BE49-F238E27FC236}">
                <a16:creationId xmlns:a16="http://schemas.microsoft.com/office/drawing/2014/main" id="{4831B9C4-28EA-4870-90B5-DF47DDBC88A0}"/>
              </a:ext>
            </a:extLst>
          </p:cNvPr>
          <p:cNvSpPr/>
          <p:nvPr/>
        </p:nvSpPr>
        <p:spPr>
          <a:xfrm>
            <a:off x="2204150" y="2353377"/>
            <a:ext cx="28800" cy="288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Oval 45">
            <a:extLst>
              <a:ext uri="{FF2B5EF4-FFF2-40B4-BE49-F238E27FC236}">
                <a16:creationId xmlns:a16="http://schemas.microsoft.com/office/drawing/2014/main" id="{325FD027-A703-4194-B08A-2F6EBF044CC9}"/>
              </a:ext>
            </a:extLst>
          </p:cNvPr>
          <p:cNvSpPr/>
          <p:nvPr/>
        </p:nvSpPr>
        <p:spPr>
          <a:xfrm>
            <a:off x="2165455" y="2382177"/>
            <a:ext cx="28800" cy="288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Oval 47">
            <a:extLst>
              <a:ext uri="{FF2B5EF4-FFF2-40B4-BE49-F238E27FC236}">
                <a16:creationId xmlns:a16="http://schemas.microsoft.com/office/drawing/2014/main" id="{DFBBF1FD-3535-47BC-A750-3AEE727AE7BB}"/>
              </a:ext>
            </a:extLst>
          </p:cNvPr>
          <p:cNvSpPr/>
          <p:nvPr/>
        </p:nvSpPr>
        <p:spPr>
          <a:xfrm>
            <a:off x="2218550" y="2446447"/>
            <a:ext cx="28800" cy="288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" name="Oval 49">
            <a:extLst>
              <a:ext uri="{FF2B5EF4-FFF2-40B4-BE49-F238E27FC236}">
                <a16:creationId xmlns:a16="http://schemas.microsoft.com/office/drawing/2014/main" id="{24A157EE-E257-4C4F-BAAC-963021C9B0D4}"/>
              </a:ext>
            </a:extLst>
          </p:cNvPr>
          <p:cNvSpPr/>
          <p:nvPr/>
        </p:nvSpPr>
        <p:spPr>
          <a:xfrm>
            <a:off x="2260818" y="2414554"/>
            <a:ext cx="28800" cy="2880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40" name="Straight Connector 8">
            <a:extLst>
              <a:ext uri="{FF2B5EF4-FFF2-40B4-BE49-F238E27FC236}">
                <a16:creationId xmlns:a16="http://schemas.microsoft.com/office/drawing/2014/main" id="{F344153B-4B73-48BD-B703-AFC591F1E186}"/>
              </a:ext>
            </a:extLst>
          </p:cNvPr>
          <p:cNvCxnSpPr>
            <a:cxnSpLocks/>
          </p:cNvCxnSpPr>
          <p:nvPr/>
        </p:nvCxnSpPr>
        <p:spPr>
          <a:xfrm flipV="1">
            <a:off x="2179176" y="2368248"/>
            <a:ext cx="104887" cy="98688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sp>
        <p:nvSpPr>
          <p:cNvPr id="41" name="Rectangle: Rounded Corners 37">
            <a:extLst>
              <a:ext uri="{FF2B5EF4-FFF2-40B4-BE49-F238E27FC236}">
                <a16:creationId xmlns:a16="http://schemas.microsoft.com/office/drawing/2014/main" id="{411B280E-BFF8-4685-BBD8-81684B72961B}"/>
              </a:ext>
            </a:extLst>
          </p:cNvPr>
          <p:cNvSpPr/>
          <p:nvPr/>
        </p:nvSpPr>
        <p:spPr>
          <a:xfrm>
            <a:off x="1312769" y="1760088"/>
            <a:ext cx="9732459" cy="360000"/>
          </a:xfrm>
          <a:prstGeom prst="roundRect">
            <a:avLst>
              <a:gd name="adj" fmla="val 695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>
              <a:spcBef>
                <a:spcPts val="500"/>
              </a:spcBef>
              <a:spcAft>
                <a:spcPts val="500"/>
              </a:spcAft>
            </a:pPr>
            <a:r>
              <a:rPr lang="fr-FR" sz="1550" b="1" dirty="0">
                <a:solidFill>
                  <a:srgbClr val="1F497D"/>
                </a:solidFill>
              </a:rPr>
              <a:t>Le périmètre de l’expérimentation</a:t>
            </a:r>
          </a:p>
        </p:txBody>
      </p:sp>
      <p:sp>
        <p:nvSpPr>
          <p:cNvPr id="42" name="Rectangle: Rounded Corners 66">
            <a:extLst>
              <a:ext uri="{FF2B5EF4-FFF2-40B4-BE49-F238E27FC236}">
                <a16:creationId xmlns:a16="http://schemas.microsoft.com/office/drawing/2014/main" id="{33BB388E-FD15-476A-A26B-02447F615996}"/>
              </a:ext>
            </a:extLst>
          </p:cNvPr>
          <p:cNvSpPr/>
          <p:nvPr/>
        </p:nvSpPr>
        <p:spPr>
          <a:xfrm>
            <a:off x="1312769" y="4287810"/>
            <a:ext cx="9732459" cy="360000"/>
          </a:xfrm>
          <a:prstGeom prst="roundRect">
            <a:avLst>
              <a:gd name="adj" fmla="val 695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550" b="1" dirty="0">
                <a:solidFill>
                  <a:srgbClr val="1F497D"/>
                </a:solidFill>
              </a:rPr>
              <a:t>Les chiffres clés de l’expérimentation e-prescription</a:t>
            </a:r>
          </a:p>
        </p:txBody>
      </p:sp>
      <p:sp>
        <p:nvSpPr>
          <p:cNvPr id="2" name="ZoneTexte 1"/>
          <p:cNvSpPr txBox="1"/>
          <p:nvPr/>
        </p:nvSpPr>
        <p:spPr>
          <a:xfrm>
            <a:off x="3636783" y="6432775"/>
            <a:ext cx="49184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dirty="0">
                <a:latin typeface="Arial" panose="020B0604020202020204"/>
              </a:rPr>
              <a:t>(*) Liste de DM principalement délivrés en officine (pansements, etc.)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1F861D63-3BF3-49CF-B957-A6F3288F9F0B}"/>
              </a:ext>
            </a:extLst>
          </p:cNvPr>
          <p:cNvGrpSpPr/>
          <p:nvPr/>
        </p:nvGrpSpPr>
        <p:grpSpPr>
          <a:xfrm>
            <a:off x="11130704" y="4167176"/>
            <a:ext cx="541559" cy="570737"/>
            <a:chOff x="10840358" y="303312"/>
            <a:chExt cx="541559" cy="570737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6DCF9DFD-CB48-4642-82CC-BB4813BB7CB3}"/>
                </a:ext>
              </a:extLst>
            </p:cNvPr>
            <p:cNvSpPr/>
            <p:nvPr/>
          </p:nvSpPr>
          <p:spPr>
            <a:xfrm>
              <a:off x="10840358" y="487548"/>
              <a:ext cx="534417" cy="386501"/>
            </a:xfrm>
            <a:prstGeom prst="rect">
              <a:avLst/>
            </a:prstGeom>
            <a:solidFill>
              <a:srgbClr val="0C41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2FB04E99-F79C-4C04-B300-29FB3FF1017E}"/>
                </a:ext>
              </a:extLst>
            </p:cNvPr>
            <p:cNvSpPr txBox="1"/>
            <p:nvPr/>
          </p:nvSpPr>
          <p:spPr>
            <a:xfrm>
              <a:off x="10869980" y="525143"/>
              <a:ext cx="475172" cy="30777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r-FR" sz="1000" b="1" dirty="0">
                  <a:solidFill>
                    <a:srgbClr val="C00000"/>
                  </a:solidFill>
                </a:rPr>
                <a:t>25 Jan.</a:t>
              </a:r>
              <a:br>
                <a:rPr lang="fr-FR" sz="1000" dirty="0"/>
              </a:br>
              <a:r>
                <a:rPr lang="fr-FR" sz="1000" dirty="0"/>
                <a:t>2022</a:t>
              </a:r>
            </a:p>
          </p:txBody>
        </p:sp>
        <p:pic>
          <p:nvPicPr>
            <p:cNvPr id="48" name="Graphic 47" descr="Flip calendar">
              <a:extLst>
                <a:ext uri="{FF2B5EF4-FFF2-40B4-BE49-F238E27FC236}">
                  <a16:creationId xmlns:a16="http://schemas.microsoft.com/office/drawing/2014/main" id="{B91BC9DA-D6B5-4471-B934-6B43F532517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rcRect l="14568" t="13873" r="13781" b="62426"/>
            <a:stretch/>
          </p:blipFill>
          <p:spPr>
            <a:xfrm>
              <a:off x="10840358" y="303312"/>
              <a:ext cx="541559" cy="17591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9373509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>
            <a:extLst>
              <a:ext uri="{FF2B5EF4-FFF2-40B4-BE49-F238E27FC236}">
                <a16:creationId xmlns:a16="http://schemas.microsoft.com/office/drawing/2014/main" id="{54551290-DEE6-42F4-B732-0C03111362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83951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26" name="Object 25" hidden="1">
                        <a:extLst>
                          <a:ext uri="{FF2B5EF4-FFF2-40B4-BE49-F238E27FC236}">
                            <a16:creationId xmlns:a16="http://schemas.microsoft.com/office/drawing/2014/main" id="{54551290-DEE6-42F4-B732-0C03111362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3" name="Group 28">
            <a:extLst>
              <a:ext uri="{FF2B5EF4-FFF2-40B4-BE49-F238E27FC236}">
                <a16:creationId xmlns:a16="http://schemas.microsoft.com/office/drawing/2014/main" id="{C4E78AB0-EAF7-44BC-976A-F7FA3C561493}"/>
              </a:ext>
            </a:extLst>
          </p:cNvPr>
          <p:cNvGrpSpPr/>
          <p:nvPr/>
        </p:nvGrpSpPr>
        <p:grpSpPr>
          <a:xfrm>
            <a:off x="507943" y="1925772"/>
            <a:ext cx="612000" cy="504000"/>
            <a:chOff x="228564" y="781606"/>
            <a:chExt cx="569140" cy="468000"/>
          </a:xfrm>
        </p:grpSpPr>
        <p:sp>
          <p:nvSpPr>
            <p:cNvPr id="24" name="Freeform: Shape 35">
              <a:extLst>
                <a:ext uri="{FF2B5EF4-FFF2-40B4-BE49-F238E27FC236}">
                  <a16:creationId xmlns:a16="http://schemas.microsoft.com/office/drawing/2014/main" id="{5975FBFE-C435-4103-8E82-F60E70B79CC2}"/>
                </a:ext>
              </a:extLst>
            </p:cNvPr>
            <p:cNvSpPr/>
            <p:nvPr/>
          </p:nvSpPr>
          <p:spPr>
            <a:xfrm rot="5280000">
              <a:off x="279134" y="731036"/>
              <a:ext cx="468000" cy="569140"/>
            </a:xfrm>
            <a:custGeom>
              <a:avLst/>
              <a:gdLst>
                <a:gd name="connsiteX0" fmla="*/ 1382775 w 1382775"/>
                <a:gd name="connsiteY0" fmla="*/ 990221 h 1681608"/>
                <a:gd name="connsiteX1" fmla="*/ 691388 w 1382775"/>
                <a:gd name="connsiteY1" fmla="*/ 1681608 h 1681608"/>
                <a:gd name="connsiteX2" fmla="*/ 0 w 1382775"/>
                <a:gd name="connsiteY2" fmla="*/ 990220 h 1681608"/>
                <a:gd name="connsiteX3" fmla="*/ 422268 w 1382775"/>
                <a:gd name="connsiteY3" fmla="*/ 353166 h 1681608"/>
                <a:gd name="connsiteX4" fmla="*/ 484054 w 1382775"/>
                <a:gd name="connsiteY4" fmla="*/ 333986 h 1681608"/>
                <a:gd name="connsiteX5" fmla="*/ 677767 w 1382775"/>
                <a:gd name="connsiteY5" fmla="*/ 0 h 1681608"/>
                <a:gd name="connsiteX6" fmla="*/ 865498 w 1382775"/>
                <a:gd name="connsiteY6" fmla="*/ 323674 h 1681608"/>
                <a:gd name="connsiteX7" fmla="*/ 960507 w 1382775"/>
                <a:gd name="connsiteY7" fmla="*/ 353167 h 1681608"/>
                <a:gd name="connsiteX8" fmla="*/ 1382775 w 1382775"/>
                <a:gd name="connsiteY8" fmla="*/ 990221 h 1681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82775" h="1681608">
                  <a:moveTo>
                    <a:pt x="1382775" y="990221"/>
                  </a:moveTo>
                  <a:cubicBezTo>
                    <a:pt x="1382775" y="1372063"/>
                    <a:pt x="1073230" y="1681608"/>
                    <a:pt x="691388" y="1681608"/>
                  </a:cubicBezTo>
                  <a:cubicBezTo>
                    <a:pt x="309545" y="1681607"/>
                    <a:pt x="0" y="1372062"/>
                    <a:pt x="0" y="990220"/>
                  </a:cubicBezTo>
                  <a:cubicBezTo>
                    <a:pt x="0" y="703839"/>
                    <a:pt x="174119" y="458124"/>
                    <a:pt x="422268" y="353166"/>
                  </a:cubicBezTo>
                  <a:lnTo>
                    <a:pt x="484054" y="333986"/>
                  </a:lnTo>
                  <a:lnTo>
                    <a:pt x="677767" y="0"/>
                  </a:lnTo>
                  <a:lnTo>
                    <a:pt x="865498" y="323674"/>
                  </a:lnTo>
                  <a:lnTo>
                    <a:pt x="960507" y="353167"/>
                  </a:lnTo>
                  <a:cubicBezTo>
                    <a:pt x="1208656" y="458125"/>
                    <a:pt x="1382775" y="703840"/>
                    <a:pt x="1382775" y="990221"/>
                  </a:cubicBezTo>
                  <a:close/>
                </a:path>
              </a:pathLst>
            </a:custGeom>
            <a:solidFill>
              <a:srgbClr val="4C6C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 dirty="0"/>
            </a:p>
          </p:txBody>
        </p:sp>
        <p:sp>
          <p:nvSpPr>
            <p:cNvPr id="25" name="Oval 14">
              <a:extLst>
                <a:ext uri="{FF2B5EF4-FFF2-40B4-BE49-F238E27FC236}">
                  <a16:creationId xmlns:a16="http://schemas.microsoft.com/office/drawing/2014/main" id="{B7D6DD44-E17E-494B-BCE4-DFAA8A42DF13}"/>
                </a:ext>
              </a:extLst>
            </p:cNvPr>
            <p:cNvSpPr/>
            <p:nvPr/>
          </p:nvSpPr>
          <p:spPr>
            <a:xfrm>
              <a:off x="273415" y="830046"/>
              <a:ext cx="371120" cy="37112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27000" dist="1143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</p:grpSp>
      <p:sp>
        <p:nvSpPr>
          <p:cNvPr id="3" name="Espace réservé du numéro de diapositive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11</a:t>
            </a:fld>
            <a:endParaRPr lang="fr-FR" dirty="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fr-FR" sz="2000" dirty="0"/>
              <a:t>La e-prescription, un dispositif qui fonctionne (1/2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DC271C4-5490-45A9-A256-466D81789883}"/>
              </a:ext>
            </a:extLst>
          </p:cNvPr>
          <p:cNvSpPr/>
          <p:nvPr/>
        </p:nvSpPr>
        <p:spPr>
          <a:xfrm>
            <a:off x="1153683" y="1715224"/>
            <a:ext cx="10332302" cy="12413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16000" indent="-180000" eaLnBrk="0" fontAlgn="base" hangingPunct="0">
              <a:spcAft>
                <a:spcPts val="1000"/>
              </a:spcAft>
              <a:buFont typeface="Arial" panose="020B0604020202020204" pitchFamily="34" charset="0"/>
              <a:buChar char="•"/>
              <a:defRPr/>
            </a:pPr>
            <a:r>
              <a:rPr lang="fr-FR" sz="1450" b="1" dirty="0">
                <a:latin typeface="Arial" panose="020B0604020202020204"/>
              </a:rPr>
              <a:t>Les expérimentateurs utilisent la e-prescription au quotidien</a:t>
            </a:r>
          </a:p>
          <a:p>
            <a:pPr marL="216000" indent="-180000" eaLnBrk="0" fontAlgn="base" hangingPunct="0">
              <a:spcAft>
                <a:spcPts val="1000"/>
              </a:spcAft>
              <a:buFont typeface="Arial" panose="020B0604020202020204" pitchFamily="34" charset="0"/>
              <a:buChar char="•"/>
              <a:defRPr/>
            </a:pPr>
            <a:r>
              <a:rPr lang="fr-FR" sz="1450" b="1" dirty="0">
                <a:latin typeface="Arial" panose="020B0604020202020204"/>
              </a:rPr>
              <a:t>Les adaptations des logiciels réalisées par les éditeurs ont été sans impact sur le processus métier du médecin et du pharmacien </a:t>
            </a:r>
          </a:p>
          <a:p>
            <a:pPr marL="216000" indent="-180000" eaLnBrk="0" fontAlgn="base" hangingPunct="0">
              <a:spcAft>
                <a:spcPts val="1000"/>
              </a:spcAft>
              <a:buFont typeface="Arial" panose="020B0604020202020204" pitchFamily="34" charset="0"/>
              <a:buChar char="•"/>
              <a:defRPr/>
            </a:pPr>
            <a:r>
              <a:rPr lang="fr-FR" sz="1450" b="1" dirty="0">
                <a:latin typeface="Arial" panose="020B0604020202020204"/>
              </a:rPr>
              <a:t>Les expérimentateurs sont satisfaits par la solution et la recommanderaient à leurs confrères</a:t>
            </a:r>
          </a:p>
        </p:txBody>
      </p:sp>
      <p:sp>
        <p:nvSpPr>
          <p:cNvPr id="7" name="Speech Bubble: Rectangle 5">
            <a:extLst>
              <a:ext uri="{FF2B5EF4-FFF2-40B4-BE49-F238E27FC236}">
                <a16:creationId xmlns:a16="http://schemas.microsoft.com/office/drawing/2014/main" id="{5ACEFF08-2552-4F81-8E74-2D4BB1CA1C44}"/>
              </a:ext>
            </a:extLst>
          </p:cNvPr>
          <p:cNvSpPr/>
          <p:nvPr/>
        </p:nvSpPr>
        <p:spPr>
          <a:xfrm>
            <a:off x="884603" y="3094669"/>
            <a:ext cx="5184576" cy="2448370"/>
          </a:xfrm>
          <a:prstGeom prst="wedgeRectCallout">
            <a:avLst>
              <a:gd name="adj1" fmla="val -34681"/>
              <a:gd name="adj2" fmla="val 62500"/>
            </a:avLst>
          </a:prstGeom>
          <a:solidFill>
            <a:schemeClr val="bg1"/>
          </a:solidFill>
          <a:ln w="63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8" name="Speech Bubble: Rectangle 41">
            <a:extLst>
              <a:ext uri="{FF2B5EF4-FFF2-40B4-BE49-F238E27FC236}">
                <a16:creationId xmlns:a16="http://schemas.microsoft.com/office/drawing/2014/main" id="{81707519-A8A3-4F9D-9619-8F897C4EAED3}"/>
              </a:ext>
            </a:extLst>
          </p:cNvPr>
          <p:cNvSpPr/>
          <p:nvPr/>
        </p:nvSpPr>
        <p:spPr>
          <a:xfrm>
            <a:off x="6178388" y="3094669"/>
            <a:ext cx="5184576" cy="2466471"/>
          </a:xfrm>
          <a:prstGeom prst="wedgeRectCallout">
            <a:avLst>
              <a:gd name="adj1" fmla="val 35344"/>
              <a:gd name="adj2" fmla="val 64199"/>
            </a:avLst>
          </a:prstGeom>
          <a:solidFill>
            <a:schemeClr val="bg1"/>
          </a:solidFill>
          <a:ln w="63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9" name="Graphic 42" descr="Doctor">
            <a:extLst>
              <a:ext uri="{FF2B5EF4-FFF2-40B4-BE49-F238E27FC236}">
                <a16:creationId xmlns:a16="http://schemas.microsoft.com/office/drawing/2014/main" id="{9BCA5A9C-A9E8-46DF-8B49-E2F5F8B2764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90304" y="5577806"/>
            <a:ext cx="785532" cy="589149"/>
          </a:xfrm>
          <a:prstGeom prst="rect">
            <a:avLst/>
          </a:prstGeom>
        </p:spPr>
      </p:pic>
      <p:grpSp>
        <p:nvGrpSpPr>
          <p:cNvPr id="10" name="Group 6">
            <a:extLst>
              <a:ext uri="{FF2B5EF4-FFF2-40B4-BE49-F238E27FC236}">
                <a16:creationId xmlns:a16="http://schemas.microsoft.com/office/drawing/2014/main" id="{C8347A29-2608-482F-B0F1-D65B0C85870D}"/>
              </a:ext>
            </a:extLst>
          </p:cNvPr>
          <p:cNvGrpSpPr/>
          <p:nvPr/>
        </p:nvGrpSpPr>
        <p:grpSpPr>
          <a:xfrm>
            <a:off x="10655075" y="5543039"/>
            <a:ext cx="668736" cy="524159"/>
            <a:chOff x="6804248" y="6241760"/>
            <a:chExt cx="687600" cy="649945"/>
          </a:xfrm>
        </p:grpSpPr>
        <p:pic>
          <p:nvPicPr>
            <p:cNvPr id="11" name="Graphic 64" descr="Female Profile">
              <a:extLst>
                <a:ext uri="{FF2B5EF4-FFF2-40B4-BE49-F238E27FC236}">
                  <a16:creationId xmlns:a16="http://schemas.microsoft.com/office/drawing/2014/main" id="{219E465B-FD6A-4A3F-911C-9D386EBB2A0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804248" y="6241760"/>
              <a:ext cx="687600" cy="649945"/>
            </a:xfrm>
            <a:prstGeom prst="rect">
              <a:avLst/>
            </a:prstGeom>
          </p:spPr>
        </p:pic>
        <p:pic>
          <p:nvPicPr>
            <p:cNvPr id="12" name="Picture 52">
              <a:extLst>
                <a:ext uri="{FF2B5EF4-FFF2-40B4-BE49-F238E27FC236}">
                  <a16:creationId xmlns:a16="http://schemas.microsoft.com/office/drawing/2014/main" id="{398B1065-51DB-4864-B9E5-14F79BD86D6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7068923" y="6600321"/>
              <a:ext cx="285950" cy="198963"/>
            </a:xfrm>
            <a:prstGeom prst="rect">
              <a:avLst/>
            </a:prstGeom>
          </p:spPr>
        </p:pic>
      </p:grpSp>
      <p:sp>
        <p:nvSpPr>
          <p:cNvPr id="13" name="TextBox 8">
            <a:extLst>
              <a:ext uri="{FF2B5EF4-FFF2-40B4-BE49-F238E27FC236}">
                <a16:creationId xmlns:a16="http://schemas.microsoft.com/office/drawing/2014/main" id="{6A6112BA-2EC6-4388-B82F-37718CB66140}"/>
              </a:ext>
            </a:extLst>
          </p:cNvPr>
          <p:cNvSpPr txBox="1"/>
          <p:nvPr/>
        </p:nvSpPr>
        <p:spPr>
          <a:xfrm>
            <a:off x="1892961" y="3381056"/>
            <a:ext cx="3167854" cy="21544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fr-FR" sz="1400" i="1" dirty="0">
                <a:latin typeface="Arial" panose="020B0604020202020204" pitchFamily="34" charset="0"/>
                <a:cs typeface="Arial" panose="020B0604020202020204" pitchFamily="34" charset="0"/>
              </a:rPr>
              <a:t>Ne change pas ma façon de prescrire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fr-FR" sz="1400" i="1" dirty="0">
                <a:latin typeface="Arial" panose="020B0604020202020204" pitchFamily="34" charset="0"/>
                <a:cs typeface="Arial" panose="020B0604020202020204" pitchFamily="34" charset="0"/>
              </a:rPr>
              <a:t>Prise en main facile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fr-FR" sz="1400" i="1" dirty="0">
                <a:latin typeface="Arial" panose="020B0604020202020204" pitchFamily="34" charset="0"/>
                <a:cs typeface="Arial" panose="020B0604020202020204" pitchFamily="34" charset="0"/>
              </a:rPr>
              <a:t>Bonne intégration au logiciel métier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fr-FR" sz="1400" i="1" dirty="0">
                <a:latin typeface="Arial" panose="020B0604020202020204" pitchFamily="34" charset="0"/>
                <a:cs typeface="Arial" panose="020B0604020202020204" pitchFamily="34" charset="0"/>
              </a:rPr>
              <a:t>Ne change rien pour les patient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fr-FR" sz="1400" i="1" dirty="0">
                <a:latin typeface="Arial" panose="020B0604020202020204" pitchFamily="34" charset="0"/>
                <a:cs typeface="Arial" panose="020B0604020202020204" pitchFamily="34" charset="0"/>
              </a:rPr>
              <a:t>Très fluide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fr-FR" sz="1400" i="1" dirty="0">
                <a:latin typeface="Arial" panose="020B0604020202020204" pitchFamily="34" charset="0"/>
                <a:cs typeface="Arial" panose="020B0604020202020204" pitchFamily="34" charset="0"/>
              </a:rPr>
              <a:t>Complètement transparent</a:t>
            </a:r>
            <a:endParaRPr lang="fr-FR" sz="12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53">
            <a:extLst>
              <a:ext uri="{FF2B5EF4-FFF2-40B4-BE49-F238E27FC236}">
                <a16:creationId xmlns:a16="http://schemas.microsoft.com/office/drawing/2014/main" id="{0B75036C-404D-4FB6-B449-591755A92C8F}"/>
              </a:ext>
            </a:extLst>
          </p:cNvPr>
          <p:cNvSpPr txBox="1"/>
          <p:nvPr/>
        </p:nvSpPr>
        <p:spPr>
          <a:xfrm>
            <a:off x="6764017" y="3381056"/>
            <a:ext cx="3974165" cy="21800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algn="ctr">
              <a:spcBef>
                <a:spcPts val="600"/>
              </a:spcBef>
              <a:spcAft>
                <a:spcPts val="600"/>
              </a:spcAft>
              <a:defRPr sz="1400" i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dirty="0"/>
              <a:t>Temps de réponse du service très rapide</a:t>
            </a:r>
          </a:p>
          <a:p>
            <a:r>
              <a:rPr lang="fr-FR" dirty="0"/>
              <a:t>Bonne sécurisation du dispositif</a:t>
            </a:r>
          </a:p>
          <a:p>
            <a:r>
              <a:rPr lang="fr-FR" dirty="0"/>
              <a:t>Très facile</a:t>
            </a:r>
          </a:p>
          <a:p>
            <a:r>
              <a:rPr lang="fr-FR" dirty="0"/>
              <a:t>Très intuitif</a:t>
            </a:r>
          </a:p>
          <a:p>
            <a:r>
              <a:rPr lang="fr-FR" dirty="0"/>
              <a:t>S’intègre au processus de délivrance par défaut</a:t>
            </a:r>
          </a:p>
          <a:p>
            <a:r>
              <a:rPr lang="fr-FR" dirty="0"/>
              <a:t>Les patients ne s’en rendent pas compte</a:t>
            </a:r>
          </a:p>
        </p:txBody>
      </p:sp>
      <p:sp>
        <p:nvSpPr>
          <p:cNvPr id="15" name="TextBox 13">
            <a:extLst>
              <a:ext uri="{FF2B5EF4-FFF2-40B4-BE49-F238E27FC236}">
                <a16:creationId xmlns:a16="http://schemas.microsoft.com/office/drawing/2014/main" id="{1628D3FB-D491-4CAF-BF81-9086ADB2FAF9}"/>
              </a:ext>
            </a:extLst>
          </p:cNvPr>
          <p:cNvSpPr txBox="1"/>
          <p:nvPr/>
        </p:nvSpPr>
        <p:spPr>
          <a:xfrm>
            <a:off x="1850249" y="3089114"/>
            <a:ext cx="275908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Quelques verbatims Médecins</a:t>
            </a:r>
          </a:p>
        </p:txBody>
      </p:sp>
      <p:sp>
        <p:nvSpPr>
          <p:cNvPr id="16" name="TextBox 56">
            <a:extLst>
              <a:ext uri="{FF2B5EF4-FFF2-40B4-BE49-F238E27FC236}">
                <a16:creationId xmlns:a16="http://schemas.microsoft.com/office/drawing/2014/main" id="{DC1976A7-7A40-4518-8691-276823AF8D95}"/>
              </a:ext>
            </a:extLst>
          </p:cNvPr>
          <p:cNvSpPr txBox="1"/>
          <p:nvPr/>
        </p:nvSpPr>
        <p:spPr>
          <a:xfrm>
            <a:off x="6986940" y="3073178"/>
            <a:ext cx="306045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b="1" dirty="0">
                <a:solidFill>
                  <a:schemeClr val="bg1">
                    <a:lumMod val="65000"/>
                  </a:schemeClr>
                </a:solidFill>
              </a:rPr>
              <a:t>Quelques verbatims Pharmaciens</a:t>
            </a:r>
          </a:p>
        </p:txBody>
      </p:sp>
      <p:pic>
        <p:nvPicPr>
          <p:cNvPr id="17" name="Graphic 16" descr="Open quotation mark">
            <a:extLst>
              <a:ext uri="{FF2B5EF4-FFF2-40B4-BE49-F238E27FC236}">
                <a16:creationId xmlns:a16="http://schemas.microsoft.com/office/drawing/2014/main" id="{B71A481D-F4CE-46F3-897C-F954746D74F9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1380" y="3035883"/>
            <a:ext cx="516877" cy="387658"/>
          </a:xfrm>
          <a:prstGeom prst="rect">
            <a:avLst/>
          </a:prstGeom>
        </p:spPr>
      </p:pic>
      <p:pic>
        <p:nvPicPr>
          <p:cNvPr id="18" name="Graphic 25" descr="Closed quotation mark">
            <a:extLst>
              <a:ext uri="{FF2B5EF4-FFF2-40B4-BE49-F238E27FC236}">
                <a16:creationId xmlns:a16="http://schemas.microsoft.com/office/drawing/2014/main" id="{17905D3E-FB68-4F20-AC5E-7EDA4F9EE656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530517" y="5035706"/>
            <a:ext cx="492444" cy="369333"/>
          </a:xfrm>
          <a:prstGeom prst="rect">
            <a:avLst/>
          </a:prstGeom>
        </p:spPr>
      </p:pic>
      <p:sp>
        <p:nvSpPr>
          <p:cNvPr id="19" name="TextBox 60">
            <a:extLst>
              <a:ext uri="{FF2B5EF4-FFF2-40B4-BE49-F238E27FC236}">
                <a16:creationId xmlns:a16="http://schemas.microsoft.com/office/drawing/2014/main" id="{E351DD46-77A4-4638-BB9E-8A45137C0E78}"/>
              </a:ext>
            </a:extLst>
          </p:cNvPr>
          <p:cNvSpPr txBox="1"/>
          <p:nvPr/>
        </p:nvSpPr>
        <p:spPr>
          <a:xfrm>
            <a:off x="3546693" y="5697286"/>
            <a:ext cx="50449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b="1" i="1" dirty="0">
                <a:solidFill>
                  <a:srgbClr val="42B2D6"/>
                </a:solidFill>
              </a:rPr>
              <a:t>« C’est l’avenir de la prescription médicale »</a:t>
            </a:r>
          </a:p>
        </p:txBody>
      </p:sp>
      <p:pic>
        <p:nvPicPr>
          <p:cNvPr id="20" name="Graphic 62" descr="Users">
            <a:extLst>
              <a:ext uri="{FF2B5EF4-FFF2-40B4-BE49-F238E27FC236}">
                <a16:creationId xmlns:a16="http://schemas.microsoft.com/office/drawing/2014/main" id="{FAD26C15-B593-40DF-921D-7A0A6895EE12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48466" y="1999964"/>
            <a:ext cx="449085" cy="336814"/>
          </a:xfrm>
          <a:prstGeom prst="rect">
            <a:avLst/>
          </a:prstGeom>
        </p:spPr>
      </p:pic>
      <p:pic>
        <p:nvPicPr>
          <p:cNvPr id="21" name="Graphic 63" descr="Open quotation mark">
            <a:extLst>
              <a:ext uri="{FF2B5EF4-FFF2-40B4-BE49-F238E27FC236}">
                <a16:creationId xmlns:a16="http://schemas.microsoft.com/office/drawing/2014/main" id="{4C2C2244-21ED-46A6-86B5-9FA91CF7C540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178775" y="3053254"/>
            <a:ext cx="516877" cy="387658"/>
          </a:xfrm>
          <a:prstGeom prst="rect">
            <a:avLst/>
          </a:prstGeom>
        </p:spPr>
      </p:pic>
      <p:pic>
        <p:nvPicPr>
          <p:cNvPr id="22" name="Graphic 64" descr="Closed quotation mark">
            <a:extLst>
              <a:ext uri="{FF2B5EF4-FFF2-40B4-BE49-F238E27FC236}">
                <a16:creationId xmlns:a16="http://schemas.microsoft.com/office/drawing/2014/main" id="{68333928-B0E7-40E7-9954-D59A0480B6B1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731665" y="5191807"/>
            <a:ext cx="492444" cy="369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94524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120D36AB-D4AC-4118-890D-E72D3663F0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1709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120D36AB-D4AC-4118-890D-E72D3663F0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numéro de diapositive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12</a:t>
            </a:fld>
            <a:endParaRPr lang="fr-FR" dirty="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fr-FR" sz="2000" dirty="0"/>
              <a:t>La e-prescription, un dispositif qui fonctionne (2/2)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3407FE0F-FF26-4B08-B12E-8C91383ACC8D}"/>
              </a:ext>
            </a:extLst>
          </p:cNvPr>
          <p:cNvGrpSpPr>
            <a:grpSpLocks noChangeAspect="1"/>
          </p:cNvGrpSpPr>
          <p:nvPr/>
        </p:nvGrpSpPr>
        <p:grpSpPr>
          <a:xfrm>
            <a:off x="963392" y="4594441"/>
            <a:ext cx="612920" cy="504000"/>
            <a:chOff x="310003" y="5198548"/>
            <a:chExt cx="744260" cy="612000"/>
          </a:xfrm>
        </p:grpSpPr>
        <p:grpSp>
          <p:nvGrpSpPr>
            <p:cNvPr id="44" name="Group 16">
              <a:extLst>
                <a:ext uri="{FF2B5EF4-FFF2-40B4-BE49-F238E27FC236}">
                  <a16:creationId xmlns:a16="http://schemas.microsoft.com/office/drawing/2014/main" id="{3CA63E8E-AA27-4A36-8A6D-99F95D77209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10003" y="5198548"/>
              <a:ext cx="744260" cy="612000"/>
              <a:chOff x="6275390" y="4131256"/>
              <a:chExt cx="1261206" cy="1037081"/>
            </a:xfrm>
          </p:grpSpPr>
          <p:sp>
            <p:nvSpPr>
              <p:cNvPr id="46" name="Freeform: Shape 35">
                <a:extLst>
                  <a:ext uri="{FF2B5EF4-FFF2-40B4-BE49-F238E27FC236}">
                    <a16:creationId xmlns:a16="http://schemas.microsoft.com/office/drawing/2014/main" id="{B3E9D38F-00E9-4CFD-8551-927F8B8421B3}"/>
                  </a:ext>
                </a:extLst>
              </p:cNvPr>
              <p:cNvSpPr/>
              <p:nvPr/>
            </p:nvSpPr>
            <p:spPr>
              <a:xfrm rot="5280000">
                <a:off x="6387452" y="4019194"/>
                <a:ext cx="1037081" cy="1261206"/>
              </a:xfrm>
              <a:custGeom>
                <a:avLst/>
                <a:gdLst>
                  <a:gd name="connsiteX0" fmla="*/ 1382775 w 1382775"/>
                  <a:gd name="connsiteY0" fmla="*/ 990221 h 1681608"/>
                  <a:gd name="connsiteX1" fmla="*/ 691388 w 1382775"/>
                  <a:gd name="connsiteY1" fmla="*/ 1681608 h 1681608"/>
                  <a:gd name="connsiteX2" fmla="*/ 0 w 1382775"/>
                  <a:gd name="connsiteY2" fmla="*/ 990220 h 1681608"/>
                  <a:gd name="connsiteX3" fmla="*/ 422268 w 1382775"/>
                  <a:gd name="connsiteY3" fmla="*/ 353166 h 1681608"/>
                  <a:gd name="connsiteX4" fmla="*/ 484054 w 1382775"/>
                  <a:gd name="connsiteY4" fmla="*/ 333986 h 1681608"/>
                  <a:gd name="connsiteX5" fmla="*/ 677767 w 1382775"/>
                  <a:gd name="connsiteY5" fmla="*/ 0 h 1681608"/>
                  <a:gd name="connsiteX6" fmla="*/ 865498 w 1382775"/>
                  <a:gd name="connsiteY6" fmla="*/ 323674 h 1681608"/>
                  <a:gd name="connsiteX7" fmla="*/ 960507 w 1382775"/>
                  <a:gd name="connsiteY7" fmla="*/ 353167 h 1681608"/>
                  <a:gd name="connsiteX8" fmla="*/ 1382775 w 1382775"/>
                  <a:gd name="connsiteY8" fmla="*/ 990221 h 1681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82775" h="1681608">
                    <a:moveTo>
                      <a:pt x="1382775" y="990221"/>
                    </a:moveTo>
                    <a:cubicBezTo>
                      <a:pt x="1382775" y="1372063"/>
                      <a:pt x="1073230" y="1681608"/>
                      <a:pt x="691388" y="1681608"/>
                    </a:cubicBezTo>
                    <a:cubicBezTo>
                      <a:pt x="309545" y="1681607"/>
                      <a:pt x="0" y="1372062"/>
                      <a:pt x="0" y="990220"/>
                    </a:cubicBezTo>
                    <a:cubicBezTo>
                      <a:pt x="0" y="703839"/>
                      <a:pt x="174119" y="458124"/>
                      <a:pt x="422268" y="353166"/>
                    </a:cubicBezTo>
                    <a:lnTo>
                      <a:pt x="484054" y="333986"/>
                    </a:lnTo>
                    <a:lnTo>
                      <a:pt x="677767" y="0"/>
                    </a:lnTo>
                    <a:lnTo>
                      <a:pt x="865498" y="323674"/>
                    </a:lnTo>
                    <a:lnTo>
                      <a:pt x="960507" y="353167"/>
                    </a:lnTo>
                    <a:cubicBezTo>
                      <a:pt x="1208656" y="458125"/>
                      <a:pt x="1382775" y="703840"/>
                      <a:pt x="1382775" y="990221"/>
                    </a:cubicBezTo>
                    <a:close/>
                  </a:path>
                </a:pathLst>
              </a:custGeom>
              <a:solidFill>
                <a:srgbClr val="4C6C9C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EB6DD690-377D-4AA3-8A55-AAD9EA7F39C4}"/>
                  </a:ext>
                </a:extLst>
              </p:cNvPr>
              <p:cNvSpPr/>
              <p:nvPr/>
            </p:nvSpPr>
            <p:spPr>
              <a:xfrm>
                <a:off x="6374780" y="4238599"/>
                <a:ext cx="822397" cy="822397"/>
              </a:xfrm>
              <a:prstGeom prst="ellipse">
                <a:avLst/>
              </a:prstGeom>
              <a:solidFill>
                <a:sysClr val="window" lastClr="FFFFFF"/>
              </a:solidFill>
              <a:ln w="25400" cap="flat" cmpd="sng" algn="ctr">
                <a:noFill/>
                <a:prstDash val="solid"/>
              </a:ln>
              <a:effectLst>
                <a:outerShdw blurRad="127000" dist="1143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45" name="Freeform 305">
              <a:extLst>
                <a:ext uri="{FF2B5EF4-FFF2-40B4-BE49-F238E27FC236}">
                  <a16:creationId xmlns:a16="http://schemas.microsoft.com/office/drawing/2014/main" id="{F7577D72-5547-46F0-8799-5DA8B1D8569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3900" y="5370888"/>
              <a:ext cx="366216" cy="288000"/>
            </a:xfrm>
            <a:custGeom>
              <a:avLst/>
              <a:gdLst>
                <a:gd name="connsiteX0" fmla="*/ 426228 w 504826"/>
                <a:gd name="connsiteY0" fmla="*/ 101417 h 396680"/>
                <a:gd name="connsiteX1" fmla="*/ 483697 w 504826"/>
                <a:gd name="connsiteY1" fmla="*/ 151561 h 396680"/>
                <a:gd name="connsiteX2" fmla="*/ 504826 w 504826"/>
                <a:gd name="connsiteY2" fmla="*/ 216354 h 396680"/>
                <a:gd name="connsiteX3" fmla="*/ 484824 w 504826"/>
                <a:gd name="connsiteY3" fmla="*/ 279598 h 396680"/>
                <a:gd name="connsiteX4" fmla="*/ 429891 w 504826"/>
                <a:gd name="connsiteY4" fmla="*/ 329320 h 396680"/>
                <a:gd name="connsiteX5" fmla="*/ 435666 w 504826"/>
                <a:gd name="connsiteY5" fmla="*/ 341716 h 396680"/>
                <a:gd name="connsiteX6" fmla="*/ 442709 w 504826"/>
                <a:gd name="connsiteY6" fmla="*/ 352561 h 396680"/>
                <a:gd name="connsiteX7" fmla="*/ 449047 w 504826"/>
                <a:gd name="connsiteY7" fmla="*/ 360731 h 396680"/>
                <a:gd name="connsiteX8" fmla="*/ 456371 w 504826"/>
                <a:gd name="connsiteY8" fmla="*/ 369042 h 396680"/>
                <a:gd name="connsiteX9" fmla="*/ 462851 w 504826"/>
                <a:gd name="connsiteY9" fmla="*/ 376084 h 396680"/>
                <a:gd name="connsiteX10" fmla="*/ 463977 w 504826"/>
                <a:gd name="connsiteY10" fmla="*/ 377352 h 396680"/>
                <a:gd name="connsiteX11" fmla="*/ 465245 w 504826"/>
                <a:gd name="connsiteY11" fmla="*/ 378761 h 396680"/>
                <a:gd name="connsiteX12" fmla="*/ 466373 w 504826"/>
                <a:gd name="connsiteY12" fmla="*/ 380169 h 396680"/>
                <a:gd name="connsiteX13" fmla="*/ 467359 w 504826"/>
                <a:gd name="connsiteY13" fmla="*/ 381718 h 396680"/>
                <a:gd name="connsiteX14" fmla="*/ 468063 w 504826"/>
                <a:gd name="connsiteY14" fmla="*/ 383127 h 396680"/>
                <a:gd name="connsiteX15" fmla="*/ 468625 w 504826"/>
                <a:gd name="connsiteY15" fmla="*/ 384817 h 396680"/>
                <a:gd name="connsiteX16" fmla="*/ 468767 w 504826"/>
                <a:gd name="connsiteY16" fmla="*/ 386648 h 396680"/>
                <a:gd name="connsiteX17" fmla="*/ 468485 w 504826"/>
                <a:gd name="connsiteY17" fmla="*/ 388479 h 396680"/>
                <a:gd name="connsiteX18" fmla="*/ 464823 w 504826"/>
                <a:gd name="connsiteY18" fmla="*/ 394677 h 396680"/>
                <a:gd name="connsiteX19" fmla="*/ 458625 w 504826"/>
                <a:gd name="connsiteY19" fmla="*/ 396649 h 396680"/>
                <a:gd name="connsiteX20" fmla="*/ 434398 w 504826"/>
                <a:gd name="connsiteY20" fmla="*/ 392142 h 396680"/>
                <a:gd name="connsiteX21" fmla="*/ 356083 w 504826"/>
                <a:gd name="connsiteY21" fmla="*/ 356083 h 396680"/>
                <a:gd name="connsiteX22" fmla="*/ 306502 w 504826"/>
                <a:gd name="connsiteY22" fmla="*/ 360590 h 396680"/>
                <a:gd name="connsiteX23" fmla="*/ 173535 w 504826"/>
                <a:gd name="connsiteY23" fmla="*/ 323404 h 396680"/>
                <a:gd name="connsiteX24" fmla="*/ 198325 w 504826"/>
                <a:gd name="connsiteY24" fmla="*/ 324531 h 396680"/>
                <a:gd name="connsiteX25" fmla="*/ 285373 w 504826"/>
                <a:gd name="connsiteY25" fmla="*/ 311854 h 396680"/>
                <a:gd name="connsiteX26" fmla="*/ 359745 w 504826"/>
                <a:gd name="connsiteY26" fmla="*/ 275514 h 396680"/>
                <a:gd name="connsiteX27" fmla="*/ 413833 w 504826"/>
                <a:gd name="connsiteY27" fmla="*/ 215791 h 396680"/>
                <a:gd name="connsiteX28" fmla="*/ 432708 w 504826"/>
                <a:gd name="connsiteY28" fmla="*/ 144237 h 396680"/>
                <a:gd name="connsiteX29" fmla="*/ 426228 w 504826"/>
                <a:gd name="connsiteY29" fmla="*/ 101417 h 396680"/>
                <a:gd name="connsiteX30" fmla="*/ 198324 w 504826"/>
                <a:gd name="connsiteY30" fmla="*/ 0 h 396680"/>
                <a:gd name="connsiteX31" fmla="*/ 297908 w 504826"/>
                <a:gd name="connsiteY31" fmla="*/ 19297 h 396680"/>
                <a:gd name="connsiteX32" fmla="*/ 370168 w 504826"/>
                <a:gd name="connsiteY32" fmla="*/ 71836 h 396680"/>
                <a:gd name="connsiteX33" fmla="*/ 396648 w 504826"/>
                <a:gd name="connsiteY33" fmla="*/ 144236 h 396680"/>
                <a:gd name="connsiteX34" fmla="*/ 370168 w 504826"/>
                <a:gd name="connsiteY34" fmla="*/ 216635 h 396680"/>
                <a:gd name="connsiteX35" fmla="*/ 297908 w 504826"/>
                <a:gd name="connsiteY35" fmla="*/ 269174 h 396680"/>
                <a:gd name="connsiteX36" fmla="*/ 198324 w 504826"/>
                <a:gd name="connsiteY36" fmla="*/ 288471 h 396680"/>
                <a:gd name="connsiteX37" fmla="*/ 148743 w 504826"/>
                <a:gd name="connsiteY37" fmla="*/ 283964 h 396680"/>
                <a:gd name="connsiteX38" fmla="*/ 70428 w 504826"/>
                <a:gd name="connsiteY38" fmla="*/ 320023 h 396680"/>
                <a:gd name="connsiteX39" fmla="*/ 46201 w 504826"/>
                <a:gd name="connsiteY39" fmla="*/ 324530 h 396680"/>
                <a:gd name="connsiteX40" fmla="*/ 45355 w 504826"/>
                <a:gd name="connsiteY40" fmla="*/ 324530 h 396680"/>
                <a:gd name="connsiteX41" fmla="*/ 39580 w 504826"/>
                <a:gd name="connsiteY41" fmla="*/ 322277 h 396680"/>
                <a:gd name="connsiteX42" fmla="*/ 36341 w 504826"/>
                <a:gd name="connsiteY42" fmla="*/ 316361 h 396680"/>
                <a:gd name="connsiteX43" fmla="*/ 36059 w 504826"/>
                <a:gd name="connsiteY43" fmla="*/ 314530 h 396680"/>
                <a:gd name="connsiteX44" fmla="*/ 36200 w 504826"/>
                <a:gd name="connsiteY44" fmla="*/ 312698 h 396680"/>
                <a:gd name="connsiteX45" fmla="*/ 36763 w 504826"/>
                <a:gd name="connsiteY45" fmla="*/ 311008 h 396680"/>
                <a:gd name="connsiteX46" fmla="*/ 37467 w 504826"/>
                <a:gd name="connsiteY46" fmla="*/ 309600 h 396680"/>
                <a:gd name="connsiteX47" fmla="*/ 38453 w 504826"/>
                <a:gd name="connsiteY47" fmla="*/ 308050 h 396680"/>
                <a:gd name="connsiteX48" fmla="*/ 39580 w 504826"/>
                <a:gd name="connsiteY48" fmla="*/ 306642 h 396680"/>
                <a:gd name="connsiteX49" fmla="*/ 40848 w 504826"/>
                <a:gd name="connsiteY49" fmla="*/ 305233 h 396680"/>
                <a:gd name="connsiteX50" fmla="*/ 41975 w 504826"/>
                <a:gd name="connsiteY50" fmla="*/ 303965 h 396680"/>
                <a:gd name="connsiteX51" fmla="*/ 48454 w 504826"/>
                <a:gd name="connsiteY51" fmla="*/ 296923 h 396680"/>
                <a:gd name="connsiteX52" fmla="*/ 55779 w 504826"/>
                <a:gd name="connsiteY52" fmla="*/ 288612 h 396680"/>
                <a:gd name="connsiteX53" fmla="*/ 62117 w 504826"/>
                <a:gd name="connsiteY53" fmla="*/ 280443 h 396680"/>
                <a:gd name="connsiteX54" fmla="*/ 69160 w 504826"/>
                <a:gd name="connsiteY54" fmla="*/ 269597 h 396680"/>
                <a:gd name="connsiteX55" fmla="*/ 74935 w 504826"/>
                <a:gd name="connsiteY55" fmla="*/ 257202 h 396680"/>
                <a:gd name="connsiteX56" fmla="*/ 20001 w 504826"/>
                <a:gd name="connsiteY56" fmla="*/ 207339 h 396680"/>
                <a:gd name="connsiteX57" fmla="*/ 0 w 504826"/>
                <a:gd name="connsiteY57" fmla="*/ 144236 h 396680"/>
                <a:gd name="connsiteX58" fmla="*/ 26481 w 504826"/>
                <a:gd name="connsiteY58" fmla="*/ 71836 h 396680"/>
                <a:gd name="connsiteX59" fmla="*/ 98739 w 504826"/>
                <a:gd name="connsiteY59" fmla="*/ 19297 h 396680"/>
                <a:gd name="connsiteX60" fmla="*/ 198324 w 504826"/>
                <a:gd name="connsiteY60" fmla="*/ 0 h 396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504826" h="396680">
                  <a:moveTo>
                    <a:pt x="426228" y="101417"/>
                  </a:moveTo>
                  <a:cubicBezTo>
                    <a:pt x="450456" y="114751"/>
                    <a:pt x="469611" y="131466"/>
                    <a:pt x="483697" y="151561"/>
                  </a:cubicBezTo>
                  <a:cubicBezTo>
                    <a:pt x="497783" y="171656"/>
                    <a:pt x="504826" y="193254"/>
                    <a:pt x="504826" y="216354"/>
                  </a:cubicBezTo>
                  <a:cubicBezTo>
                    <a:pt x="504826" y="238891"/>
                    <a:pt x="498159" y="259973"/>
                    <a:pt x="484824" y="279598"/>
                  </a:cubicBezTo>
                  <a:cubicBezTo>
                    <a:pt x="471490" y="299224"/>
                    <a:pt x="453179" y="315798"/>
                    <a:pt x="429891" y="329320"/>
                  </a:cubicBezTo>
                  <a:cubicBezTo>
                    <a:pt x="431769" y="333828"/>
                    <a:pt x="433694" y="337960"/>
                    <a:pt x="435666" y="341716"/>
                  </a:cubicBezTo>
                  <a:cubicBezTo>
                    <a:pt x="437638" y="345472"/>
                    <a:pt x="439985" y="349087"/>
                    <a:pt x="442709" y="352561"/>
                  </a:cubicBezTo>
                  <a:cubicBezTo>
                    <a:pt x="445431" y="356036"/>
                    <a:pt x="447545" y="358759"/>
                    <a:pt x="449047" y="360731"/>
                  </a:cubicBezTo>
                  <a:cubicBezTo>
                    <a:pt x="450549" y="362703"/>
                    <a:pt x="452991" y="365473"/>
                    <a:pt x="456371" y="369042"/>
                  </a:cubicBezTo>
                  <a:cubicBezTo>
                    <a:pt x="459752" y="372610"/>
                    <a:pt x="461911" y="374958"/>
                    <a:pt x="462851" y="376084"/>
                  </a:cubicBezTo>
                  <a:cubicBezTo>
                    <a:pt x="463038" y="376272"/>
                    <a:pt x="463415" y="376695"/>
                    <a:pt x="463977" y="377352"/>
                  </a:cubicBezTo>
                  <a:cubicBezTo>
                    <a:pt x="464541" y="378010"/>
                    <a:pt x="464963" y="378479"/>
                    <a:pt x="465245" y="378761"/>
                  </a:cubicBezTo>
                  <a:cubicBezTo>
                    <a:pt x="465527" y="379042"/>
                    <a:pt x="465903" y="379512"/>
                    <a:pt x="466373" y="380169"/>
                  </a:cubicBezTo>
                  <a:cubicBezTo>
                    <a:pt x="466841" y="380827"/>
                    <a:pt x="467171" y="381343"/>
                    <a:pt x="467359" y="381718"/>
                  </a:cubicBezTo>
                  <a:cubicBezTo>
                    <a:pt x="467546" y="382094"/>
                    <a:pt x="467781" y="382564"/>
                    <a:pt x="468063" y="383127"/>
                  </a:cubicBezTo>
                  <a:cubicBezTo>
                    <a:pt x="468345" y="383690"/>
                    <a:pt x="468532" y="384254"/>
                    <a:pt x="468625" y="384817"/>
                  </a:cubicBezTo>
                  <a:cubicBezTo>
                    <a:pt x="468720" y="385381"/>
                    <a:pt x="468767" y="385991"/>
                    <a:pt x="468767" y="386648"/>
                  </a:cubicBezTo>
                  <a:cubicBezTo>
                    <a:pt x="468767" y="387306"/>
                    <a:pt x="468673" y="387916"/>
                    <a:pt x="468485" y="388479"/>
                  </a:cubicBezTo>
                  <a:cubicBezTo>
                    <a:pt x="467921" y="391109"/>
                    <a:pt x="466701" y="393175"/>
                    <a:pt x="464823" y="394677"/>
                  </a:cubicBezTo>
                  <a:cubicBezTo>
                    <a:pt x="462945" y="396180"/>
                    <a:pt x="460879" y="396837"/>
                    <a:pt x="458625" y="396649"/>
                  </a:cubicBezTo>
                  <a:cubicBezTo>
                    <a:pt x="449235" y="395334"/>
                    <a:pt x="441159" y="393832"/>
                    <a:pt x="434398" y="392142"/>
                  </a:cubicBezTo>
                  <a:cubicBezTo>
                    <a:pt x="405476" y="384629"/>
                    <a:pt x="379371" y="372610"/>
                    <a:pt x="356083" y="356083"/>
                  </a:cubicBezTo>
                  <a:cubicBezTo>
                    <a:pt x="339180" y="359088"/>
                    <a:pt x="322653" y="360590"/>
                    <a:pt x="306502" y="360590"/>
                  </a:cubicBezTo>
                  <a:cubicBezTo>
                    <a:pt x="255606" y="360590"/>
                    <a:pt x="211283" y="348195"/>
                    <a:pt x="173535" y="323404"/>
                  </a:cubicBezTo>
                  <a:cubicBezTo>
                    <a:pt x="184427" y="324156"/>
                    <a:pt x="192691" y="324531"/>
                    <a:pt x="198325" y="324531"/>
                  </a:cubicBezTo>
                  <a:cubicBezTo>
                    <a:pt x="228562" y="324531"/>
                    <a:pt x="257578" y="320306"/>
                    <a:pt x="285373" y="311854"/>
                  </a:cubicBezTo>
                  <a:cubicBezTo>
                    <a:pt x="313169" y="303403"/>
                    <a:pt x="337959" y="291290"/>
                    <a:pt x="359745" y="275514"/>
                  </a:cubicBezTo>
                  <a:cubicBezTo>
                    <a:pt x="383221" y="258235"/>
                    <a:pt x="401250" y="238328"/>
                    <a:pt x="413833" y="215791"/>
                  </a:cubicBezTo>
                  <a:cubicBezTo>
                    <a:pt x="426416" y="193254"/>
                    <a:pt x="432708" y="169403"/>
                    <a:pt x="432708" y="144237"/>
                  </a:cubicBezTo>
                  <a:cubicBezTo>
                    <a:pt x="432708" y="129776"/>
                    <a:pt x="430549" y="115502"/>
                    <a:pt x="426228" y="101417"/>
                  </a:cubicBezTo>
                  <a:close/>
                  <a:moveTo>
                    <a:pt x="198324" y="0"/>
                  </a:moveTo>
                  <a:cubicBezTo>
                    <a:pt x="234196" y="0"/>
                    <a:pt x="267390" y="6432"/>
                    <a:pt x="297908" y="19297"/>
                  </a:cubicBezTo>
                  <a:cubicBezTo>
                    <a:pt x="328428" y="32162"/>
                    <a:pt x="352514" y="49675"/>
                    <a:pt x="370168" y="71836"/>
                  </a:cubicBezTo>
                  <a:cubicBezTo>
                    <a:pt x="387821" y="93997"/>
                    <a:pt x="396648" y="118130"/>
                    <a:pt x="396648" y="144236"/>
                  </a:cubicBezTo>
                  <a:cubicBezTo>
                    <a:pt x="396648" y="170341"/>
                    <a:pt x="387821" y="194474"/>
                    <a:pt x="370168" y="216635"/>
                  </a:cubicBezTo>
                  <a:cubicBezTo>
                    <a:pt x="352514" y="238796"/>
                    <a:pt x="328428" y="256310"/>
                    <a:pt x="297908" y="269174"/>
                  </a:cubicBezTo>
                  <a:cubicBezTo>
                    <a:pt x="267390" y="282039"/>
                    <a:pt x="234196" y="288471"/>
                    <a:pt x="198324" y="288471"/>
                  </a:cubicBezTo>
                  <a:cubicBezTo>
                    <a:pt x="182173" y="288471"/>
                    <a:pt x="165646" y="286969"/>
                    <a:pt x="148743" y="283964"/>
                  </a:cubicBezTo>
                  <a:cubicBezTo>
                    <a:pt x="125455" y="300491"/>
                    <a:pt x="99350" y="312511"/>
                    <a:pt x="70428" y="320023"/>
                  </a:cubicBezTo>
                  <a:cubicBezTo>
                    <a:pt x="63666" y="321713"/>
                    <a:pt x="55591" y="323216"/>
                    <a:pt x="46201" y="324530"/>
                  </a:cubicBezTo>
                  <a:lnTo>
                    <a:pt x="45355" y="324530"/>
                  </a:lnTo>
                  <a:cubicBezTo>
                    <a:pt x="43289" y="324530"/>
                    <a:pt x="41364" y="323779"/>
                    <a:pt x="39580" y="322277"/>
                  </a:cubicBezTo>
                  <a:cubicBezTo>
                    <a:pt x="37796" y="320774"/>
                    <a:pt x="36716" y="318802"/>
                    <a:pt x="36341" y="316361"/>
                  </a:cubicBezTo>
                  <a:cubicBezTo>
                    <a:pt x="36153" y="315797"/>
                    <a:pt x="36059" y="315187"/>
                    <a:pt x="36059" y="314530"/>
                  </a:cubicBezTo>
                  <a:cubicBezTo>
                    <a:pt x="36059" y="313872"/>
                    <a:pt x="36105" y="313262"/>
                    <a:pt x="36200" y="312698"/>
                  </a:cubicBezTo>
                  <a:cubicBezTo>
                    <a:pt x="36294" y="312135"/>
                    <a:pt x="36482" y="311571"/>
                    <a:pt x="36763" y="311008"/>
                  </a:cubicBezTo>
                  <a:cubicBezTo>
                    <a:pt x="37045" y="310445"/>
                    <a:pt x="37280" y="309975"/>
                    <a:pt x="37467" y="309600"/>
                  </a:cubicBezTo>
                  <a:cubicBezTo>
                    <a:pt x="37655" y="309224"/>
                    <a:pt x="37984" y="308707"/>
                    <a:pt x="38453" y="308050"/>
                  </a:cubicBezTo>
                  <a:cubicBezTo>
                    <a:pt x="38923" y="307393"/>
                    <a:pt x="39299" y="306923"/>
                    <a:pt x="39580" y="306642"/>
                  </a:cubicBezTo>
                  <a:cubicBezTo>
                    <a:pt x="39862" y="306360"/>
                    <a:pt x="40285" y="305890"/>
                    <a:pt x="40848" y="305233"/>
                  </a:cubicBezTo>
                  <a:cubicBezTo>
                    <a:pt x="41411" y="304576"/>
                    <a:pt x="41787" y="304153"/>
                    <a:pt x="41975" y="303965"/>
                  </a:cubicBezTo>
                  <a:cubicBezTo>
                    <a:pt x="42914" y="302839"/>
                    <a:pt x="45073" y="300491"/>
                    <a:pt x="48454" y="296923"/>
                  </a:cubicBezTo>
                  <a:cubicBezTo>
                    <a:pt x="51835" y="293354"/>
                    <a:pt x="54276" y="290584"/>
                    <a:pt x="55779" y="288612"/>
                  </a:cubicBezTo>
                  <a:cubicBezTo>
                    <a:pt x="57281" y="286640"/>
                    <a:pt x="59394" y="283917"/>
                    <a:pt x="62117" y="280443"/>
                  </a:cubicBezTo>
                  <a:cubicBezTo>
                    <a:pt x="64840" y="276968"/>
                    <a:pt x="67188" y="273353"/>
                    <a:pt x="69160" y="269597"/>
                  </a:cubicBezTo>
                  <a:cubicBezTo>
                    <a:pt x="71132" y="265840"/>
                    <a:pt x="73057" y="261709"/>
                    <a:pt x="74935" y="257202"/>
                  </a:cubicBezTo>
                  <a:cubicBezTo>
                    <a:pt x="51647" y="243680"/>
                    <a:pt x="33336" y="227058"/>
                    <a:pt x="20001" y="207339"/>
                  </a:cubicBezTo>
                  <a:cubicBezTo>
                    <a:pt x="6667" y="187619"/>
                    <a:pt x="0" y="166585"/>
                    <a:pt x="0" y="144236"/>
                  </a:cubicBezTo>
                  <a:cubicBezTo>
                    <a:pt x="0" y="118130"/>
                    <a:pt x="8827" y="93997"/>
                    <a:pt x="26481" y="71836"/>
                  </a:cubicBezTo>
                  <a:cubicBezTo>
                    <a:pt x="44135" y="49675"/>
                    <a:pt x="68221" y="32162"/>
                    <a:pt x="98739" y="19297"/>
                  </a:cubicBezTo>
                  <a:cubicBezTo>
                    <a:pt x="129258" y="6432"/>
                    <a:pt x="162453" y="0"/>
                    <a:pt x="198324" y="0"/>
                  </a:cubicBezTo>
                  <a:close/>
                </a:path>
              </a:pathLst>
            </a:custGeom>
            <a:solidFill>
              <a:srgbClr val="4C6C9C"/>
            </a:solidFill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BCCBD3AC-C5D6-4F89-996C-5CDF298BC98A}"/>
              </a:ext>
            </a:extLst>
          </p:cNvPr>
          <p:cNvGrpSpPr>
            <a:grpSpLocks noChangeAspect="1"/>
          </p:cNvGrpSpPr>
          <p:nvPr/>
        </p:nvGrpSpPr>
        <p:grpSpPr>
          <a:xfrm>
            <a:off x="963392" y="3241326"/>
            <a:ext cx="612920" cy="504000"/>
            <a:chOff x="310003" y="5375970"/>
            <a:chExt cx="744260" cy="612000"/>
          </a:xfrm>
        </p:grpSpPr>
        <p:grpSp>
          <p:nvGrpSpPr>
            <p:cNvPr id="49" name="Group 16">
              <a:extLst>
                <a:ext uri="{FF2B5EF4-FFF2-40B4-BE49-F238E27FC236}">
                  <a16:creationId xmlns:a16="http://schemas.microsoft.com/office/drawing/2014/main" id="{38F6B5E8-931E-467F-9908-5D0FB1A5496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10003" y="5375970"/>
              <a:ext cx="744260" cy="612000"/>
              <a:chOff x="6275390" y="4131256"/>
              <a:chExt cx="1261206" cy="1037081"/>
            </a:xfrm>
          </p:grpSpPr>
          <p:sp>
            <p:nvSpPr>
              <p:cNvPr id="53" name="Freeform: Shape 35">
                <a:extLst>
                  <a:ext uri="{FF2B5EF4-FFF2-40B4-BE49-F238E27FC236}">
                    <a16:creationId xmlns:a16="http://schemas.microsoft.com/office/drawing/2014/main" id="{34B50148-A82B-4459-AB01-7E0430E77FC9}"/>
                  </a:ext>
                </a:extLst>
              </p:cNvPr>
              <p:cNvSpPr/>
              <p:nvPr/>
            </p:nvSpPr>
            <p:spPr>
              <a:xfrm rot="5280000">
                <a:off x="6387452" y="4019194"/>
                <a:ext cx="1037081" cy="1261206"/>
              </a:xfrm>
              <a:custGeom>
                <a:avLst/>
                <a:gdLst>
                  <a:gd name="connsiteX0" fmla="*/ 1382775 w 1382775"/>
                  <a:gd name="connsiteY0" fmla="*/ 990221 h 1681608"/>
                  <a:gd name="connsiteX1" fmla="*/ 691388 w 1382775"/>
                  <a:gd name="connsiteY1" fmla="*/ 1681608 h 1681608"/>
                  <a:gd name="connsiteX2" fmla="*/ 0 w 1382775"/>
                  <a:gd name="connsiteY2" fmla="*/ 990220 h 1681608"/>
                  <a:gd name="connsiteX3" fmla="*/ 422268 w 1382775"/>
                  <a:gd name="connsiteY3" fmla="*/ 353166 h 1681608"/>
                  <a:gd name="connsiteX4" fmla="*/ 484054 w 1382775"/>
                  <a:gd name="connsiteY4" fmla="*/ 333986 h 1681608"/>
                  <a:gd name="connsiteX5" fmla="*/ 677767 w 1382775"/>
                  <a:gd name="connsiteY5" fmla="*/ 0 h 1681608"/>
                  <a:gd name="connsiteX6" fmla="*/ 865498 w 1382775"/>
                  <a:gd name="connsiteY6" fmla="*/ 323674 h 1681608"/>
                  <a:gd name="connsiteX7" fmla="*/ 960507 w 1382775"/>
                  <a:gd name="connsiteY7" fmla="*/ 353167 h 1681608"/>
                  <a:gd name="connsiteX8" fmla="*/ 1382775 w 1382775"/>
                  <a:gd name="connsiteY8" fmla="*/ 990221 h 1681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82775" h="1681608">
                    <a:moveTo>
                      <a:pt x="1382775" y="990221"/>
                    </a:moveTo>
                    <a:cubicBezTo>
                      <a:pt x="1382775" y="1372063"/>
                      <a:pt x="1073230" y="1681608"/>
                      <a:pt x="691388" y="1681608"/>
                    </a:cubicBezTo>
                    <a:cubicBezTo>
                      <a:pt x="309545" y="1681607"/>
                      <a:pt x="0" y="1372062"/>
                      <a:pt x="0" y="990220"/>
                    </a:cubicBezTo>
                    <a:cubicBezTo>
                      <a:pt x="0" y="703839"/>
                      <a:pt x="174119" y="458124"/>
                      <a:pt x="422268" y="353166"/>
                    </a:cubicBezTo>
                    <a:lnTo>
                      <a:pt x="484054" y="333986"/>
                    </a:lnTo>
                    <a:lnTo>
                      <a:pt x="677767" y="0"/>
                    </a:lnTo>
                    <a:lnTo>
                      <a:pt x="865498" y="323674"/>
                    </a:lnTo>
                    <a:lnTo>
                      <a:pt x="960507" y="353167"/>
                    </a:lnTo>
                    <a:cubicBezTo>
                      <a:pt x="1208656" y="458125"/>
                      <a:pt x="1382775" y="703840"/>
                      <a:pt x="1382775" y="990221"/>
                    </a:cubicBezTo>
                    <a:close/>
                  </a:path>
                </a:pathLst>
              </a:custGeom>
              <a:solidFill>
                <a:srgbClr val="4C6C9C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4" name="Oval 14">
                <a:extLst>
                  <a:ext uri="{FF2B5EF4-FFF2-40B4-BE49-F238E27FC236}">
                    <a16:creationId xmlns:a16="http://schemas.microsoft.com/office/drawing/2014/main" id="{82A9EAFA-1839-4762-89F2-318FD7FAD06A}"/>
                  </a:ext>
                </a:extLst>
              </p:cNvPr>
              <p:cNvSpPr/>
              <p:nvPr/>
            </p:nvSpPr>
            <p:spPr>
              <a:xfrm>
                <a:off x="6374780" y="4238599"/>
                <a:ext cx="822397" cy="822397"/>
              </a:xfrm>
              <a:prstGeom prst="ellipse">
                <a:avLst/>
              </a:prstGeom>
              <a:solidFill>
                <a:sysClr val="window" lastClr="FFFFFF"/>
              </a:solidFill>
              <a:ln w="25400" cap="flat" cmpd="sng" algn="ctr">
                <a:noFill/>
                <a:prstDash val="solid"/>
              </a:ln>
              <a:effectLst>
                <a:outerShdw blurRad="127000" dist="1143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50" name="Groupe 123">
              <a:extLst>
                <a:ext uri="{FF2B5EF4-FFF2-40B4-BE49-F238E27FC236}">
                  <a16:creationId xmlns:a16="http://schemas.microsoft.com/office/drawing/2014/main" id="{7A93E3FD-2A72-4566-8342-8E412241753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15812" y="5525594"/>
              <a:ext cx="399857" cy="324000"/>
              <a:chOff x="7159625" y="2016125"/>
              <a:chExt cx="1171576" cy="949325"/>
            </a:xfrm>
            <a:solidFill>
              <a:srgbClr val="008B9E"/>
            </a:solidFill>
          </p:grpSpPr>
          <p:sp>
            <p:nvSpPr>
              <p:cNvPr id="51" name="Freeform 55">
                <a:extLst>
                  <a:ext uri="{FF2B5EF4-FFF2-40B4-BE49-F238E27FC236}">
                    <a16:creationId xmlns:a16="http://schemas.microsoft.com/office/drawing/2014/main" id="{778F9721-5F08-496B-AD4D-8D90EA9CE2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67638" y="2016125"/>
                <a:ext cx="563563" cy="565150"/>
              </a:xfrm>
              <a:custGeom>
                <a:avLst/>
                <a:gdLst/>
                <a:ahLst/>
                <a:cxnLst>
                  <a:cxn ang="0">
                    <a:pos x="29" y="30"/>
                  </a:cxn>
                  <a:cxn ang="0">
                    <a:pos x="20" y="29"/>
                  </a:cxn>
                  <a:cxn ang="0">
                    <a:pos x="20" y="20"/>
                  </a:cxn>
                  <a:cxn ang="0">
                    <a:pos x="30" y="21"/>
                  </a:cxn>
                  <a:cxn ang="0">
                    <a:pos x="29" y="30"/>
                  </a:cxn>
                  <a:cxn ang="0">
                    <a:pos x="41" y="24"/>
                  </a:cxn>
                  <a:cxn ang="0">
                    <a:pos x="40" y="19"/>
                  </a:cxn>
                  <a:cxn ang="0">
                    <a:pos x="45" y="12"/>
                  </a:cxn>
                  <a:cxn ang="0">
                    <a:pos x="45" y="10"/>
                  </a:cxn>
                  <a:cxn ang="0">
                    <a:pos x="41" y="6"/>
                  </a:cxn>
                  <a:cxn ang="0">
                    <a:pos x="40" y="6"/>
                  </a:cxn>
                  <a:cxn ang="0">
                    <a:pos x="32" y="11"/>
                  </a:cxn>
                  <a:cxn ang="0">
                    <a:pos x="27" y="9"/>
                  </a:cxn>
                  <a:cxn ang="0">
                    <a:pos x="24" y="1"/>
                  </a:cxn>
                  <a:cxn ang="0">
                    <a:pos x="22" y="0"/>
                  </a:cxn>
                  <a:cxn ang="0">
                    <a:pos x="17" y="1"/>
                  </a:cxn>
                  <a:cxn ang="0">
                    <a:pos x="16" y="3"/>
                  </a:cxn>
                  <a:cxn ang="0">
                    <a:pos x="16" y="11"/>
                  </a:cxn>
                  <a:cxn ang="0">
                    <a:pos x="14" y="13"/>
                  </a:cxn>
                  <a:cxn ang="0">
                    <a:pos x="12" y="15"/>
                  </a:cxn>
                  <a:cxn ang="0">
                    <a:pos x="3" y="14"/>
                  </a:cxn>
                  <a:cxn ang="0">
                    <a:pos x="2" y="15"/>
                  </a:cxn>
                  <a:cxn ang="0">
                    <a:pos x="0" y="20"/>
                  </a:cxn>
                  <a:cxn ang="0">
                    <a:pos x="1" y="22"/>
                  </a:cxn>
                  <a:cxn ang="0">
                    <a:pos x="8" y="25"/>
                  </a:cxn>
                  <a:cxn ang="0">
                    <a:pos x="10" y="31"/>
                  </a:cxn>
                  <a:cxn ang="0">
                    <a:pos x="4" y="38"/>
                  </a:cxn>
                  <a:cxn ang="0">
                    <a:pos x="4" y="40"/>
                  </a:cxn>
                  <a:cxn ang="0">
                    <a:pos x="8" y="44"/>
                  </a:cxn>
                  <a:cxn ang="0">
                    <a:pos x="9" y="44"/>
                  </a:cxn>
                  <a:cxn ang="0">
                    <a:pos x="10" y="44"/>
                  </a:cxn>
                  <a:cxn ang="0">
                    <a:pos x="17" y="39"/>
                  </a:cxn>
                  <a:cxn ang="0">
                    <a:pos x="23" y="41"/>
                  </a:cxn>
                  <a:cxn ang="0">
                    <a:pos x="26" y="49"/>
                  </a:cxn>
                  <a:cxn ang="0">
                    <a:pos x="27" y="50"/>
                  </a:cxn>
                  <a:cxn ang="0">
                    <a:pos x="28" y="50"/>
                  </a:cxn>
                  <a:cxn ang="0">
                    <a:pos x="33" y="49"/>
                  </a:cxn>
                  <a:cxn ang="0">
                    <a:pos x="34" y="47"/>
                  </a:cxn>
                  <a:cxn ang="0">
                    <a:pos x="33" y="39"/>
                  </a:cxn>
                  <a:cxn ang="0">
                    <a:pos x="36" y="37"/>
                  </a:cxn>
                  <a:cxn ang="0">
                    <a:pos x="38" y="35"/>
                  </a:cxn>
                  <a:cxn ang="0">
                    <a:pos x="46" y="36"/>
                  </a:cxn>
                  <a:cxn ang="0">
                    <a:pos x="46" y="36"/>
                  </a:cxn>
                  <a:cxn ang="0">
                    <a:pos x="48" y="35"/>
                  </a:cxn>
                  <a:cxn ang="0">
                    <a:pos x="49" y="30"/>
                  </a:cxn>
                  <a:cxn ang="0">
                    <a:pos x="49" y="28"/>
                  </a:cxn>
                  <a:cxn ang="0">
                    <a:pos x="41" y="24"/>
                  </a:cxn>
                </a:cxnLst>
                <a:rect l="0" t="0" r="r" b="b"/>
                <a:pathLst>
                  <a:path w="50" h="50">
                    <a:moveTo>
                      <a:pt x="29" y="30"/>
                    </a:moveTo>
                    <a:cubicBezTo>
                      <a:pt x="27" y="32"/>
                      <a:pt x="22" y="32"/>
                      <a:pt x="20" y="29"/>
                    </a:cubicBezTo>
                    <a:cubicBezTo>
                      <a:pt x="18" y="27"/>
                      <a:pt x="18" y="23"/>
                      <a:pt x="20" y="20"/>
                    </a:cubicBezTo>
                    <a:cubicBezTo>
                      <a:pt x="23" y="18"/>
                      <a:pt x="27" y="18"/>
                      <a:pt x="30" y="21"/>
                    </a:cubicBezTo>
                    <a:cubicBezTo>
                      <a:pt x="32" y="23"/>
                      <a:pt x="32" y="27"/>
                      <a:pt x="29" y="30"/>
                    </a:cubicBezTo>
                    <a:moveTo>
                      <a:pt x="41" y="24"/>
                    </a:moveTo>
                    <a:cubicBezTo>
                      <a:pt x="41" y="22"/>
                      <a:pt x="41" y="20"/>
                      <a:pt x="40" y="19"/>
                    </a:cubicBezTo>
                    <a:cubicBezTo>
                      <a:pt x="45" y="12"/>
                      <a:pt x="45" y="12"/>
                      <a:pt x="45" y="12"/>
                    </a:cubicBezTo>
                    <a:cubicBezTo>
                      <a:pt x="46" y="11"/>
                      <a:pt x="46" y="11"/>
                      <a:pt x="45" y="10"/>
                    </a:cubicBezTo>
                    <a:cubicBezTo>
                      <a:pt x="41" y="6"/>
                      <a:pt x="41" y="6"/>
                      <a:pt x="41" y="6"/>
                    </a:cubicBezTo>
                    <a:cubicBezTo>
                      <a:pt x="41" y="5"/>
                      <a:pt x="40" y="5"/>
                      <a:pt x="40" y="6"/>
                    </a:cubicBezTo>
                    <a:cubicBezTo>
                      <a:pt x="32" y="11"/>
                      <a:pt x="32" y="11"/>
                      <a:pt x="32" y="11"/>
                    </a:cubicBezTo>
                    <a:cubicBezTo>
                      <a:pt x="31" y="10"/>
                      <a:pt x="29" y="9"/>
                      <a:pt x="27" y="9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3" y="0"/>
                      <a:pt x="23" y="0"/>
                      <a:pt x="22" y="0"/>
                    </a:cubicBezTo>
                    <a:cubicBezTo>
                      <a:pt x="17" y="1"/>
                      <a:pt x="17" y="1"/>
                      <a:pt x="17" y="1"/>
                    </a:cubicBezTo>
                    <a:cubicBezTo>
                      <a:pt x="16" y="1"/>
                      <a:pt x="15" y="2"/>
                      <a:pt x="16" y="3"/>
                    </a:cubicBezTo>
                    <a:cubicBezTo>
                      <a:pt x="16" y="11"/>
                      <a:pt x="16" y="11"/>
                      <a:pt x="16" y="11"/>
                    </a:cubicBezTo>
                    <a:cubicBezTo>
                      <a:pt x="15" y="12"/>
                      <a:pt x="14" y="12"/>
                      <a:pt x="14" y="13"/>
                    </a:cubicBezTo>
                    <a:cubicBezTo>
                      <a:pt x="13" y="14"/>
                      <a:pt x="12" y="14"/>
                      <a:pt x="12" y="15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3" y="14"/>
                      <a:pt x="2" y="14"/>
                      <a:pt x="2" y="15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0" y="21"/>
                      <a:pt x="1" y="22"/>
                    </a:cubicBezTo>
                    <a:cubicBezTo>
                      <a:pt x="8" y="25"/>
                      <a:pt x="8" y="25"/>
                      <a:pt x="8" y="25"/>
                    </a:cubicBezTo>
                    <a:cubicBezTo>
                      <a:pt x="9" y="27"/>
                      <a:pt x="9" y="29"/>
                      <a:pt x="10" y="31"/>
                    </a:cubicBezTo>
                    <a:cubicBezTo>
                      <a:pt x="4" y="38"/>
                      <a:pt x="4" y="38"/>
                      <a:pt x="4" y="38"/>
                    </a:cubicBezTo>
                    <a:cubicBezTo>
                      <a:pt x="4" y="39"/>
                      <a:pt x="4" y="39"/>
                      <a:pt x="4" y="40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8" y="44"/>
                      <a:pt x="9" y="44"/>
                      <a:pt x="9" y="44"/>
                    </a:cubicBezTo>
                    <a:cubicBezTo>
                      <a:pt x="9" y="44"/>
                      <a:pt x="10" y="44"/>
                      <a:pt x="10" y="44"/>
                    </a:cubicBezTo>
                    <a:cubicBezTo>
                      <a:pt x="17" y="39"/>
                      <a:pt x="17" y="39"/>
                      <a:pt x="17" y="39"/>
                    </a:cubicBezTo>
                    <a:cubicBezTo>
                      <a:pt x="19" y="40"/>
                      <a:pt x="21" y="41"/>
                      <a:pt x="23" y="41"/>
                    </a:cubicBezTo>
                    <a:cubicBezTo>
                      <a:pt x="26" y="49"/>
                      <a:pt x="26" y="49"/>
                      <a:pt x="26" y="49"/>
                    </a:cubicBezTo>
                    <a:cubicBezTo>
                      <a:pt x="26" y="50"/>
                      <a:pt x="27" y="50"/>
                      <a:pt x="27" y="50"/>
                    </a:cubicBezTo>
                    <a:cubicBezTo>
                      <a:pt x="27" y="50"/>
                      <a:pt x="27" y="50"/>
                      <a:pt x="28" y="50"/>
                    </a:cubicBezTo>
                    <a:cubicBezTo>
                      <a:pt x="33" y="49"/>
                      <a:pt x="33" y="49"/>
                      <a:pt x="33" y="49"/>
                    </a:cubicBezTo>
                    <a:cubicBezTo>
                      <a:pt x="34" y="49"/>
                      <a:pt x="34" y="48"/>
                      <a:pt x="34" y="47"/>
                    </a:cubicBezTo>
                    <a:cubicBezTo>
                      <a:pt x="33" y="39"/>
                      <a:pt x="33" y="39"/>
                      <a:pt x="33" y="39"/>
                    </a:cubicBezTo>
                    <a:cubicBezTo>
                      <a:pt x="34" y="38"/>
                      <a:pt x="35" y="38"/>
                      <a:pt x="36" y="37"/>
                    </a:cubicBezTo>
                    <a:cubicBezTo>
                      <a:pt x="37" y="36"/>
                      <a:pt x="37" y="36"/>
                      <a:pt x="38" y="35"/>
                    </a:cubicBezTo>
                    <a:cubicBezTo>
                      <a:pt x="46" y="36"/>
                      <a:pt x="46" y="36"/>
                      <a:pt x="46" y="36"/>
                    </a:cubicBezTo>
                    <a:cubicBezTo>
                      <a:pt x="46" y="36"/>
                      <a:pt x="46" y="36"/>
                      <a:pt x="46" y="36"/>
                    </a:cubicBezTo>
                    <a:cubicBezTo>
                      <a:pt x="47" y="36"/>
                      <a:pt x="48" y="36"/>
                      <a:pt x="48" y="35"/>
                    </a:cubicBezTo>
                    <a:cubicBezTo>
                      <a:pt x="49" y="30"/>
                      <a:pt x="49" y="30"/>
                      <a:pt x="49" y="30"/>
                    </a:cubicBezTo>
                    <a:cubicBezTo>
                      <a:pt x="50" y="29"/>
                      <a:pt x="49" y="28"/>
                      <a:pt x="49" y="28"/>
                    </a:cubicBezTo>
                    <a:lnTo>
                      <a:pt x="41" y="24"/>
                    </a:lnTo>
                    <a:close/>
                  </a:path>
                </a:pathLst>
              </a:custGeom>
              <a:solidFill>
                <a:srgbClr val="4C6C9C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2" name="Freeform 56">
                <a:extLst>
                  <a:ext uri="{FF2B5EF4-FFF2-40B4-BE49-F238E27FC236}">
                    <a16:creationId xmlns:a16="http://schemas.microsoft.com/office/drawing/2014/main" id="{DE32A964-DFC3-47D9-81F5-AC08E887416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59625" y="2241550"/>
                <a:ext cx="731838" cy="723900"/>
              </a:xfrm>
              <a:custGeom>
                <a:avLst/>
                <a:gdLst/>
                <a:ahLst/>
                <a:cxnLst>
                  <a:cxn ang="0">
                    <a:pos x="26" y="25"/>
                  </a:cxn>
                  <a:cxn ang="0">
                    <a:pos x="33" y="22"/>
                  </a:cxn>
                  <a:cxn ang="0">
                    <a:pos x="39" y="25"/>
                  </a:cxn>
                  <a:cxn ang="0">
                    <a:pos x="42" y="32"/>
                  </a:cxn>
                  <a:cxn ang="0">
                    <a:pos x="39" y="39"/>
                  </a:cxn>
                  <a:cxn ang="0">
                    <a:pos x="33" y="42"/>
                  </a:cxn>
                  <a:cxn ang="0">
                    <a:pos x="26" y="39"/>
                  </a:cxn>
                  <a:cxn ang="0">
                    <a:pos x="23" y="32"/>
                  </a:cxn>
                  <a:cxn ang="0">
                    <a:pos x="26" y="25"/>
                  </a:cxn>
                  <a:cxn ang="0">
                    <a:pos x="27" y="54"/>
                  </a:cxn>
                  <a:cxn ang="0">
                    <a:pos x="28" y="63"/>
                  </a:cxn>
                  <a:cxn ang="0">
                    <a:pos x="29" y="64"/>
                  </a:cxn>
                  <a:cxn ang="0">
                    <a:pos x="36" y="64"/>
                  </a:cxn>
                  <a:cxn ang="0">
                    <a:pos x="37" y="63"/>
                  </a:cxn>
                  <a:cxn ang="0">
                    <a:pos x="38" y="54"/>
                  </a:cxn>
                  <a:cxn ang="0">
                    <a:pos x="44" y="51"/>
                  </a:cxn>
                  <a:cxn ang="0">
                    <a:pos x="51" y="57"/>
                  </a:cxn>
                  <a:cxn ang="0">
                    <a:pos x="52" y="57"/>
                  </a:cxn>
                  <a:cxn ang="0">
                    <a:pos x="53" y="57"/>
                  </a:cxn>
                  <a:cxn ang="0">
                    <a:pos x="58" y="52"/>
                  </a:cxn>
                  <a:cxn ang="0">
                    <a:pos x="58" y="51"/>
                  </a:cxn>
                  <a:cxn ang="0">
                    <a:pos x="52" y="44"/>
                  </a:cxn>
                  <a:cxn ang="0">
                    <a:pos x="55" y="37"/>
                  </a:cxn>
                  <a:cxn ang="0">
                    <a:pos x="64" y="36"/>
                  </a:cxn>
                  <a:cxn ang="0">
                    <a:pos x="65" y="35"/>
                  </a:cxn>
                  <a:cxn ang="0">
                    <a:pos x="65" y="29"/>
                  </a:cxn>
                  <a:cxn ang="0">
                    <a:pos x="64" y="28"/>
                  </a:cxn>
                  <a:cxn ang="0">
                    <a:pos x="55" y="26"/>
                  </a:cxn>
                  <a:cxn ang="0">
                    <a:pos x="52" y="20"/>
                  </a:cxn>
                  <a:cxn ang="0">
                    <a:pos x="58" y="13"/>
                  </a:cxn>
                  <a:cxn ang="0">
                    <a:pos x="58" y="11"/>
                  </a:cxn>
                  <a:cxn ang="0">
                    <a:pos x="53" y="7"/>
                  </a:cxn>
                  <a:cxn ang="0">
                    <a:pos x="51" y="7"/>
                  </a:cxn>
                  <a:cxn ang="0">
                    <a:pos x="44" y="12"/>
                  </a:cxn>
                  <a:cxn ang="0">
                    <a:pos x="38" y="10"/>
                  </a:cxn>
                  <a:cxn ang="0">
                    <a:pos x="37" y="1"/>
                  </a:cxn>
                  <a:cxn ang="0">
                    <a:pos x="36" y="0"/>
                  </a:cxn>
                  <a:cxn ang="0">
                    <a:pos x="29" y="0"/>
                  </a:cxn>
                  <a:cxn ang="0">
                    <a:pos x="28" y="1"/>
                  </a:cxn>
                  <a:cxn ang="0">
                    <a:pos x="27" y="10"/>
                  </a:cxn>
                  <a:cxn ang="0">
                    <a:pos x="21" y="12"/>
                  </a:cxn>
                  <a:cxn ang="0">
                    <a:pos x="14" y="7"/>
                  </a:cxn>
                  <a:cxn ang="0">
                    <a:pos x="12" y="7"/>
                  </a:cxn>
                  <a:cxn ang="0">
                    <a:pos x="8" y="11"/>
                  </a:cxn>
                  <a:cxn ang="0">
                    <a:pos x="7" y="13"/>
                  </a:cxn>
                  <a:cxn ang="0">
                    <a:pos x="13" y="20"/>
                  </a:cxn>
                  <a:cxn ang="0">
                    <a:pos x="10" y="26"/>
                  </a:cxn>
                  <a:cxn ang="0">
                    <a:pos x="1" y="28"/>
                  </a:cxn>
                  <a:cxn ang="0">
                    <a:pos x="0" y="29"/>
                  </a:cxn>
                  <a:cxn ang="0">
                    <a:pos x="0" y="35"/>
                  </a:cxn>
                  <a:cxn ang="0">
                    <a:pos x="1" y="36"/>
                  </a:cxn>
                  <a:cxn ang="0">
                    <a:pos x="10" y="37"/>
                  </a:cxn>
                  <a:cxn ang="0">
                    <a:pos x="13" y="44"/>
                  </a:cxn>
                  <a:cxn ang="0">
                    <a:pos x="7" y="51"/>
                  </a:cxn>
                  <a:cxn ang="0">
                    <a:pos x="8" y="52"/>
                  </a:cxn>
                  <a:cxn ang="0">
                    <a:pos x="12" y="57"/>
                  </a:cxn>
                  <a:cxn ang="0">
                    <a:pos x="13" y="57"/>
                  </a:cxn>
                  <a:cxn ang="0">
                    <a:pos x="14" y="57"/>
                  </a:cxn>
                  <a:cxn ang="0">
                    <a:pos x="21" y="51"/>
                  </a:cxn>
                  <a:cxn ang="0">
                    <a:pos x="27" y="54"/>
                  </a:cxn>
                </a:cxnLst>
                <a:rect l="0" t="0" r="r" b="b"/>
                <a:pathLst>
                  <a:path w="65" h="64">
                    <a:moveTo>
                      <a:pt x="26" y="25"/>
                    </a:moveTo>
                    <a:cubicBezTo>
                      <a:pt x="28" y="23"/>
                      <a:pt x="30" y="22"/>
                      <a:pt x="33" y="22"/>
                    </a:cubicBezTo>
                    <a:cubicBezTo>
                      <a:pt x="35" y="22"/>
                      <a:pt x="38" y="23"/>
                      <a:pt x="39" y="25"/>
                    </a:cubicBezTo>
                    <a:cubicBezTo>
                      <a:pt x="41" y="27"/>
                      <a:pt x="42" y="29"/>
                      <a:pt x="42" y="32"/>
                    </a:cubicBezTo>
                    <a:cubicBezTo>
                      <a:pt x="42" y="34"/>
                      <a:pt x="41" y="37"/>
                      <a:pt x="39" y="39"/>
                    </a:cubicBezTo>
                    <a:cubicBezTo>
                      <a:pt x="38" y="41"/>
                      <a:pt x="35" y="42"/>
                      <a:pt x="33" y="42"/>
                    </a:cubicBezTo>
                    <a:cubicBezTo>
                      <a:pt x="30" y="42"/>
                      <a:pt x="28" y="41"/>
                      <a:pt x="26" y="39"/>
                    </a:cubicBezTo>
                    <a:cubicBezTo>
                      <a:pt x="24" y="37"/>
                      <a:pt x="23" y="34"/>
                      <a:pt x="23" y="32"/>
                    </a:cubicBezTo>
                    <a:cubicBezTo>
                      <a:pt x="23" y="29"/>
                      <a:pt x="24" y="27"/>
                      <a:pt x="26" y="25"/>
                    </a:cubicBezTo>
                    <a:moveTo>
                      <a:pt x="27" y="54"/>
                    </a:moveTo>
                    <a:cubicBezTo>
                      <a:pt x="28" y="63"/>
                      <a:pt x="28" y="63"/>
                      <a:pt x="28" y="63"/>
                    </a:cubicBezTo>
                    <a:cubicBezTo>
                      <a:pt x="28" y="64"/>
                      <a:pt x="29" y="64"/>
                      <a:pt x="29" y="64"/>
                    </a:cubicBezTo>
                    <a:cubicBezTo>
                      <a:pt x="36" y="64"/>
                      <a:pt x="36" y="64"/>
                      <a:pt x="36" y="64"/>
                    </a:cubicBezTo>
                    <a:cubicBezTo>
                      <a:pt x="36" y="64"/>
                      <a:pt x="37" y="64"/>
                      <a:pt x="37" y="63"/>
                    </a:cubicBezTo>
                    <a:cubicBezTo>
                      <a:pt x="38" y="54"/>
                      <a:pt x="38" y="54"/>
                      <a:pt x="38" y="54"/>
                    </a:cubicBezTo>
                    <a:cubicBezTo>
                      <a:pt x="40" y="53"/>
                      <a:pt x="42" y="53"/>
                      <a:pt x="44" y="51"/>
                    </a:cubicBezTo>
                    <a:cubicBezTo>
                      <a:pt x="51" y="57"/>
                      <a:pt x="51" y="57"/>
                      <a:pt x="51" y="57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3" y="57"/>
                      <a:pt x="53" y="57"/>
                      <a:pt x="53" y="57"/>
                    </a:cubicBezTo>
                    <a:cubicBezTo>
                      <a:pt x="58" y="52"/>
                      <a:pt x="58" y="52"/>
                      <a:pt x="58" y="52"/>
                    </a:cubicBezTo>
                    <a:cubicBezTo>
                      <a:pt x="58" y="52"/>
                      <a:pt x="58" y="51"/>
                      <a:pt x="58" y="51"/>
                    </a:cubicBezTo>
                    <a:cubicBezTo>
                      <a:pt x="52" y="44"/>
                      <a:pt x="52" y="44"/>
                      <a:pt x="52" y="44"/>
                    </a:cubicBezTo>
                    <a:cubicBezTo>
                      <a:pt x="53" y="42"/>
                      <a:pt x="54" y="40"/>
                      <a:pt x="55" y="37"/>
                    </a:cubicBezTo>
                    <a:cubicBezTo>
                      <a:pt x="64" y="36"/>
                      <a:pt x="64" y="36"/>
                      <a:pt x="64" y="36"/>
                    </a:cubicBezTo>
                    <a:cubicBezTo>
                      <a:pt x="64" y="36"/>
                      <a:pt x="65" y="36"/>
                      <a:pt x="65" y="35"/>
                    </a:cubicBezTo>
                    <a:cubicBezTo>
                      <a:pt x="65" y="29"/>
                      <a:pt x="65" y="29"/>
                      <a:pt x="65" y="29"/>
                    </a:cubicBezTo>
                    <a:cubicBezTo>
                      <a:pt x="65" y="28"/>
                      <a:pt x="64" y="28"/>
                      <a:pt x="64" y="28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4"/>
                      <a:pt x="53" y="22"/>
                      <a:pt x="52" y="20"/>
                    </a:cubicBezTo>
                    <a:cubicBezTo>
                      <a:pt x="58" y="13"/>
                      <a:pt x="58" y="13"/>
                      <a:pt x="58" y="13"/>
                    </a:cubicBezTo>
                    <a:cubicBezTo>
                      <a:pt x="58" y="12"/>
                      <a:pt x="58" y="12"/>
                      <a:pt x="58" y="11"/>
                    </a:cubicBezTo>
                    <a:cubicBezTo>
                      <a:pt x="53" y="7"/>
                      <a:pt x="53" y="7"/>
                      <a:pt x="53" y="7"/>
                    </a:cubicBezTo>
                    <a:cubicBezTo>
                      <a:pt x="53" y="6"/>
                      <a:pt x="52" y="6"/>
                      <a:pt x="51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2" y="11"/>
                      <a:pt x="40" y="10"/>
                      <a:pt x="38" y="10"/>
                    </a:cubicBezTo>
                    <a:cubicBezTo>
                      <a:pt x="37" y="1"/>
                      <a:pt x="37" y="1"/>
                      <a:pt x="37" y="1"/>
                    </a:cubicBezTo>
                    <a:cubicBezTo>
                      <a:pt x="37" y="0"/>
                      <a:pt x="36" y="0"/>
                      <a:pt x="36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29" y="0"/>
                      <a:pt x="28" y="0"/>
                      <a:pt x="28" y="1"/>
                    </a:cubicBezTo>
                    <a:cubicBezTo>
                      <a:pt x="27" y="10"/>
                      <a:pt x="27" y="10"/>
                      <a:pt x="27" y="10"/>
                    </a:cubicBezTo>
                    <a:cubicBezTo>
                      <a:pt x="25" y="10"/>
                      <a:pt x="23" y="11"/>
                      <a:pt x="21" y="12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3" y="6"/>
                      <a:pt x="12" y="6"/>
                      <a:pt x="12" y="7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7" y="12"/>
                      <a:pt x="7" y="12"/>
                      <a:pt x="7" y="13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22"/>
                      <a:pt x="11" y="24"/>
                      <a:pt x="10" y="26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1" y="28"/>
                      <a:pt x="0" y="28"/>
                      <a:pt x="0" y="29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36"/>
                      <a:pt x="1" y="36"/>
                      <a:pt x="1" y="36"/>
                    </a:cubicBezTo>
                    <a:cubicBezTo>
                      <a:pt x="10" y="37"/>
                      <a:pt x="10" y="37"/>
                      <a:pt x="10" y="37"/>
                    </a:cubicBezTo>
                    <a:cubicBezTo>
                      <a:pt x="11" y="40"/>
                      <a:pt x="12" y="42"/>
                      <a:pt x="13" y="44"/>
                    </a:cubicBezTo>
                    <a:cubicBezTo>
                      <a:pt x="7" y="51"/>
                      <a:pt x="7" y="51"/>
                      <a:pt x="7" y="51"/>
                    </a:cubicBezTo>
                    <a:cubicBezTo>
                      <a:pt x="7" y="51"/>
                      <a:pt x="7" y="52"/>
                      <a:pt x="8" y="52"/>
                    </a:cubicBezTo>
                    <a:cubicBezTo>
                      <a:pt x="12" y="57"/>
                      <a:pt x="12" y="57"/>
                      <a:pt x="12" y="57"/>
                    </a:cubicBezTo>
                    <a:cubicBezTo>
                      <a:pt x="12" y="57"/>
                      <a:pt x="12" y="57"/>
                      <a:pt x="13" y="57"/>
                    </a:cubicBezTo>
                    <a:cubicBezTo>
                      <a:pt x="13" y="57"/>
                      <a:pt x="13" y="57"/>
                      <a:pt x="14" y="57"/>
                    </a:cubicBezTo>
                    <a:cubicBezTo>
                      <a:pt x="21" y="51"/>
                      <a:pt x="21" y="51"/>
                      <a:pt x="21" y="51"/>
                    </a:cubicBezTo>
                    <a:cubicBezTo>
                      <a:pt x="23" y="53"/>
                      <a:pt x="25" y="53"/>
                      <a:pt x="27" y="54"/>
                    </a:cubicBezTo>
                  </a:path>
                </a:pathLst>
              </a:custGeom>
              <a:solidFill>
                <a:srgbClr val="4C6C9C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0535738D-B54B-48D5-94F8-7EC210AAFBD9}"/>
              </a:ext>
            </a:extLst>
          </p:cNvPr>
          <p:cNvGrpSpPr/>
          <p:nvPr/>
        </p:nvGrpSpPr>
        <p:grpSpPr>
          <a:xfrm>
            <a:off x="963392" y="1812192"/>
            <a:ext cx="612000" cy="504000"/>
            <a:chOff x="228564" y="781606"/>
            <a:chExt cx="569140" cy="468000"/>
          </a:xfrm>
        </p:grpSpPr>
        <p:sp>
          <p:nvSpPr>
            <p:cNvPr id="56" name="Freeform: Shape 35">
              <a:extLst>
                <a:ext uri="{FF2B5EF4-FFF2-40B4-BE49-F238E27FC236}">
                  <a16:creationId xmlns:a16="http://schemas.microsoft.com/office/drawing/2014/main" id="{5811C6BC-F68F-46EB-BBAE-F8C561E0205F}"/>
                </a:ext>
              </a:extLst>
            </p:cNvPr>
            <p:cNvSpPr/>
            <p:nvPr/>
          </p:nvSpPr>
          <p:spPr>
            <a:xfrm rot="5280000">
              <a:off x="279134" y="731036"/>
              <a:ext cx="468000" cy="569140"/>
            </a:xfrm>
            <a:custGeom>
              <a:avLst/>
              <a:gdLst>
                <a:gd name="connsiteX0" fmla="*/ 1382775 w 1382775"/>
                <a:gd name="connsiteY0" fmla="*/ 990221 h 1681608"/>
                <a:gd name="connsiteX1" fmla="*/ 691388 w 1382775"/>
                <a:gd name="connsiteY1" fmla="*/ 1681608 h 1681608"/>
                <a:gd name="connsiteX2" fmla="*/ 0 w 1382775"/>
                <a:gd name="connsiteY2" fmla="*/ 990220 h 1681608"/>
                <a:gd name="connsiteX3" fmla="*/ 422268 w 1382775"/>
                <a:gd name="connsiteY3" fmla="*/ 353166 h 1681608"/>
                <a:gd name="connsiteX4" fmla="*/ 484054 w 1382775"/>
                <a:gd name="connsiteY4" fmla="*/ 333986 h 1681608"/>
                <a:gd name="connsiteX5" fmla="*/ 677767 w 1382775"/>
                <a:gd name="connsiteY5" fmla="*/ 0 h 1681608"/>
                <a:gd name="connsiteX6" fmla="*/ 865498 w 1382775"/>
                <a:gd name="connsiteY6" fmla="*/ 323674 h 1681608"/>
                <a:gd name="connsiteX7" fmla="*/ 960507 w 1382775"/>
                <a:gd name="connsiteY7" fmla="*/ 353167 h 1681608"/>
                <a:gd name="connsiteX8" fmla="*/ 1382775 w 1382775"/>
                <a:gd name="connsiteY8" fmla="*/ 990221 h 1681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82775" h="1681608">
                  <a:moveTo>
                    <a:pt x="1382775" y="990221"/>
                  </a:moveTo>
                  <a:cubicBezTo>
                    <a:pt x="1382775" y="1372063"/>
                    <a:pt x="1073230" y="1681608"/>
                    <a:pt x="691388" y="1681608"/>
                  </a:cubicBezTo>
                  <a:cubicBezTo>
                    <a:pt x="309545" y="1681607"/>
                    <a:pt x="0" y="1372062"/>
                    <a:pt x="0" y="990220"/>
                  </a:cubicBezTo>
                  <a:cubicBezTo>
                    <a:pt x="0" y="703839"/>
                    <a:pt x="174119" y="458124"/>
                    <a:pt x="422268" y="353166"/>
                  </a:cubicBezTo>
                  <a:lnTo>
                    <a:pt x="484054" y="333986"/>
                  </a:lnTo>
                  <a:lnTo>
                    <a:pt x="677767" y="0"/>
                  </a:lnTo>
                  <a:lnTo>
                    <a:pt x="865498" y="323674"/>
                  </a:lnTo>
                  <a:lnTo>
                    <a:pt x="960507" y="353167"/>
                  </a:lnTo>
                  <a:cubicBezTo>
                    <a:pt x="1208656" y="458125"/>
                    <a:pt x="1382775" y="703840"/>
                    <a:pt x="1382775" y="990221"/>
                  </a:cubicBezTo>
                  <a:close/>
                </a:path>
              </a:pathLst>
            </a:custGeom>
            <a:solidFill>
              <a:srgbClr val="4C6C9C"/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Oval 14">
              <a:extLst>
                <a:ext uri="{FF2B5EF4-FFF2-40B4-BE49-F238E27FC236}">
                  <a16:creationId xmlns:a16="http://schemas.microsoft.com/office/drawing/2014/main" id="{EAD6B105-893D-4A9A-AC25-228E45CC5C09}"/>
                </a:ext>
              </a:extLst>
            </p:cNvPr>
            <p:cNvSpPr/>
            <p:nvPr/>
          </p:nvSpPr>
          <p:spPr>
            <a:xfrm>
              <a:off x="273415" y="830046"/>
              <a:ext cx="371120" cy="371120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>
              <a:outerShdw blurRad="127000" dist="1143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463">
              <a:extLst>
                <a:ext uri="{FF2B5EF4-FFF2-40B4-BE49-F238E27FC236}">
                  <a16:creationId xmlns:a16="http://schemas.microsoft.com/office/drawing/2014/main" id="{7B434851-B644-4D21-BD8A-878E013271D0}"/>
                </a:ext>
              </a:extLst>
            </p:cNvPr>
            <p:cNvSpPr/>
            <p:nvPr/>
          </p:nvSpPr>
          <p:spPr>
            <a:xfrm>
              <a:off x="344354" y="913712"/>
              <a:ext cx="243800" cy="217567"/>
            </a:xfrm>
            <a:custGeom>
              <a:avLst/>
              <a:gdLst>
                <a:gd name="connsiteX0" fmla="*/ 247622 w 504825"/>
                <a:gd name="connsiteY0" fmla="*/ 247341 h 450736"/>
                <a:gd name="connsiteX1" fmla="*/ 258045 w 504825"/>
                <a:gd name="connsiteY1" fmla="*/ 267765 h 450736"/>
                <a:gd name="connsiteX2" fmla="*/ 269455 w 504825"/>
                <a:gd name="connsiteY2" fmla="*/ 285654 h 450736"/>
                <a:gd name="connsiteX3" fmla="*/ 283822 w 504825"/>
                <a:gd name="connsiteY3" fmla="*/ 301571 h 450736"/>
                <a:gd name="connsiteX4" fmla="*/ 301570 w 504825"/>
                <a:gd name="connsiteY4" fmla="*/ 311431 h 450736"/>
                <a:gd name="connsiteX5" fmla="*/ 324529 w 504825"/>
                <a:gd name="connsiteY5" fmla="*/ 315515 h 450736"/>
                <a:gd name="connsiteX6" fmla="*/ 396647 w 504825"/>
                <a:gd name="connsiteY6" fmla="*/ 315515 h 450736"/>
                <a:gd name="connsiteX7" fmla="*/ 396647 w 504825"/>
                <a:gd name="connsiteY7" fmla="*/ 261427 h 450736"/>
                <a:gd name="connsiteX8" fmla="*/ 399183 w 504825"/>
                <a:gd name="connsiteY8" fmla="*/ 254948 h 450736"/>
                <a:gd name="connsiteX9" fmla="*/ 405662 w 504825"/>
                <a:gd name="connsiteY9" fmla="*/ 252412 h 450736"/>
                <a:gd name="connsiteX10" fmla="*/ 412423 w 504825"/>
                <a:gd name="connsiteY10" fmla="*/ 255229 h 450736"/>
                <a:gd name="connsiteX11" fmla="*/ 502289 w 504825"/>
                <a:gd name="connsiteY11" fmla="*/ 345095 h 450736"/>
                <a:gd name="connsiteX12" fmla="*/ 504824 w 504825"/>
                <a:gd name="connsiteY12" fmla="*/ 351574 h 450736"/>
                <a:gd name="connsiteX13" fmla="*/ 502289 w 504825"/>
                <a:gd name="connsiteY13" fmla="*/ 358054 h 450736"/>
                <a:gd name="connsiteX14" fmla="*/ 412141 w 504825"/>
                <a:gd name="connsiteY14" fmla="*/ 448201 h 450736"/>
                <a:gd name="connsiteX15" fmla="*/ 405662 w 504825"/>
                <a:gd name="connsiteY15" fmla="*/ 450736 h 450736"/>
                <a:gd name="connsiteX16" fmla="*/ 399323 w 504825"/>
                <a:gd name="connsiteY16" fmla="*/ 448060 h 450736"/>
                <a:gd name="connsiteX17" fmla="*/ 396647 w 504825"/>
                <a:gd name="connsiteY17" fmla="*/ 441722 h 450736"/>
                <a:gd name="connsiteX18" fmla="*/ 396647 w 504825"/>
                <a:gd name="connsiteY18" fmla="*/ 387633 h 450736"/>
                <a:gd name="connsiteX19" fmla="*/ 372702 w 504825"/>
                <a:gd name="connsiteY19" fmla="*/ 387774 h 450736"/>
                <a:gd name="connsiteX20" fmla="*/ 349883 w 504825"/>
                <a:gd name="connsiteY20" fmla="*/ 388056 h 450736"/>
                <a:gd name="connsiteX21" fmla="*/ 329318 w 504825"/>
                <a:gd name="connsiteY21" fmla="*/ 387774 h 450736"/>
                <a:gd name="connsiteX22" fmla="*/ 309317 w 504825"/>
                <a:gd name="connsiteY22" fmla="*/ 386366 h 450736"/>
                <a:gd name="connsiteX23" fmla="*/ 291288 w 504825"/>
                <a:gd name="connsiteY23" fmla="*/ 383408 h 450736"/>
                <a:gd name="connsiteX24" fmla="*/ 273540 w 504825"/>
                <a:gd name="connsiteY24" fmla="*/ 378196 h 450736"/>
                <a:gd name="connsiteX25" fmla="*/ 257201 w 504825"/>
                <a:gd name="connsiteY25" fmla="*/ 370167 h 450736"/>
                <a:gd name="connsiteX26" fmla="*/ 240580 w 504825"/>
                <a:gd name="connsiteY26" fmla="*/ 358899 h 450736"/>
                <a:gd name="connsiteX27" fmla="*/ 225086 w 504825"/>
                <a:gd name="connsiteY27" fmla="*/ 343827 h 450736"/>
                <a:gd name="connsiteX28" fmla="*/ 209310 w 504825"/>
                <a:gd name="connsiteY28" fmla="*/ 324248 h 450736"/>
                <a:gd name="connsiteX29" fmla="*/ 247622 w 504825"/>
                <a:gd name="connsiteY29" fmla="*/ 247341 h 450736"/>
                <a:gd name="connsiteX30" fmla="*/ 9015 w 504825"/>
                <a:gd name="connsiteY30" fmla="*/ 63103 h 450736"/>
                <a:gd name="connsiteX31" fmla="*/ 72118 w 504825"/>
                <a:gd name="connsiteY31" fmla="*/ 63103 h 450736"/>
                <a:gd name="connsiteX32" fmla="*/ 187619 w 504825"/>
                <a:gd name="connsiteY32" fmla="*/ 126488 h 450736"/>
                <a:gd name="connsiteX33" fmla="*/ 149025 w 504825"/>
                <a:gd name="connsiteY33" fmla="*/ 203395 h 450736"/>
                <a:gd name="connsiteX34" fmla="*/ 138601 w 504825"/>
                <a:gd name="connsiteY34" fmla="*/ 182971 h 450736"/>
                <a:gd name="connsiteX35" fmla="*/ 127192 w 504825"/>
                <a:gd name="connsiteY35" fmla="*/ 165082 h 450736"/>
                <a:gd name="connsiteX36" fmla="*/ 112825 w 504825"/>
                <a:gd name="connsiteY36" fmla="*/ 149165 h 450736"/>
                <a:gd name="connsiteX37" fmla="*/ 95077 w 504825"/>
                <a:gd name="connsiteY37" fmla="*/ 139306 h 450736"/>
                <a:gd name="connsiteX38" fmla="*/ 72118 w 504825"/>
                <a:gd name="connsiteY38" fmla="*/ 135221 h 450736"/>
                <a:gd name="connsiteX39" fmla="*/ 9015 w 504825"/>
                <a:gd name="connsiteY39" fmla="*/ 135221 h 450736"/>
                <a:gd name="connsiteX40" fmla="*/ 2535 w 504825"/>
                <a:gd name="connsiteY40" fmla="*/ 132685 h 450736"/>
                <a:gd name="connsiteX41" fmla="*/ 0 w 504825"/>
                <a:gd name="connsiteY41" fmla="*/ 126206 h 450736"/>
                <a:gd name="connsiteX42" fmla="*/ 0 w 504825"/>
                <a:gd name="connsiteY42" fmla="*/ 72118 h 450736"/>
                <a:gd name="connsiteX43" fmla="*/ 2535 w 504825"/>
                <a:gd name="connsiteY43" fmla="*/ 65638 h 450736"/>
                <a:gd name="connsiteX44" fmla="*/ 9015 w 504825"/>
                <a:gd name="connsiteY44" fmla="*/ 63103 h 450736"/>
                <a:gd name="connsiteX45" fmla="*/ 405663 w 504825"/>
                <a:gd name="connsiteY45" fmla="*/ 0 h 450736"/>
                <a:gd name="connsiteX46" fmla="*/ 412424 w 504825"/>
                <a:gd name="connsiteY46" fmla="*/ 2817 h 450736"/>
                <a:gd name="connsiteX47" fmla="*/ 502290 w 504825"/>
                <a:gd name="connsiteY47" fmla="*/ 92683 h 450736"/>
                <a:gd name="connsiteX48" fmla="*/ 504825 w 504825"/>
                <a:gd name="connsiteY48" fmla="*/ 99162 h 450736"/>
                <a:gd name="connsiteX49" fmla="*/ 502290 w 504825"/>
                <a:gd name="connsiteY49" fmla="*/ 105641 h 450736"/>
                <a:gd name="connsiteX50" fmla="*/ 412142 w 504825"/>
                <a:gd name="connsiteY50" fmla="*/ 195788 h 450736"/>
                <a:gd name="connsiteX51" fmla="*/ 405663 w 504825"/>
                <a:gd name="connsiteY51" fmla="*/ 198324 h 450736"/>
                <a:gd name="connsiteX52" fmla="*/ 399324 w 504825"/>
                <a:gd name="connsiteY52" fmla="*/ 195647 h 450736"/>
                <a:gd name="connsiteX53" fmla="*/ 396648 w 504825"/>
                <a:gd name="connsiteY53" fmla="*/ 189309 h 450736"/>
                <a:gd name="connsiteX54" fmla="*/ 396648 w 504825"/>
                <a:gd name="connsiteY54" fmla="*/ 135221 h 450736"/>
                <a:gd name="connsiteX55" fmla="*/ 324530 w 504825"/>
                <a:gd name="connsiteY55" fmla="*/ 135221 h 450736"/>
                <a:gd name="connsiteX56" fmla="*/ 300022 w 504825"/>
                <a:gd name="connsiteY56" fmla="*/ 139446 h 450736"/>
                <a:gd name="connsiteX57" fmla="*/ 280583 w 504825"/>
                <a:gd name="connsiteY57" fmla="*/ 152123 h 450736"/>
                <a:gd name="connsiteX58" fmla="*/ 266216 w 504825"/>
                <a:gd name="connsiteY58" fmla="*/ 169449 h 450736"/>
                <a:gd name="connsiteX59" fmla="*/ 253539 w 504825"/>
                <a:gd name="connsiteY59" fmla="*/ 191281 h 450736"/>
                <a:gd name="connsiteX60" fmla="*/ 231566 w 504825"/>
                <a:gd name="connsiteY60" fmla="*/ 239454 h 450736"/>
                <a:gd name="connsiteX61" fmla="*/ 217621 w 504825"/>
                <a:gd name="connsiteY61" fmla="*/ 270723 h 450736"/>
                <a:gd name="connsiteX62" fmla="*/ 202409 w 504825"/>
                <a:gd name="connsiteY62" fmla="*/ 300303 h 450736"/>
                <a:gd name="connsiteX63" fmla="*/ 184379 w 504825"/>
                <a:gd name="connsiteY63" fmla="*/ 328474 h 450736"/>
                <a:gd name="connsiteX64" fmla="*/ 163533 w 504825"/>
                <a:gd name="connsiteY64" fmla="*/ 351856 h 450736"/>
                <a:gd name="connsiteX65" fmla="*/ 138179 w 504825"/>
                <a:gd name="connsiteY65" fmla="*/ 371153 h 450736"/>
                <a:gd name="connsiteX66" fmla="*/ 108177 w 504825"/>
                <a:gd name="connsiteY66" fmla="*/ 382985 h 450736"/>
                <a:gd name="connsiteX67" fmla="*/ 72118 w 504825"/>
                <a:gd name="connsiteY67" fmla="*/ 387633 h 450736"/>
                <a:gd name="connsiteX68" fmla="*/ 9015 w 504825"/>
                <a:gd name="connsiteY68" fmla="*/ 387633 h 450736"/>
                <a:gd name="connsiteX69" fmla="*/ 2535 w 504825"/>
                <a:gd name="connsiteY69" fmla="*/ 385098 h 450736"/>
                <a:gd name="connsiteX70" fmla="*/ 0 w 504825"/>
                <a:gd name="connsiteY70" fmla="*/ 378619 h 450736"/>
                <a:gd name="connsiteX71" fmla="*/ 0 w 504825"/>
                <a:gd name="connsiteY71" fmla="*/ 324530 h 450736"/>
                <a:gd name="connsiteX72" fmla="*/ 2535 w 504825"/>
                <a:gd name="connsiteY72" fmla="*/ 318051 h 450736"/>
                <a:gd name="connsiteX73" fmla="*/ 9015 w 504825"/>
                <a:gd name="connsiteY73" fmla="*/ 315515 h 450736"/>
                <a:gd name="connsiteX74" fmla="*/ 72118 w 504825"/>
                <a:gd name="connsiteY74" fmla="*/ 315515 h 450736"/>
                <a:gd name="connsiteX75" fmla="*/ 96627 w 504825"/>
                <a:gd name="connsiteY75" fmla="*/ 311290 h 450736"/>
                <a:gd name="connsiteX76" fmla="*/ 116064 w 504825"/>
                <a:gd name="connsiteY76" fmla="*/ 298613 h 450736"/>
                <a:gd name="connsiteX77" fmla="*/ 130432 w 504825"/>
                <a:gd name="connsiteY77" fmla="*/ 281288 h 450736"/>
                <a:gd name="connsiteX78" fmla="*/ 143109 w 504825"/>
                <a:gd name="connsiteY78" fmla="*/ 259455 h 450736"/>
                <a:gd name="connsiteX79" fmla="*/ 165082 w 504825"/>
                <a:gd name="connsiteY79" fmla="*/ 211283 h 450736"/>
                <a:gd name="connsiteX80" fmla="*/ 179027 w 504825"/>
                <a:gd name="connsiteY80" fmla="*/ 180013 h 450736"/>
                <a:gd name="connsiteX81" fmla="*/ 194239 w 504825"/>
                <a:gd name="connsiteY81" fmla="*/ 150433 h 450736"/>
                <a:gd name="connsiteX82" fmla="*/ 212269 w 504825"/>
                <a:gd name="connsiteY82" fmla="*/ 122262 h 450736"/>
                <a:gd name="connsiteX83" fmla="*/ 233115 w 504825"/>
                <a:gd name="connsiteY83" fmla="*/ 98880 h 450736"/>
                <a:gd name="connsiteX84" fmla="*/ 258469 w 504825"/>
                <a:gd name="connsiteY84" fmla="*/ 79583 h 450736"/>
                <a:gd name="connsiteX85" fmla="*/ 288471 w 504825"/>
                <a:gd name="connsiteY85" fmla="*/ 67751 h 450736"/>
                <a:gd name="connsiteX86" fmla="*/ 324530 w 504825"/>
                <a:gd name="connsiteY86" fmla="*/ 63103 h 450736"/>
                <a:gd name="connsiteX87" fmla="*/ 396648 w 504825"/>
                <a:gd name="connsiteY87" fmla="*/ 63103 h 450736"/>
                <a:gd name="connsiteX88" fmla="*/ 396648 w 504825"/>
                <a:gd name="connsiteY88" fmla="*/ 9014 h 450736"/>
                <a:gd name="connsiteX89" fmla="*/ 399184 w 504825"/>
                <a:gd name="connsiteY89" fmla="*/ 2535 h 450736"/>
                <a:gd name="connsiteX90" fmla="*/ 405663 w 504825"/>
                <a:gd name="connsiteY90" fmla="*/ 0 h 450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504825" h="450736">
                  <a:moveTo>
                    <a:pt x="247622" y="247341"/>
                  </a:moveTo>
                  <a:cubicBezTo>
                    <a:pt x="251754" y="255793"/>
                    <a:pt x="255229" y="262601"/>
                    <a:pt x="258045" y="267765"/>
                  </a:cubicBezTo>
                  <a:cubicBezTo>
                    <a:pt x="260863" y="272930"/>
                    <a:pt x="264666" y="278893"/>
                    <a:pt x="269455" y="285654"/>
                  </a:cubicBezTo>
                  <a:cubicBezTo>
                    <a:pt x="274244" y="292415"/>
                    <a:pt x="279033" y="297721"/>
                    <a:pt x="283822" y="301571"/>
                  </a:cubicBezTo>
                  <a:cubicBezTo>
                    <a:pt x="288611" y="305421"/>
                    <a:pt x="294527" y="308707"/>
                    <a:pt x="301570" y="311431"/>
                  </a:cubicBezTo>
                  <a:cubicBezTo>
                    <a:pt x="308613" y="314154"/>
                    <a:pt x="316266" y="315515"/>
                    <a:pt x="324529" y="315515"/>
                  </a:cubicBezTo>
                  <a:lnTo>
                    <a:pt x="396647" y="315515"/>
                  </a:lnTo>
                  <a:lnTo>
                    <a:pt x="396647" y="261427"/>
                  </a:lnTo>
                  <a:cubicBezTo>
                    <a:pt x="396647" y="258798"/>
                    <a:pt x="397492" y="256638"/>
                    <a:pt x="399183" y="254948"/>
                  </a:cubicBezTo>
                  <a:cubicBezTo>
                    <a:pt x="400873" y="253257"/>
                    <a:pt x="403033" y="252412"/>
                    <a:pt x="405662" y="252412"/>
                  </a:cubicBezTo>
                  <a:cubicBezTo>
                    <a:pt x="407915" y="252412"/>
                    <a:pt x="410169" y="253351"/>
                    <a:pt x="412423" y="255229"/>
                  </a:cubicBezTo>
                  <a:lnTo>
                    <a:pt x="502289" y="345095"/>
                  </a:lnTo>
                  <a:cubicBezTo>
                    <a:pt x="503979" y="346785"/>
                    <a:pt x="504824" y="348945"/>
                    <a:pt x="504824" y="351574"/>
                  </a:cubicBezTo>
                  <a:cubicBezTo>
                    <a:pt x="504824" y="354204"/>
                    <a:pt x="503979" y="356363"/>
                    <a:pt x="502289" y="358054"/>
                  </a:cubicBezTo>
                  <a:lnTo>
                    <a:pt x="412141" y="448201"/>
                  </a:lnTo>
                  <a:cubicBezTo>
                    <a:pt x="410451" y="449891"/>
                    <a:pt x="408292" y="450736"/>
                    <a:pt x="405662" y="450736"/>
                  </a:cubicBezTo>
                  <a:cubicBezTo>
                    <a:pt x="403221" y="450736"/>
                    <a:pt x="401108" y="449844"/>
                    <a:pt x="399323" y="448060"/>
                  </a:cubicBezTo>
                  <a:cubicBezTo>
                    <a:pt x="397539" y="446276"/>
                    <a:pt x="396647" y="444163"/>
                    <a:pt x="396647" y="441722"/>
                  </a:cubicBezTo>
                  <a:lnTo>
                    <a:pt x="396647" y="387633"/>
                  </a:lnTo>
                  <a:cubicBezTo>
                    <a:pt x="390637" y="387633"/>
                    <a:pt x="382656" y="387680"/>
                    <a:pt x="372702" y="387774"/>
                  </a:cubicBezTo>
                  <a:cubicBezTo>
                    <a:pt x="362748" y="387868"/>
                    <a:pt x="355142" y="387962"/>
                    <a:pt x="349883" y="388056"/>
                  </a:cubicBezTo>
                  <a:cubicBezTo>
                    <a:pt x="344625" y="388150"/>
                    <a:pt x="337770" y="388056"/>
                    <a:pt x="329318" y="387774"/>
                  </a:cubicBezTo>
                  <a:cubicBezTo>
                    <a:pt x="320867" y="387492"/>
                    <a:pt x="314200" y="387023"/>
                    <a:pt x="309317" y="386366"/>
                  </a:cubicBezTo>
                  <a:cubicBezTo>
                    <a:pt x="304434" y="385708"/>
                    <a:pt x="298424" y="384722"/>
                    <a:pt x="291288" y="383408"/>
                  </a:cubicBezTo>
                  <a:cubicBezTo>
                    <a:pt x="284151" y="382093"/>
                    <a:pt x="278235" y="380356"/>
                    <a:pt x="273540" y="378196"/>
                  </a:cubicBezTo>
                  <a:cubicBezTo>
                    <a:pt x="268845" y="376036"/>
                    <a:pt x="263398" y="373360"/>
                    <a:pt x="257201" y="370167"/>
                  </a:cubicBezTo>
                  <a:cubicBezTo>
                    <a:pt x="251003" y="366975"/>
                    <a:pt x="245463" y="363218"/>
                    <a:pt x="240580" y="358899"/>
                  </a:cubicBezTo>
                  <a:cubicBezTo>
                    <a:pt x="235696" y="354579"/>
                    <a:pt x="230532" y="349555"/>
                    <a:pt x="225086" y="343827"/>
                  </a:cubicBezTo>
                  <a:cubicBezTo>
                    <a:pt x="219639" y="338099"/>
                    <a:pt x="214381" y="331573"/>
                    <a:pt x="209310" y="324248"/>
                  </a:cubicBezTo>
                  <a:cubicBezTo>
                    <a:pt x="220391" y="306782"/>
                    <a:pt x="233161" y="281147"/>
                    <a:pt x="247622" y="247341"/>
                  </a:cubicBezTo>
                  <a:close/>
                  <a:moveTo>
                    <a:pt x="9015" y="63103"/>
                  </a:moveTo>
                  <a:lnTo>
                    <a:pt x="72118" y="63103"/>
                  </a:lnTo>
                  <a:cubicBezTo>
                    <a:pt x="119069" y="63103"/>
                    <a:pt x="157570" y="84231"/>
                    <a:pt x="187619" y="126488"/>
                  </a:cubicBezTo>
                  <a:cubicBezTo>
                    <a:pt x="176351" y="143766"/>
                    <a:pt x="163486" y="169401"/>
                    <a:pt x="149025" y="203395"/>
                  </a:cubicBezTo>
                  <a:cubicBezTo>
                    <a:pt x="144893" y="194943"/>
                    <a:pt x="141419" y="188135"/>
                    <a:pt x="138601" y="182971"/>
                  </a:cubicBezTo>
                  <a:cubicBezTo>
                    <a:pt x="135784" y="177806"/>
                    <a:pt x="131981" y="171843"/>
                    <a:pt x="127192" y="165082"/>
                  </a:cubicBezTo>
                  <a:cubicBezTo>
                    <a:pt x="122403" y="158321"/>
                    <a:pt x="117614" y="153016"/>
                    <a:pt x="112825" y="149165"/>
                  </a:cubicBezTo>
                  <a:cubicBezTo>
                    <a:pt x="108036" y="145315"/>
                    <a:pt x="102120" y="142029"/>
                    <a:pt x="95077" y="139306"/>
                  </a:cubicBezTo>
                  <a:cubicBezTo>
                    <a:pt x="88035" y="136582"/>
                    <a:pt x="80382" y="135221"/>
                    <a:pt x="72118" y="135221"/>
                  </a:cubicBezTo>
                  <a:lnTo>
                    <a:pt x="9015" y="135221"/>
                  </a:lnTo>
                  <a:cubicBezTo>
                    <a:pt x="6385" y="135221"/>
                    <a:pt x="4226" y="134376"/>
                    <a:pt x="2535" y="132685"/>
                  </a:cubicBezTo>
                  <a:cubicBezTo>
                    <a:pt x="845" y="130995"/>
                    <a:pt x="0" y="128835"/>
                    <a:pt x="0" y="126206"/>
                  </a:cubicBezTo>
                  <a:lnTo>
                    <a:pt x="0" y="72118"/>
                  </a:lnTo>
                  <a:cubicBezTo>
                    <a:pt x="0" y="69488"/>
                    <a:pt x="845" y="67329"/>
                    <a:pt x="2535" y="65638"/>
                  </a:cubicBezTo>
                  <a:cubicBezTo>
                    <a:pt x="4226" y="63948"/>
                    <a:pt x="6385" y="63103"/>
                    <a:pt x="9015" y="63103"/>
                  </a:cubicBezTo>
                  <a:close/>
                  <a:moveTo>
                    <a:pt x="405663" y="0"/>
                  </a:moveTo>
                  <a:cubicBezTo>
                    <a:pt x="407916" y="0"/>
                    <a:pt x="410170" y="939"/>
                    <a:pt x="412424" y="2817"/>
                  </a:cubicBezTo>
                  <a:lnTo>
                    <a:pt x="502290" y="92683"/>
                  </a:lnTo>
                  <a:cubicBezTo>
                    <a:pt x="503980" y="94373"/>
                    <a:pt x="504825" y="96532"/>
                    <a:pt x="504825" y="99162"/>
                  </a:cubicBezTo>
                  <a:cubicBezTo>
                    <a:pt x="504825" y="101791"/>
                    <a:pt x="503980" y="103951"/>
                    <a:pt x="502290" y="105641"/>
                  </a:cubicBezTo>
                  <a:lnTo>
                    <a:pt x="412142" y="195788"/>
                  </a:lnTo>
                  <a:cubicBezTo>
                    <a:pt x="410452" y="197479"/>
                    <a:pt x="408293" y="198324"/>
                    <a:pt x="405663" y="198324"/>
                  </a:cubicBezTo>
                  <a:cubicBezTo>
                    <a:pt x="403222" y="198324"/>
                    <a:pt x="401109" y="197432"/>
                    <a:pt x="399324" y="195647"/>
                  </a:cubicBezTo>
                  <a:cubicBezTo>
                    <a:pt x="397540" y="193863"/>
                    <a:pt x="396648" y="191751"/>
                    <a:pt x="396648" y="189309"/>
                  </a:cubicBezTo>
                  <a:lnTo>
                    <a:pt x="396648" y="135221"/>
                  </a:lnTo>
                  <a:lnTo>
                    <a:pt x="324530" y="135221"/>
                  </a:lnTo>
                  <a:cubicBezTo>
                    <a:pt x="315516" y="135221"/>
                    <a:pt x="307346" y="136629"/>
                    <a:pt x="300022" y="139446"/>
                  </a:cubicBezTo>
                  <a:cubicBezTo>
                    <a:pt x="292697" y="142264"/>
                    <a:pt x="286218" y="146489"/>
                    <a:pt x="280583" y="152123"/>
                  </a:cubicBezTo>
                  <a:cubicBezTo>
                    <a:pt x="274950" y="157758"/>
                    <a:pt x="270160" y="163533"/>
                    <a:pt x="266216" y="169449"/>
                  </a:cubicBezTo>
                  <a:cubicBezTo>
                    <a:pt x="262272" y="175364"/>
                    <a:pt x="258046" y="182642"/>
                    <a:pt x="253539" y="191281"/>
                  </a:cubicBezTo>
                  <a:cubicBezTo>
                    <a:pt x="247529" y="202925"/>
                    <a:pt x="240205" y="218983"/>
                    <a:pt x="231566" y="239454"/>
                  </a:cubicBezTo>
                  <a:cubicBezTo>
                    <a:pt x="226119" y="251849"/>
                    <a:pt x="221471" y="262272"/>
                    <a:pt x="217621" y="270723"/>
                  </a:cubicBezTo>
                  <a:cubicBezTo>
                    <a:pt x="213771" y="279175"/>
                    <a:pt x="208701" y="289035"/>
                    <a:pt x="202409" y="300303"/>
                  </a:cubicBezTo>
                  <a:cubicBezTo>
                    <a:pt x="196117" y="311572"/>
                    <a:pt x="190108" y="320962"/>
                    <a:pt x="184379" y="328474"/>
                  </a:cubicBezTo>
                  <a:cubicBezTo>
                    <a:pt x="178651" y="335986"/>
                    <a:pt x="171702" y="343780"/>
                    <a:pt x="163533" y="351856"/>
                  </a:cubicBezTo>
                  <a:cubicBezTo>
                    <a:pt x="155363" y="359932"/>
                    <a:pt x="146912" y="366364"/>
                    <a:pt x="138179" y="371153"/>
                  </a:cubicBezTo>
                  <a:cubicBezTo>
                    <a:pt x="129446" y="375942"/>
                    <a:pt x="119445" y="379886"/>
                    <a:pt x="108177" y="382985"/>
                  </a:cubicBezTo>
                  <a:cubicBezTo>
                    <a:pt x="96909" y="386084"/>
                    <a:pt x="84889" y="387633"/>
                    <a:pt x="72118" y="387633"/>
                  </a:cubicBezTo>
                  <a:lnTo>
                    <a:pt x="9015" y="387633"/>
                  </a:lnTo>
                  <a:cubicBezTo>
                    <a:pt x="6385" y="387633"/>
                    <a:pt x="4226" y="386788"/>
                    <a:pt x="2535" y="385098"/>
                  </a:cubicBezTo>
                  <a:cubicBezTo>
                    <a:pt x="845" y="383408"/>
                    <a:pt x="0" y="381248"/>
                    <a:pt x="0" y="378619"/>
                  </a:cubicBezTo>
                  <a:lnTo>
                    <a:pt x="0" y="324530"/>
                  </a:lnTo>
                  <a:cubicBezTo>
                    <a:pt x="0" y="321901"/>
                    <a:pt x="845" y="319741"/>
                    <a:pt x="2535" y="318051"/>
                  </a:cubicBezTo>
                  <a:cubicBezTo>
                    <a:pt x="4226" y="316360"/>
                    <a:pt x="6385" y="315515"/>
                    <a:pt x="9015" y="315515"/>
                  </a:cubicBezTo>
                  <a:lnTo>
                    <a:pt x="72118" y="315515"/>
                  </a:lnTo>
                  <a:cubicBezTo>
                    <a:pt x="81133" y="315515"/>
                    <a:pt x="89302" y="314107"/>
                    <a:pt x="96627" y="311290"/>
                  </a:cubicBezTo>
                  <a:cubicBezTo>
                    <a:pt x="103951" y="308473"/>
                    <a:pt x="110430" y="304247"/>
                    <a:pt x="116064" y="298613"/>
                  </a:cubicBezTo>
                  <a:cubicBezTo>
                    <a:pt x="121699" y="292978"/>
                    <a:pt x="126488" y="287204"/>
                    <a:pt x="130432" y="281288"/>
                  </a:cubicBezTo>
                  <a:cubicBezTo>
                    <a:pt x="134376" y="275372"/>
                    <a:pt x="138601" y="268094"/>
                    <a:pt x="143109" y="259455"/>
                  </a:cubicBezTo>
                  <a:cubicBezTo>
                    <a:pt x="149119" y="247811"/>
                    <a:pt x="156443" y="231753"/>
                    <a:pt x="165082" y="211283"/>
                  </a:cubicBezTo>
                  <a:cubicBezTo>
                    <a:pt x="170529" y="198887"/>
                    <a:pt x="175177" y="188464"/>
                    <a:pt x="179027" y="180013"/>
                  </a:cubicBezTo>
                  <a:cubicBezTo>
                    <a:pt x="182877" y="171561"/>
                    <a:pt x="187948" y="161702"/>
                    <a:pt x="194239" y="150433"/>
                  </a:cubicBezTo>
                  <a:cubicBezTo>
                    <a:pt x="200531" y="139165"/>
                    <a:pt x="206540" y="129774"/>
                    <a:pt x="212269" y="122262"/>
                  </a:cubicBezTo>
                  <a:cubicBezTo>
                    <a:pt x="217997" y="114750"/>
                    <a:pt x="224946" y="106956"/>
                    <a:pt x="233115" y="98880"/>
                  </a:cubicBezTo>
                  <a:cubicBezTo>
                    <a:pt x="241285" y="90804"/>
                    <a:pt x="249737" y="84372"/>
                    <a:pt x="258469" y="79583"/>
                  </a:cubicBezTo>
                  <a:cubicBezTo>
                    <a:pt x="267202" y="74794"/>
                    <a:pt x="277203" y="70850"/>
                    <a:pt x="288471" y="67751"/>
                  </a:cubicBezTo>
                  <a:cubicBezTo>
                    <a:pt x="299740" y="64652"/>
                    <a:pt x="311759" y="63103"/>
                    <a:pt x="324530" y="63103"/>
                  </a:cubicBezTo>
                  <a:lnTo>
                    <a:pt x="396648" y="63103"/>
                  </a:lnTo>
                  <a:lnTo>
                    <a:pt x="396648" y="9014"/>
                  </a:lnTo>
                  <a:cubicBezTo>
                    <a:pt x="396648" y="6385"/>
                    <a:pt x="397493" y="4225"/>
                    <a:pt x="399184" y="2535"/>
                  </a:cubicBezTo>
                  <a:cubicBezTo>
                    <a:pt x="400874" y="845"/>
                    <a:pt x="403034" y="0"/>
                    <a:pt x="405663" y="0"/>
                  </a:cubicBezTo>
                  <a:close/>
                </a:path>
              </a:pathLst>
            </a:custGeom>
            <a:solidFill>
              <a:srgbClr val="4C6C9C"/>
            </a:solidFill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13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9" name="Rectangle 58">
            <a:extLst>
              <a:ext uri="{FF2B5EF4-FFF2-40B4-BE49-F238E27FC236}">
                <a16:creationId xmlns:a16="http://schemas.microsoft.com/office/drawing/2014/main" id="{224CAFDC-BD26-4A06-B908-F55A66B99CFF}"/>
              </a:ext>
            </a:extLst>
          </p:cNvPr>
          <p:cNvSpPr/>
          <p:nvPr/>
        </p:nvSpPr>
        <p:spPr>
          <a:xfrm>
            <a:off x="1547168" y="2307350"/>
            <a:ext cx="10020944" cy="5745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5950" indent="-18000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fr-FR" sz="1400" b="1" dirty="0">
                <a:solidFill>
                  <a:prstClr val="black"/>
                </a:solidFill>
                <a:latin typeface="Calibri"/>
              </a:rPr>
              <a:t>Les expérimentateurs utilisent la e-prescription au quotidien</a:t>
            </a:r>
          </a:p>
          <a:p>
            <a:pPr marL="175950" indent="-18000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fr-FR" sz="1400" b="1" dirty="0">
                <a:solidFill>
                  <a:prstClr val="black"/>
                </a:solidFill>
                <a:latin typeface="Calibri"/>
              </a:rPr>
              <a:t>Les adaptations des logiciels </a:t>
            </a:r>
            <a:r>
              <a:rPr lang="fr-FR" sz="1400" dirty="0">
                <a:solidFill>
                  <a:prstClr val="black"/>
                </a:solidFill>
                <a:latin typeface="Calibri"/>
              </a:rPr>
              <a:t>réalisées par les éditeurs</a:t>
            </a:r>
            <a:r>
              <a:rPr lang="fr-FR" sz="1400" b="1" dirty="0">
                <a:solidFill>
                  <a:prstClr val="black"/>
                </a:solidFill>
                <a:latin typeface="Calibri"/>
              </a:rPr>
              <a:t> ont été sans impact sur le processus métier du médecin et du pharmacien 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7D1FCE63-DE7D-43F6-A248-8838CAA0C982}"/>
              </a:ext>
            </a:extLst>
          </p:cNvPr>
          <p:cNvSpPr/>
          <p:nvPr/>
        </p:nvSpPr>
        <p:spPr>
          <a:xfrm>
            <a:off x="1547168" y="5122442"/>
            <a:ext cx="10020944" cy="8412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5950" indent="-18000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fr-FR" sz="1400" b="1" dirty="0">
                <a:solidFill>
                  <a:prstClr val="black"/>
                </a:solidFill>
                <a:latin typeface="Calibri"/>
              </a:rPr>
              <a:t>Une coordination réussie sur le terrain </a:t>
            </a:r>
            <a:r>
              <a:rPr lang="fr-FR" sz="1400" dirty="0">
                <a:solidFill>
                  <a:prstClr val="black"/>
                </a:solidFill>
                <a:latin typeface="Calibri"/>
              </a:rPr>
              <a:t>entre les CIS et les éditeurs pour les interventions</a:t>
            </a:r>
          </a:p>
          <a:p>
            <a:pPr marL="175950" indent="-18000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fr-FR" sz="1400" b="1" dirty="0">
                <a:solidFill>
                  <a:prstClr val="black"/>
                </a:solidFill>
                <a:latin typeface="Calibri"/>
              </a:rPr>
              <a:t>Une synchronisation, </a:t>
            </a:r>
            <a:r>
              <a:rPr lang="fr-FR" sz="1400" dirty="0">
                <a:solidFill>
                  <a:prstClr val="black"/>
                </a:solidFill>
                <a:latin typeface="Calibri"/>
              </a:rPr>
              <a:t>et un lien maintenu tout au long de l’expérimentation</a:t>
            </a:r>
            <a:r>
              <a:rPr lang="fr-FR" sz="1400" b="1" dirty="0">
                <a:solidFill>
                  <a:prstClr val="black"/>
                </a:solidFill>
                <a:latin typeface="Calibri"/>
              </a:rPr>
              <a:t>, entre l’Assurance Maladie, le GIE SV et les éditeurs</a:t>
            </a:r>
          </a:p>
          <a:p>
            <a:pPr marL="175950" indent="-18000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fr-FR" sz="1400" b="1" dirty="0">
                <a:solidFill>
                  <a:prstClr val="black"/>
                </a:solidFill>
                <a:latin typeface="Calibri"/>
              </a:rPr>
              <a:t>Un support éditeur disponible et apportant des réponses dans un délai jugé satisfaisant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B5E74379-38FB-4856-AECC-0C881A3D5A33}"/>
              </a:ext>
            </a:extLst>
          </p:cNvPr>
          <p:cNvSpPr/>
          <p:nvPr/>
        </p:nvSpPr>
        <p:spPr>
          <a:xfrm>
            <a:off x="1547168" y="3746507"/>
            <a:ext cx="10020944" cy="5745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5950" indent="-18000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fr-FR" sz="1400" b="1" dirty="0">
                <a:solidFill>
                  <a:prstClr val="black"/>
                </a:solidFill>
                <a:latin typeface="Calibri"/>
              </a:rPr>
              <a:t>De manière générale, les professionnels de santé n’ont pas constaté d’incident ayant impacté leurs activités</a:t>
            </a:r>
          </a:p>
          <a:p>
            <a:pPr marL="175950" indent="-18000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fr-FR" sz="1400" b="1" dirty="0">
                <a:solidFill>
                  <a:prstClr val="black"/>
                </a:solidFill>
                <a:latin typeface="Calibri"/>
              </a:rPr>
              <a:t>Les temps de réponse des téléservices sont globalement jugés satisfaisants</a:t>
            </a: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C869A704-0CEF-49EB-8FDF-6A237C60857E}"/>
              </a:ext>
            </a:extLst>
          </p:cNvPr>
          <p:cNvSpPr/>
          <p:nvPr/>
        </p:nvSpPr>
        <p:spPr>
          <a:xfrm>
            <a:off x="1547167" y="3313374"/>
            <a:ext cx="10020946" cy="360000"/>
          </a:xfrm>
          <a:prstGeom prst="roundRect">
            <a:avLst>
              <a:gd name="adj" fmla="val 6951"/>
            </a:avLst>
          </a:prstGeom>
          <a:solidFill>
            <a:srgbClr val="4C6C9C"/>
          </a:solidFill>
          <a:ln w="3175" cap="flat" cmpd="sng" algn="ctr">
            <a:solidFill>
              <a:srgbClr val="4C6C9C"/>
            </a:solidFill>
            <a:prstDash val="sysDot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’accès aux téléservices de l’Assurance Maladie n’a pas rencontré d’indisponibilité ou de lenteur</a:t>
            </a: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B704D071-517A-4403-8D7A-B1AA0B25BF0E}"/>
              </a:ext>
            </a:extLst>
          </p:cNvPr>
          <p:cNvSpPr/>
          <p:nvPr/>
        </p:nvSpPr>
        <p:spPr>
          <a:xfrm>
            <a:off x="1547167" y="4594441"/>
            <a:ext cx="10020945" cy="504000"/>
          </a:xfrm>
          <a:prstGeom prst="roundRect">
            <a:avLst>
              <a:gd name="adj" fmla="val 6951"/>
            </a:avLst>
          </a:prstGeom>
          <a:solidFill>
            <a:srgbClr val="4C6C9C"/>
          </a:solidFill>
          <a:ln w="3175" cap="flat" cmpd="sng" algn="ctr">
            <a:solidFill>
              <a:srgbClr val="4C6C9C"/>
            </a:solidFill>
            <a:prstDash val="sysDot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’accompagnement réalisé par les caisses et le support apporté par les éditeurs ont été très appréciés par les professionnels de santé expérimentateurs </a:t>
            </a: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A7A68536-63E6-433B-839D-7965D3C64F24}"/>
              </a:ext>
            </a:extLst>
          </p:cNvPr>
          <p:cNvSpPr/>
          <p:nvPr/>
        </p:nvSpPr>
        <p:spPr>
          <a:xfrm>
            <a:off x="1547167" y="1873174"/>
            <a:ext cx="10020945" cy="400489"/>
          </a:xfrm>
          <a:prstGeom prst="roundRect">
            <a:avLst>
              <a:gd name="adj" fmla="val 6951"/>
            </a:avLst>
          </a:prstGeom>
          <a:solidFill>
            <a:srgbClr val="4C6C9C"/>
          </a:solidFill>
          <a:ln w="3175" cap="flat" cmpd="sng" algn="ctr">
            <a:solidFill>
              <a:srgbClr val="4C6C9C"/>
            </a:solidFill>
            <a:prstDash val="sysDot"/>
          </a:ln>
          <a:effectLst/>
        </p:spPr>
        <p:txBody>
          <a:bodyPr rtlCol="0" anchor="ctr"/>
          <a:lstStyle/>
          <a:p>
            <a:pPr marL="0" marR="0" lvl="1" indent="0" algn="just" defTabSz="91440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’utilisation de la e-prescription par les prescripteurs et les prescrits fonctionne bien</a:t>
            </a:r>
          </a:p>
        </p:txBody>
      </p:sp>
    </p:spTree>
    <p:extLst>
      <p:ext uri="{BB962C8B-B14F-4D97-AF65-F5344CB8AC3E}">
        <p14:creationId xmlns:p14="http://schemas.microsoft.com/office/powerpoint/2010/main" val="1756188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6F0A151-BE7A-42DE-B07E-885338574F5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E16F96-E42D-4E82-A9BB-C6DB4C044D0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fr-FR" dirty="0"/>
              <a:t>03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099E516-61F0-4408-8A7A-7F3F843CB72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>
            <a:normAutofit/>
          </a:bodyPr>
          <a:lstStyle/>
          <a:p>
            <a:r>
              <a:rPr lang="fr-FR" sz="4000" dirty="0"/>
              <a:t>E-prescription unifiée  </a:t>
            </a:r>
            <a:r>
              <a:rPr lang="fr-FR" sz="4000" b="0" dirty="0"/>
              <a:t>principes</a:t>
            </a:r>
            <a:endParaRPr lang="fr-FR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F8E0C4-3D09-4128-A8E8-5A2ECB4DE750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13</a:t>
            </a:fld>
            <a:endParaRPr lang="fr-FR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04A8C5-F3DE-4D3A-99EF-AD30059811A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618497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FF705B99-031F-4772-9E76-1AA544C7E292}"/>
              </a:ext>
            </a:extLst>
          </p:cNvPr>
          <p:cNvSpPr/>
          <p:nvPr/>
        </p:nvSpPr>
        <p:spPr>
          <a:xfrm>
            <a:off x="9682917" y="5758710"/>
            <a:ext cx="2145671" cy="10277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6D8B95A-EA83-4547-9B08-A0B3217B0C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6D8B95A-EA83-4547-9B08-A0B3217B0C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numéro de diapositive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14</a:t>
            </a:fld>
            <a:endParaRPr lang="fr-FR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4F8B02-35DA-4098-AAE8-8AE791E787B0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rgbClr val="2A9CA9"/>
          </a:solidFill>
        </p:spPr>
        <p:txBody>
          <a:bodyPr>
            <a:normAutofit/>
          </a:bodyPr>
          <a:lstStyle/>
          <a:p>
            <a:r>
              <a:rPr lang="fr-FR" sz="2400" dirty="0"/>
              <a:t>la e-prescription unifiée : MISE EN ŒUVRE </a:t>
            </a:r>
            <a:br>
              <a:rPr lang="fr-FR" sz="2400" dirty="0"/>
            </a:br>
            <a:r>
              <a:rPr lang="fr-FR" sz="2400" dirty="0"/>
              <a:t>D’UN Modèle COMMUN à TOUTES LES PRESCRIPTIONS</a:t>
            </a:r>
          </a:p>
        </p:txBody>
      </p:sp>
      <p:sp>
        <p:nvSpPr>
          <p:cNvPr id="12" name="Rectangle: Rounded Corners 47">
            <a:extLst>
              <a:ext uri="{FF2B5EF4-FFF2-40B4-BE49-F238E27FC236}">
                <a16:creationId xmlns:a16="http://schemas.microsoft.com/office/drawing/2014/main" id="{A36CCC83-D83F-40E9-A87B-84492B9E8EC6}"/>
              </a:ext>
            </a:extLst>
          </p:cNvPr>
          <p:cNvSpPr/>
          <p:nvPr/>
        </p:nvSpPr>
        <p:spPr>
          <a:xfrm>
            <a:off x="999634" y="2093324"/>
            <a:ext cx="10568480" cy="828001"/>
          </a:xfrm>
          <a:prstGeom prst="roundRect">
            <a:avLst>
              <a:gd name="adj" fmla="val 6951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975" lvl="1" indent="-180975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fr-FR" sz="1200" b="1" dirty="0">
                <a:solidFill>
                  <a:schemeClr val="tx1"/>
                </a:solidFill>
                <a:latin typeface="+mj-lt"/>
              </a:rPr>
              <a:t>D’ici fin 2024, le processus e-prescription concernera tous les prescripteurs et les prescrits</a:t>
            </a:r>
          </a:p>
          <a:p>
            <a:pPr marL="180975" lvl="1" indent="-180975">
              <a:spcBef>
                <a:spcPts val="600"/>
              </a:spcBef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fr-FR" sz="1200" b="1" dirty="0">
                <a:solidFill>
                  <a:schemeClr val="tx1"/>
                </a:solidFill>
                <a:latin typeface="+mj-lt"/>
              </a:rPr>
              <a:t>Nous devons déployer chez tous les prescripteurs </a:t>
            </a:r>
            <a:r>
              <a:rPr lang="fr-FR" sz="1100" dirty="0">
                <a:solidFill>
                  <a:schemeClr val="tx1"/>
                </a:solidFill>
                <a:latin typeface="+mj-lt"/>
              </a:rPr>
              <a:t>(libéraux ou salariés en établissement, en centre de santé…) </a:t>
            </a:r>
            <a:r>
              <a:rPr lang="fr-FR" sz="1200" b="1" dirty="0">
                <a:solidFill>
                  <a:schemeClr val="tx1"/>
                </a:solidFill>
                <a:latin typeface="+mj-lt"/>
              </a:rPr>
              <a:t>une solution de e-prescription </a:t>
            </a:r>
            <a:r>
              <a:rPr lang="fr-FR" sz="1100" dirty="0">
                <a:solidFill>
                  <a:schemeClr val="tx1"/>
                </a:solidFill>
                <a:latin typeface="+mj-lt"/>
              </a:rPr>
              <a:t>qui s’inscrive dès maintenant dans leurs logiciels métier et leurs processus</a:t>
            </a:r>
          </a:p>
        </p:txBody>
      </p:sp>
      <p:sp>
        <p:nvSpPr>
          <p:cNvPr id="7" name="Rectangle: Rounded Corners 22">
            <a:extLst>
              <a:ext uri="{FF2B5EF4-FFF2-40B4-BE49-F238E27FC236}">
                <a16:creationId xmlns:a16="http://schemas.microsoft.com/office/drawing/2014/main" id="{F13338FD-069A-4460-8F42-BA2C0E99EE9B}"/>
              </a:ext>
            </a:extLst>
          </p:cNvPr>
          <p:cNvSpPr/>
          <p:nvPr/>
        </p:nvSpPr>
        <p:spPr>
          <a:xfrm>
            <a:off x="1501397" y="3005654"/>
            <a:ext cx="10066716" cy="541229"/>
          </a:xfrm>
          <a:prstGeom prst="roundRect">
            <a:avLst>
              <a:gd name="adj" fmla="val 9859"/>
            </a:avLst>
          </a:prstGeom>
          <a:solidFill>
            <a:schemeClr val="bg1">
              <a:lumMod val="95000"/>
            </a:schemeClr>
          </a:solidFill>
          <a:ln>
            <a:solidFill>
              <a:srgbClr val="0C419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200" b="1" dirty="0">
                <a:solidFill>
                  <a:srgbClr val="0C419A"/>
                </a:solidFill>
                <a:latin typeface="Arial" panose="020B0604020202020204"/>
                <a:sym typeface="Wingdings" panose="05000000000000000000" pitchFamily="2" charset="2"/>
              </a:rPr>
              <a:t>P</a:t>
            </a:r>
            <a:r>
              <a:rPr lang="fr-FR" sz="1200" b="1" dirty="0">
                <a:solidFill>
                  <a:srgbClr val="0C419A"/>
                </a:solidFill>
                <a:latin typeface="Arial" panose="020B0604020202020204"/>
              </a:rPr>
              <a:t>rincipe de mettre en œuvre un modèle commun à toutes les prescriptions :</a:t>
            </a:r>
            <a:r>
              <a:rPr lang="fr-FR" sz="1200" b="1" dirty="0">
                <a:solidFill>
                  <a:srgbClr val="0C419A"/>
                </a:solidFill>
                <a:latin typeface="Arial" panose="020B0604020202020204"/>
                <a:sym typeface="Wingdings" panose="05000000000000000000" pitchFamily="2" charset="2"/>
              </a:rPr>
              <a:t> La </a:t>
            </a:r>
            <a:r>
              <a:rPr lang="fr-FR" sz="1200" b="1" dirty="0">
                <a:solidFill>
                  <a:srgbClr val="0C419A"/>
                </a:solidFill>
                <a:latin typeface="Arial" panose="020B0604020202020204"/>
              </a:rPr>
              <a:t>e-prescription unifiée.</a:t>
            </a: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fr-FR" sz="1200" b="1" dirty="0">
                <a:solidFill>
                  <a:srgbClr val="0C419A"/>
                </a:solidFill>
                <a:latin typeface="Arial" panose="020B0604020202020204"/>
              </a:rPr>
              <a:t>Ce modèle a été conçu en concertation avec les prescripteurs</a:t>
            </a:r>
          </a:p>
        </p:txBody>
      </p:sp>
      <p:pic>
        <p:nvPicPr>
          <p:cNvPr id="21" name="Graphic 20" descr="Rocket outline">
            <a:extLst>
              <a:ext uri="{FF2B5EF4-FFF2-40B4-BE49-F238E27FC236}">
                <a16:creationId xmlns:a16="http://schemas.microsoft.com/office/drawing/2014/main" id="{BC7A703C-86BD-4FDB-9D84-EE8BA9CF4E4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1170" y="1689997"/>
            <a:ext cx="318998" cy="318998"/>
          </a:xfrm>
          <a:prstGeom prst="rect">
            <a:avLst/>
          </a:prstGeom>
        </p:spPr>
      </p:pic>
      <p:pic>
        <p:nvPicPr>
          <p:cNvPr id="22" name="Graphic 21" descr="Arrow: Rotate left with solid fill">
            <a:extLst>
              <a:ext uri="{FF2B5EF4-FFF2-40B4-BE49-F238E27FC236}">
                <a16:creationId xmlns:a16="http://schemas.microsoft.com/office/drawing/2014/main" id="{B8C5996E-49A0-45A1-9192-1E59B111E02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6200000">
            <a:off x="960168" y="2921555"/>
            <a:ext cx="541228" cy="541228"/>
          </a:xfrm>
          <a:prstGeom prst="rect">
            <a:avLst/>
          </a:prstGeom>
        </p:spPr>
      </p:pic>
      <p:sp>
        <p:nvSpPr>
          <p:cNvPr id="24" name="TextBox 9">
            <a:extLst>
              <a:ext uri="{FF2B5EF4-FFF2-40B4-BE49-F238E27FC236}">
                <a16:creationId xmlns:a16="http://schemas.microsoft.com/office/drawing/2014/main" id="{A93AC903-074E-49A0-8C84-42438E619DB3}"/>
              </a:ext>
            </a:extLst>
          </p:cNvPr>
          <p:cNvSpPr txBox="1"/>
          <p:nvPr/>
        </p:nvSpPr>
        <p:spPr>
          <a:xfrm>
            <a:off x="999634" y="1689997"/>
            <a:ext cx="4193718" cy="318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15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fr-FR" sz="1400" b="1" dirty="0">
                <a:latin typeface="Arial" panose="020B0604020202020204"/>
              </a:rPr>
              <a:t>Démarrage terrain de la e-prescription unifiée</a:t>
            </a:r>
          </a:p>
        </p:txBody>
      </p:sp>
      <p:sp>
        <p:nvSpPr>
          <p:cNvPr id="27" name="TextBox 9">
            <a:extLst>
              <a:ext uri="{FF2B5EF4-FFF2-40B4-BE49-F238E27FC236}">
                <a16:creationId xmlns:a16="http://schemas.microsoft.com/office/drawing/2014/main" id="{0F41DF51-763B-46DE-9D06-0545E72533F6}"/>
              </a:ext>
            </a:extLst>
          </p:cNvPr>
          <p:cNvSpPr txBox="1"/>
          <p:nvPr/>
        </p:nvSpPr>
        <p:spPr>
          <a:xfrm>
            <a:off x="999634" y="3631212"/>
            <a:ext cx="4193717" cy="318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15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fr-FR" sz="1400" b="1" dirty="0">
                <a:latin typeface="Arial" panose="020B0604020202020204"/>
              </a:rPr>
              <a:t>La e-prescription unifiée permet :</a:t>
            </a:r>
          </a:p>
        </p:txBody>
      </p:sp>
      <p:sp>
        <p:nvSpPr>
          <p:cNvPr id="32" name="Rectangle: Rounded Corners 24">
            <a:extLst>
              <a:ext uri="{FF2B5EF4-FFF2-40B4-BE49-F238E27FC236}">
                <a16:creationId xmlns:a16="http://schemas.microsoft.com/office/drawing/2014/main" id="{6731BA0F-C128-41A1-A1EE-A2FAE7D671AD}"/>
              </a:ext>
            </a:extLst>
          </p:cNvPr>
          <p:cNvSpPr/>
          <p:nvPr/>
        </p:nvSpPr>
        <p:spPr>
          <a:xfrm>
            <a:off x="6316360" y="4034561"/>
            <a:ext cx="5251753" cy="1114817"/>
          </a:xfrm>
          <a:prstGeom prst="roundRect">
            <a:avLst>
              <a:gd name="adj" fmla="val 758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2563" marR="0" lvl="0" indent="-147638" algn="just" defTabSz="91440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sz="1200" b="1" dirty="0">
                <a:solidFill>
                  <a:srgbClr val="0C419A"/>
                </a:solidFill>
                <a:latin typeface="+mj-lt"/>
              </a:rPr>
              <a:t>À</a:t>
            </a: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tous les prescrits </a:t>
            </a:r>
            <a:r>
              <a:rPr kumimoji="0" lang="fr-FR" sz="1100" i="0" u="none" strike="noStrike" kern="1200" cap="none" spc="0" normalizeH="0" baseline="0" noProof="0" dirty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(hors transporteurs sanitaires)</a:t>
            </a:r>
            <a:r>
              <a:rPr kumimoji="0" lang="fr-FR" sz="1200" i="0" u="none" strike="noStrike" kern="1200" cap="none" spc="0" normalizeH="0" baseline="0" noProof="0" dirty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n</a:t>
            </a:r>
            <a:r>
              <a:rPr kumimoji="0" lang="fr-FR" sz="1200" b="1" i="0" u="none" strike="noStrike" kern="1200" cap="none" spc="0" normalizeH="0" noProof="0" dirty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commençant par les pharmaciens et les professionnels de la LPP </a:t>
            </a: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:</a:t>
            </a:r>
          </a:p>
          <a:p>
            <a:pPr marL="357188" lvl="1" indent="-174625" algn="just" eaLnBrk="0" fontAlgn="base" hangingPunct="0">
              <a:spcBef>
                <a:spcPts val="200"/>
              </a:spcBef>
              <a:spcAft>
                <a:spcPts val="200"/>
              </a:spcAft>
              <a:buFontTx/>
              <a:buChar char="-"/>
              <a:defRPr/>
            </a:pPr>
            <a:r>
              <a:rPr lang="fr-FR" sz="1100" dirty="0">
                <a:solidFill>
                  <a:srgbClr val="0C419A"/>
                </a:solidFill>
                <a:latin typeface="+mj-lt"/>
              </a:rPr>
              <a:t>De consulter, d’exécuter et d’intégrer la e-prescription dans leur logiciel métier,</a:t>
            </a:r>
          </a:p>
          <a:p>
            <a:pPr marL="357188" lvl="1" indent="-174625" algn="just" eaLnBrk="0" fontAlgn="base" hangingPunct="0">
              <a:spcBef>
                <a:spcPts val="200"/>
              </a:spcBef>
              <a:spcAft>
                <a:spcPts val="200"/>
              </a:spcAft>
              <a:buFontTx/>
              <a:buChar char="-"/>
              <a:defRPr/>
            </a:pPr>
            <a:r>
              <a:rPr lang="fr-FR" sz="1100" dirty="0">
                <a:solidFill>
                  <a:srgbClr val="0C419A"/>
                </a:solidFill>
                <a:latin typeface="+mj-lt"/>
              </a:rPr>
              <a:t>De simplifier le traitement des Pièces Justificatives.</a:t>
            </a:r>
          </a:p>
        </p:txBody>
      </p:sp>
      <p:sp>
        <p:nvSpPr>
          <p:cNvPr id="33" name="Rectangle: Rounded Corners 24">
            <a:extLst>
              <a:ext uri="{FF2B5EF4-FFF2-40B4-BE49-F238E27FC236}">
                <a16:creationId xmlns:a16="http://schemas.microsoft.com/office/drawing/2014/main" id="{F0187555-CEE2-419E-9C70-23B4D22BDA89}"/>
              </a:ext>
            </a:extLst>
          </p:cNvPr>
          <p:cNvSpPr/>
          <p:nvPr/>
        </p:nvSpPr>
        <p:spPr>
          <a:xfrm>
            <a:off x="999633" y="4034539"/>
            <a:ext cx="5251753" cy="1114817"/>
          </a:xfrm>
          <a:prstGeom prst="roundRect">
            <a:avLst>
              <a:gd name="adj" fmla="val 758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2563" marR="0" lvl="0" indent="-147638" algn="just" defTabSz="91440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82563" algn="l"/>
              </a:tabLst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ux prescripteurs </a:t>
            </a: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(libéraux ou salariés en établissement, en centre de santé…) </a:t>
            </a: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e tout prescrire en e-prescription</a:t>
            </a: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:</a:t>
            </a:r>
          </a:p>
          <a:p>
            <a:pPr marL="357188" marR="0" lvl="1" indent="-174625" algn="just" defTabSz="914400" rtl="0" eaLnBrk="0" fontAlgn="base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Char char="-"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es médicaments de manière codifiée (comme dans l’expérimentation),</a:t>
            </a:r>
          </a:p>
          <a:p>
            <a:pPr marL="357188" marR="0" lvl="1" indent="-174625" algn="just" defTabSz="914400" rtl="0" eaLnBrk="0" fontAlgn="base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Char char="-"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’ensemble des dispositifs médicaux (DM), </a:t>
            </a:r>
          </a:p>
          <a:p>
            <a:pPr marL="357188" marR="0" lvl="1" indent="-174625" algn="just" defTabSz="914400" rtl="0" eaLnBrk="0" fontAlgn="base" latinLnBrk="0" hangingPunc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Char char="-"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ous les autres actes en format texte libre dans l’attente d’une codification.</a:t>
            </a:r>
          </a:p>
        </p:txBody>
      </p:sp>
      <p:pic>
        <p:nvPicPr>
          <p:cNvPr id="36" name="Graphic 56" descr="Chevron arrows outline">
            <a:extLst>
              <a:ext uri="{FF2B5EF4-FFF2-40B4-BE49-F238E27FC236}">
                <a16:creationId xmlns:a16="http://schemas.microsoft.com/office/drawing/2014/main" id="{8A9770CD-F668-4D14-BE82-9319D76E52A4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41170" y="3631212"/>
            <a:ext cx="318998" cy="318998"/>
          </a:xfrm>
          <a:prstGeom prst="rect">
            <a:avLst/>
          </a:prstGeom>
        </p:spPr>
      </p:pic>
      <p:sp>
        <p:nvSpPr>
          <p:cNvPr id="16" name="TextBox 39">
            <a:extLst>
              <a:ext uri="{FF2B5EF4-FFF2-40B4-BE49-F238E27FC236}">
                <a16:creationId xmlns:a16="http://schemas.microsoft.com/office/drawing/2014/main" id="{6FE3D40D-2D09-4A4E-A50F-862136C36CFE}"/>
              </a:ext>
            </a:extLst>
          </p:cNvPr>
          <p:cNvSpPr txBox="1"/>
          <p:nvPr/>
        </p:nvSpPr>
        <p:spPr>
          <a:xfrm>
            <a:off x="9422442" y="6465015"/>
            <a:ext cx="2145671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800" i="1" dirty="0">
                <a:solidFill>
                  <a:srgbClr val="464646"/>
                </a:solidFill>
              </a:rPr>
              <a:t>* Indicateur optionnel      **Indicateur socle</a:t>
            </a:r>
            <a:endParaRPr lang="fr-FR" sz="800" dirty="0">
              <a:solidFill>
                <a:srgbClr val="464646"/>
              </a:solidFill>
            </a:endParaRPr>
          </a:p>
        </p:txBody>
      </p:sp>
      <p:pic>
        <p:nvPicPr>
          <p:cNvPr id="34" name="Graphic 33" descr="Bullseye outline">
            <a:extLst>
              <a:ext uri="{FF2B5EF4-FFF2-40B4-BE49-F238E27FC236}">
                <a16:creationId xmlns:a16="http://schemas.microsoft.com/office/drawing/2014/main" id="{86AE3828-385B-45DA-9D70-793653F7684B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41169" y="5239186"/>
            <a:ext cx="318999" cy="318999"/>
          </a:xfrm>
          <a:prstGeom prst="rect">
            <a:avLst/>
          </a:prstGeom>
        </p:spPr>
      </p:pic>
      <p:sp>
        <p:nvSpPr>
          <p:cNvPr id="37" name="TextBox 9">
            <a:extLst>
              <a:ext uri="{FF2B5EF4-FFF2-40B4-BE49-F238E27FC236}">
                <a16:creationId xmlns:a16="http://schemas.microsoft.com/office/drawing/2014/main" id="{46D3BB5C-B997-4F15-AFF3-112D32729852}"/>
              </a:ext>
            </a:extLst>
          </p:cNvPr>
          <p:cNvSpPr txBox="1"/>
          <p:nvPr/>
        </p:nvSpPr>
        <p:spPr>
          <a:xfrm>
            <a:off x="999634" y="5233685"/>
            <a:ext cx="5251753" cy="318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15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fr-FR" sz="1400" b="1" dirty="0">
                <a:latin typeface="Arial" panose="020B0604020202020204"/>
              </a:rPr>
              <a:t>Rappel des objectifs fixés dans le cadre des conventions</a:t>
            </a:r>
          </a:p>
        </p:txBody>
      </p:sp>
      <p:sp>
        <p:nvSpPr>
          <p:cNvPr id="38" name="Rectangle: Rounded Corners 47">
            <a:extLst>
              <a:ext uri="{FF2B5EF4-FFF2-40B4-BE49-F238E27FC236}">
                <a16:creationId xmlns:a16="http://schemas.microsoft.com/office/drawing/2014/main" id="{6E36B7AB-A178-4E46-AADF-06957D6BD33E}"/>
              </a:ext>
            </a:extLst>
          </p:cNvPr>
          <p:cNvSpPr/>
          <p:nvPr/>
        </p:nvSpPr>
        <p:spPr>
          <a:xfrm>
            <a:off x="999634" y="5637014"/>
            <a:ext cx="10568479" cy="828001"/>
          </a:xfrm>
          <a:prstGeom prst="roundRect">
            <a:avLst>
              <a:gd name="adj" fmla="val 6951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fr-FR" sz="1200" b="1" dirty="0">
                <a:solidFill>
                  <a:schemeClr val="tx1"/>
                </a:solidFill>
                <a:latin typeface="+mj-lt"/>
              </a:rPr>
              <a:t>Pour les centres de santé </a:t>
            </a:r>
            <a:r>
              <a:rPr lang="fr-FR" sz="1100" dirty="0">
                <a:solidFill>
                  <a:schemeClr val="tx1"/>
                </a:solidFill>
                <a:latin typeface="+mj-lt"/>
              </a:rPr>
              <a:t>(avenant 4 à l’accord national) </a:t>
            </a:r>
            <a:r>
              <a:rPr lang="fr-FR" sz="1200" dirty="0">
                <a:solidFill>
                  <a:schemeClr val="tx1"/>
                </a:solidFill>
                <a:latin typeface="+mj-lt"/>
              </a:rPr>
              <a:t>et pour les </a:t>
            </a:r>
            <a:r>
              <a:rPr lang="fr-FR" sz="1200" b="1" dirty="0">
                <a:solidFill>
                  <a:schemeClr val="tx1"/>
                </a:solidFill>
                <a:latin typeface="+mj-lt"/>
              </a:rPr>
              <a:t>médecins libéraux </a:t>
            </a:r>
            <a:r>
              <a:rPr lang="fr-FR" sz="1100" dirty="0">
                <a:solidFill>
                  <a:schemeClr val="tx1"/>
                </a:solidFill>
                <a:latin typeface="+mj-lt"/>
              </a:rPr>
              <a:t>(avenant 9) : </a:t>
            </a:r>
            <a:r>
              <a:rPr lang="fr-FR" sz="1200" b="1" dirty="0">
                <a:solidFill>
                  <a:schemeClr val="tx1"/>
                </a:solidFill>
                <a:latin typeface="+mj-lt"/>
              </a:rPr>
              <a:t>*50% des prescriptions de produits de santé établies en e-prescriptions </a:t>
            </a:r>
            <a:r>
              <a:rPr lang="fr-FR" sz="1100" dirty="0">
                <a:solidFill>
                  <a:schemeClr val="tx1"/>
                </a:solidFill>
                <a:latin typeface="+mj-lt"/>
              </a:rPr>
              <a:t>(à fin 2023)</a:t>
            </a:r>
          </a:p>
          <a:p>
            <a:pPr marL="171450" indent="-1714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fr-FR" sz="1200" b="1" dirty="0">
                <a:solidFill>
                  <a:schemeClr val="tx1"/>
                </a:solidFill>
                <a:latin typeface="+mj-lt"/>
              </a:rPr>
              <a:t>Pour les pharmaciens </a:t>
            </a:r>
            <a:r>
              <a:rPr lang="fr-FR" sz="1100" dirty="0">
                <a:solidFill>
                  <a:schemeClr val="tx1"/>
                </a:solidFill>
                <a:latin typeface="+mj-lt"/>
              </a:rPr>
              <a:t>(nouvelle convention pharmaceutique signée le 9 mars 2022) : </a:t>
            </a:r>
            <a:r>
              <a:rPr lang="fr-FR" sz="1200" b="1" dirty="0">
                <a:solidFill>
                  <a:schemeClr val="tx1"/>
                </a:solidFill>
                <a:latin typeface="+mj-lt"/>
              </a:rPr>
              <a:t>*35 % des prescriptions exécutées via le processus </a:t>
            </a:r>
            <a:br>
              <a:rPr lang="fr-FR" sz="1200" b="1" dirty="0">
                <a:solidFill>
                  <a:schemeClr val="tx1"/>
                </a:solidFill>
                <a:latin typeface="+mj-lt"/>
              </a:rPr>
            </a:br>
            <a:r>
              <a:rPr lang="fr-FR" sz="1200" b="1" dirty="0">
                <a:solidFill>
                  <a:schemeClr val="tx1"/>
                </a:solidFill>
                <a:latin typeface="+mj-lt"/>
              </a:rPr>
              <a:t>e-prescription </a:t>
            </a:r>
            <a:r>
              <a:rPr lang="fr-FR" sz="1100" dirty="0">
                <a:solidFill>
                  <a:schemeClr val="tx1"/>
                </a:solidFill>
                <a:latin typeface="+mj-lt"/>
              </a:rPr>
              <a:t>(à fin 2023) et </a:t>
            </a:r>
            <a:r>
              <a:rPr lang="fr-FR" sz="1200" b="1" dirty="0">
                <a:solidFill>
                  <a:schemeClr val="tx1"/>
                </a:solidFill>
                <a:latin typeface="+mj-lt"/>
              </a:rPr>
              <a:t>**70% des délivrances sur prescription réalisée par un professionnel de santé exerçant en ville </a:t>
            </a:r>
            <a:r>
              <a:rPr lang="fr-FR" sz="1100" dirty="0">
                <a:solidFill>
                  <a:schemeClr val="tx1"/>
                </a:solidFill>
                <a:latin typeface="+mj-lt"/>
              </a:rPr>
              <a:t>(à fin 2024)</a:t>
            </a:r>
          </a:p>
        </p:txBody>
      </p:sp>
    </p:spTree>
    <p:extLst>
      <p:ext uri="{BB962C8B-B14F-4D97-AF65-F5344CB8AC3E}">
        <p14:creationId xmlns:p14="http://schemas.microsoft.com/office/powerpoint/2010/main" val="20141530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6D8B95A-EA83-4547-9B08-A0B3217B0C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6D8B95A-EA83-4547-9B08-A0B3217B0C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numéro de diapositive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15</a:t>
            </a:fld>
            <a:endParaRPr lang="fr-FR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4F8B02-35DA-4098-AAE8-8AE791E787B0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rgbClr val="2A9CA9"/>
          </a:solidFill>
        </p:spPr>
        <p:txBody>
          <a:bodyPr>
            <a:normAutofit/>
          </a:bodyPr>
          <a:lstStyle/>
          <a:p>
            <a:r>
              <a:rPr lang="fr-FR" sz="2400" dirty="0"/>
              <a:t>Rappel sur les DM : Définitions et application au contexte de l’expérimentation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B96896D1-7070-4FD3-8181-AF4A71102055}"/>
              </a:ext>
            </a:extLst>
          </p:cNvPr>
          <p:cNvSpPr/>
          <p:nvPr/>
        </p:nvSpPr>
        <p:spPr>
          <a:xfrm>
            <a:off x="851026" y="2179469"/>
            <a:ext cx="10717087" cy="2398377"/>
          </a:xfrm>
          <a:prstGeom prst="roundRect">
            <a:avLst>
              <a:gd name="adj" fmla="val 758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442913" indent="-171450" fontAlgn="base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prstClr val="black"/>
                </a:solidFill>
                <a:latin typeface="Calibri"/>
              </a:rPr>
              <a:t>Les </a:t>
            </a:r>
            <a:r>
              <a:rPr lang="fr-FR" sz="1200" b="1" dirty="0">
                <a:solidFill>
                  <a:prstClr val="black"/>
                </a:solidFill>
                <a:latin typeface="Calibri"/>
              </a:rPr>
              <a:t>dispositifs médicaux </a:t>
            </a:r>
            <a:r>
              <a:rPr lang="fr-FR" sz="1200" dirty="0">
                <a:solidFill>
                  <a:prstClr val="black"/>
                </a:solidFill>
                <a:latin typeface="Calibri"/>
              </a:rPr>
              <a:t>(DM) définis par le code de la santé publique comme tout instrument, appareil, produit, etc. destiné à être utilisé chez l'homme à des fins médicales et dont l'action principale n'est pas obtenue par des moyens pharmacologiques (article L.5211-1 du CSP)</a:t>
            </a:r>
          </a:p>
          <a:p>
            <a:pPr marL="442913" indent="-171450" fontAlgn="base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prstClr val="black"/>
                </a:solidFill>
                <a:latin typeface="Calibri"/>
              </a:rPr>
              <a:t>La </a:t>
            </a:r>
            <a:r>
              <a:rPr lang="fr-FR" sz="1200" b="1" dirty="0">
                <a:solidFill>
                  <a:prstClr val="black"/>
                </a:solidFill>
                <a:latin typeface="Calibri"/>
              </a:rPr>
              <a:t>LPPR</a:t>
            </a:r>
            <a:r>
              <a:rPr lang="fr-FR" sz="1200" dirty="0">
                <a:solidFill>
                  <a:prstClr val="black"/>
                </a:solidFill>
                <a:latin typeface="Calibri"/>
              </a:rPr>
              <a:t> (Liste des Prestations et Produits de santé Remboursables) (aussi appelée LPP) : nomenclature répertoriant les seuls dispositifs médicaux remboursables par l'Assurance Maladie</a:t>
            </a:r>
          </a:p>
          <a:p>
            <a:pPr marL="442913" indent="-171450" fontAlgn="base">
              <a:spcBef>
                <a:spcPts val="400"/>
              </a:spcBef>
              <a:spcAft>
                <a:spcPts val="400"/>
              </a:spcAft>
            </a:pPr>
            <a:r>
              <a:rPr lang="fr-FR" sz="1200" dirty="0">
                <a:solidFill>
                  <a:prstClr val="black"/>
                </a:solidFill>
                <a:latin typeface="Calibri"/>
              </a:rPr>
              <a:t>La e-prescription peut ainsi contenir des DM qui peuvent être :</a:t>
            </a:r>
          </a:p>
          <a:p>
            <a:pPr marL="442913" indent="-171450" fontAlgn="base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r>
              <a:rPr lang="fr-FR" sz="1200" b="1" dirty="0">
                <a:solidFill>
                  <a:prstClr val="black"/>
                </a:solidFill>
                <a:latin typeface="Calibri"/>
              </a:rPr>
              <a:t>Inscrits à la LPPR </a:t>
            </a:r>
            <a:r>
              <a:rPr lang="fr-FR" sz="1200" dirty="0">
                <a:solidFill>
                  <a:prstClr val="black"/>
                </a:solidFill>
                <a:latin typeface="Calibri"/>
              </a:rPr>
              <a:t>et donc donner lieu à prise en charge par l’assurance maladie</a:t>
            </a:r>
          </a:p>
          <a:p>
            <a:pPr marL="442913" indent="-171450" fontAlgn="base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r>
              <a:rPr lang="fr-FR" sz="1200" b="1" dirty="0">
                <a:solidFill>
                  <a:prstClr val="black"/>
                </a:solidFill>
                <a:latin typeface="Calibri"/>
              </a:rPr>
              <a:t>Hors LPPR </a:t>
            </a:r>
            <a:r>
              <a:rPr lang="fr-FR" sz="1200" dirty="0">
                <a:solidFill>
                  <a:prstClr val="black"/>
                </a:solidFill>
                <a:latin typeface="Calibri"/>
              </a:rPr>
              <a:t>et en conséquence, ne pas donner lieu à prise en charge par l’assurance maladie (exemple prescription sur une même ordonnance d’un tire-lait (remboursable) et d’un coussin d’allaitement (non inscrit à la LPPR)</a:t>
            </a:r>
          </a:p>
          <a:p>
            <a:pPr marL="442913" indent="-171450" fontAlgn="base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r>
              <a:rPr lang="fr-FR" sz="1200" b="1" dirty="0">
                <a:solidFill>
                  <a:prstClr val="black"/>
                </a:solidFill>
                <a:latin typeface="Calibri"/>
              </a:rPr>
              <a:t>Être pris en charge dans certaines indications </a:t>
            </a:r>
            <a:r>
              <a:rPr lang="fr-FR" sz="1200" dirty="0">
                <a:solidFill>
                  <a:prstClr val="black"/>
                </a:solidFill>
                <a:latin typeface="Calibri"/>
              </a:rPr>
              <a:t>(exemple lentilles prises en charge selon le degré de myopie)</a:t>
            </a:r>
          </a:p>
          <a:p>
            <a:pPr fontAlgn="base">
              <a:spcBef>
                <a:spcPts val="400"/>
              </a:spcBef>
              <a:spcAft>
                <a:spcPts val="400"/>
              </a:spcAft>
            </a:pPr>
            <a:endParaRPr lang="fr-FR" sz="1200" dirty="0">
              <a:solidFill>
                <a:prstClr val="black"/>
              </a:solidFill>
              <a:latin typeface="Calibri"/>
            </a:endParaRPr>
          </a:p>
          <a:p>
            <a:pPr fontAlgn="base">
              <a:spcBef>
                <a:spcPts val="400"/>
              </a:spcBef>
              <a:spcAft>
                <a:spcPts val="400"/>
              </a:spcAft>
            </a:pPr>
            <a:endParaRPr lang="fr-FR" sz="1200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25" name="Graphic 24" descr="Flask">
            <a:extLst>
              <a:ext uri="{FF2B5EF4-FFF2-40B4-BE49-F238E27FC236}">
                <a16:creationId xmlns:a16="http://schemas.microsoft.com/office/drawing/2014/main" id="{9E26E3C2-C3C9-4754-90EF-0E000B7A67F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03408" y="4543206"/>
            <a:ext cx="549333" cy="549333"/>
          </a:xfrm>
          <a:prstGeom prst="rect">
            <a:avLst/>
          </a:prstGeom>
        </p:spPr>
      </p:pic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2847483D-F198-4DA0-BE47-6BAD9C6E41F5}"/>
              </a:ext>
            </a:extLst>
          </p:cNvPr>
          <p:cNvSpPr/>
          <p:nvPr/>
        </p:nvSpPr>
        <p:spPr>
          <a:xfrm>
            <a:off x="1291161" y="4687793"/>
            <a:ext cx="10290105" cy="331010"/>
          </a:xfrm>
          <a:prstGeom prst="roundRect">
            <a:avLst>
              <a:gd name="adj" fmla="val 7589"/>
            </a:avLst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ts val="200"/>
              </a:spcBef>
              <a:spcAft>
                <a:spcPts val="200"/>
              </a:spcAft>
            </a:pPr>
            <a:r>
              <a:rPr lang="fr-FR" sz="1400" b="1" dirty="0">
                <a:solidFill>
                  <a:prstClr val="white"/>
                </a:solidFill>
                <a:latin typeface="Calibri"/>
              </a:rPr>
              <a:t>La prescription de DM dans le cadre de l’expérimentation</a:t>
            </a:r>
            <a:r>
              <a:rPr lang="fr-FR" sz="1400" dirty="0">
                <a:solidFill>
                  <a:prstClr val="black"/>
                </a:solidFill>
                <a:latin typeface="Calibri"/>
              </a:rPr>
              <a:t>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35FE663-E431-4B1C-8B53-CB6485FA5684}"/>
              </a:ext>
            </a:extLst>
          </p:cNvPr>
          <p:cNvSpPr/>
          <p:nvPr/>
        </p:nvSpPr>
        <p:spPr>
          <a:xfrm>
            <a:off x="1813465" y="5790236"/>
            <a:ext cx="8877947" cy="5386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ts val="300"/>
              </a:spcBef>
              <a:spcAft>
                <a:spcPts val="300"/>
              </a:spcAft>
              <a:defRPr/>
            </a:pPr>
            <a:r>
              <a:rPr lang="fr-FR" sz="1200" dirty="0">
                <a:solidFill>
                  <a:prstClr val="black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a codification des DM est assez détaillée pour qu’ils soient prescrits et délivrés selon les critères fixés dans le cadre de l’expérimentation </a:t>
            </a:r>
          </a:p>
          <a:p>
            <a:pPr fontAlgn="base">
              <a:spcBef>
                <a:spcPts val="300"/>
              </a:spcBef>
              <a:spcAft>
                <a:spcPts val="300"/>
              </a:spcAft>
              <a:defRPr/>
            </a:pPr>
            <a:r>
              <a:rPr lang="fr-FR" sz="1200" dirty="0">
                <a:solidFill>
                  <a:prstClr val="black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Ils sont principalement délivrés en pharmacie</a:t>
            </a:r>
          </a:p>
        </p:txBody>
      </p:sp>
      <p:pic>
        <p:nvPicPr>
          <p:cNvPr id="30" name="Graphic 29" descr="Right pointing backhand index">
            <a:extLst>
              <a:ext uri="{FF2B5EF4-FFF2-40B4-BE49-F238E27FC236}">
                <a16:creationId xmlns:a16="http://schemas.microsoft.com/office/drawing/2014/main" id="{407C2428-B9EB-4F7B-BA2F-FD5140AF55A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500588" y="5782010"/>
            <a:ext cx="307777" cy="307777"/>
          </a:xfrm>
          <a:prstGeom prst="rect">
            <a:avLst/>
          </a:prstGeom>
        </p:spPr>
      </p:pic>
      <p:pic>
        <p:nvPicPr>
          <p:cNvPr id="31" name="Graphic 30" descr="Right pointing backhand index">
            <a:extLst>
              <a:ext uri="{FF2B5EF4-FFF2-40B4-BE49-F238E27FC236}">
                <a16:creationId xmlns:a16="http://schemas.microsoft.com/office/drawing/2014/main" id="{54C5CC48-8443-459F-850C-F7825E4F6A3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500588" y="6055428"/>
            <a:ext cx="307777" cy="307777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E9F5A59D-905A-4059-AF83-AD0FB70FEB8F}"/>
              </a:ext>
            </a:extLst>
          </p:cNvPr>
          <p:cNvSpPr/>
          <p:nvPr/>
        </p:nvSpPr>
        <p:spPr>
          <a:xfrm>
            <a:off x="1304313" y="5112938"/>
            <a:ext cx="10263799" cy="8822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ts val="200"/>
              </a:spcBef>
              <a:spcAft>
                <a:spcPts val="200"/>
              </a:spcAft>
            </a:pPr>
            <a:r>
              <a:rPr lang="fr-FR" sz="1200" b="1" dirty="0">
                <a:solidFill>
                  <a:prstClr val="black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es dispositifs médicaux inclus dans le périmètre de l’expérimentation e-prescription sont limités à une liste restreinte</a:t>
            </a:r>
            <a:r>
              <a:rPr lang="fr-FR" sz="1200" dirty="0">
                <a:solidFill>
                  <a:prstClr val="black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br>
              <a:rPr lang="fr-FR" sz="1200" dirty="0">
                <a:solidFill>
                  <a:prstClr val="black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fr-FR" sz="1200" dirty="0">
                <a:solidFill>
                  <a:prstClr val="black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(environ 1 900 DM correspondant aux DM dans le domaine du diabète et articles pour pansements – Titre 1)</a:t>
            </a:r>
            <a:br>
              <a:rPr lang="fr-FR" sz="1200" dirty="0">
                <a:solidFill>
                  <a:prstClr val="black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fr-FR" sz="1200" dirty="0">
                <a:solidFill>
                  <a:prstClr val="black">
                    <a:lumMod val="95000"/>
                    <a:lumOff val="5000"/>
                  </a:prstClr>
                </a:solidFill>
                <a:latin typeface="Calibri (body)"/>
                <a:cs typeface="Arial" panose="020B0604020202020204" pitchFamily="34" charset="0"/>
              </a:rPr>
              <a:t>Pour rappel</a:t>
            </a:r>
            <a:r>
              <a:rPr lang="fr-FR" sz="1200" dirty="0">
                <a:solidFill>
                  <a:prstClr val="black">
                    <a:lumMod val="95000"/>
                    <a:lumOff val="5000"/>
                  </a:prst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, ces DM </a:t>
            </a:r>
            <a:r>
              <a:rPr lang="fr-FR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ont été retenus dans le périmètre actuel car :</a:t>
            </a:r>
          </a:p>
          <a:p>
            <a:pPr algn="just" fontAlgn="base">
              <a:spcBef>
                <a:spcPts val="200"/>
              </a:spcBef>
              <a:spcAft>
                <a:spcPts val="200"/>
              </a:spcAft>
            </a:pPr>
            <a:endParaRPr lang="fr-FR" sz="1200" dirty="0">
              <a:solidFill>
                <a:prstClr val="black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BAC39BCB-3647-4D0A-8E36-C8BEBD1EC93C}"/>
              </a:ext>
            </a:extLst>
          </p:cNvPr>
          <p:cNvSpPr/>
          <p:nvPr/>
        </p:nvSpPr>
        <p:spPr>
          <a:xfrm>
            <a:off x="1291161" y="1759641"/>
            <a:ext cx="10276952" cy="331010"/>
          </a:xfrm>
          <a:prstGeom prst="roundRect">
            <a:avLst>
              <a:gd name="adj" fmla="val 7589"/>
            </a:avLst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ts val="200"/>
              </a:spcBef>
              <a:spcAft>
                <a:spcPts val="200"/>
              </a:spcAft>
            </a:pPr>
            <a:r>
              <a:rPr lang="fr-FR" sz="1400" b="1" dirty="0">
                <a:solidFill>
                  <a:prstClr val="white"/>
                </a:solidFill>
                <a:latin typeface="Calibri"/>
              </a:rPr>
              <a:t>Définitions</a:t>
            </a:r>
            <a:endParaRPr lang="fr-FR" sz="1400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41" name="Graphic 40" descr="Books">
            <a:extLst>
              <a:ext uri="{FF2B5EF4-FFF2-40B4-BE49-F238E27FC236}">
                <a16:creationId xmlns:a16="http://schemas.microsoft.com/office/drawing/2014/main" id="{55592258-B04B-4C98-BFCA-99F832227EF3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03407" y="1710820"/>
            <a:ext cx="485224" cy="485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37996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6D8B95A-EA83-4547-9B08-A0B3217B0C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6D8B95A-EA83-4547-9B08-A0B3217B0C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numéro de diapositive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16</a:t>
            </a:fld>
            <a:endParaRPr lang="fr-FR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4F8B02-35DA-4098-AAE8-8AE791E787B0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rgbClr val="2A9CA9"/>
          </a:solidFill>
        </p:spPr>
        <p:txBody>
          <a:bodyPr>
            <a:normAutofit/>
          </a:bodyPr>
          <a:lstStyle/>
          <a:p>
            <a:r>
              <a:rPr lang="fr-FR" sz="2400" dirty="0"/>
              <a:t>La prescription de DM dans le cadre de l’Ordonnance Numérique unifiée – 1 sur 3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280B9D4-BC45-4682-B60F-1C0A5099FFD7}"/>
              </a:ext>
            </a:extLst>
          </p:cNvPr>
          <p:cNvSpPr txBox="1"/>
          <p:nvPr/>
        </p:nvSpPr>
        <p:spPr>
          <a:xfrm>
            <a:off x="1418779" y="2289667"/>
            <a:ext cx="88205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z="1400" dirty="0">
                <a:solidFill>
                  <a:prstClr val="black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es logiciels permettront aux prescripteurs de continuer à </a:t>
            </a:r>
            <a:r>
              <a:rPr lang="fr-FR" sz="1400" b="1" dirty="0">
                <a:solidFill>
                  <a:prstClr val="black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réaliser leurs prescriptions comme aujourd’hui* </a:t>
            </a:r>
            <a:r>
              <a:rPr lang="fr-FR" sz="1400" dirty="0">
                <a:solidFill>
                  <a:prstClr val="black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: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883FAF3-62B7-49D3-8F10-44D0AC2E8FF2}"/>
              </a:ext>
            </a:extLst>
          </p:cNvPr>
          <p:cNvSpPr/>
          <p:nvPr/>
        </p:nvSpPr>
        <p:spPr>
          <a:xfrm>
            <a:off x="1418780" y="2573924"/>
            <a:ext cx="7432099" cy="19082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 fontAlgn="base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fr-FR" sz="1400" b="1" dirty="0">
                <a:solidFill>
                  <a:prstClr val="black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Recherche par mots-clés</a:t>
            </a:r>
          </a:p>
          <a:p>
            <a:pPr marL="285750" indent="-285750" algn="just" fontAlgn="base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fr-FR" sz="1400" b="1" dirty="0">
                <a:solidFill>
                  <a:prstClr val="black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Utilisation de modèles </a:t>
            </a:r>
            <a:r>
              <a:rPr lang="fr-FR" sz="1400" dirty="0">
                <a:solidFill>
                  <a:prstClr val="black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de prescription de DM</a:t>
            </a:r>
          </a:p>
          <a:p>
            <a:pPr marL="285750" indent="-285750" algn="just" fontAlgn="base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fr-FR" sz="1400" b="1" dirty="0">
                <a:solidFill>
                  <a:prstClr val="black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rise en compte des préférences du prescripteur</a:t>
            </a:r>
          </a:p>
          <a:p>
            <a:pPr marL="285750" indent="-285750" algn="just" fontAlgn="base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fr-FR" sz="1400" dirty="0">
                <a:solidFill>
                  <a:prstClr val="black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Rédaction de la </a:t>
            </a:r>
            <a:r>
              <a:rPr lang="fr-FR" sz="1400" b="1" dirty="0">
                <a:solidFill>
                  <a:prstClr val="black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rescription en texte libre</a:t>
            </a:r>
          </a:p>
          <a:p>
            <a:pPr marL="285750" indent="-285750" algn="just" fontAlgn="base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fr-FR" sz="1400" b="1" dirty="0">
                <a:solidFill>
                  <a:prstClr val="black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rescription d’un DM « générique » </a:t>
            </a:r>
            <a:r>
              <a:rPr lang="fr-FR" sz="1400" dirty="0">
                <a:solidFill>
                  <a:prstClr val="black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(sans nom de marque)</a:t>
            </a:r>
          </a:p>
          <a:p>
            <a:pPr marL="285750" indent="-285750" algn="just" fontAlgn="base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fr-FR" sz="1400" b="1" dirty="0">
                <a:solidFill>
                  <a:prstClr val="black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rescription d’un DM d’une marque en particulier</a:t>
            </a:r>
          </a:p>
          <a:p>
            <a:pPr marL="285750" indent="-285750" algn="just" fontAlgn="base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fr-FR" sz="1400" b="1" dirty="0">
                <a:solidFill>
                  <a:prstClr val="black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ransmission d’un ou plusieurs codes dans la e-prescription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13A6F516-B489-4157-82CA-433CE5976BC3}"/>
              </a:ext>
            </a:extLst>
          </p:cNvPr>
          <p:cNvSpPr/>
          <p:nvPr/>
        </p:nvSpPr>
        <p:spPr>
          <a:xfrm>
            <a:off x="1622165" y="6270745"/>
            <a:ext cx="828092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z="1200" i="1" dirty="0">
                <a:solidFill>
                  <a:prstClr val="black">
                    <a:lumMod val="95000"/>
                    <a:lumOff val="5000"/>
                  </a:prst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* Réalisation d’une enquête auprès des éditeurs de logiciels pour connaître les pratiques terrain en matière de prescription de DM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47CB2B6F-E5EF-49D1-9169-8B2D5606C809}"/>
              </a:ext>
            </a:extLst>
          </p:cNvPr>
          <p:cNvSpPr/>
          <p:nvPr/>
        </p:nvSpPr>
        <p:spPr>
          <a:xfrm>
            <a:off x="1291161" y="1742368"/>
            <a:ext cx="10276952" cy="485223"/>
          </a:xfrm>
          <a:prstGeom prst="roundRect">
            <a:avLst>
              <a:gd name="adj" fmla="val 7589"/>
            </a:avLst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ès 2020, la e-prescription étend son périmètre à l’ensemble des DM et concerne les pharmaciens et les professionnels de la LPP</a:t>
            </a: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n tenant compte des nouvelles dispositions réglementaires concernant l’identification individuelle des dispositifs médicaux.</a:t>
            </a:r>
          </a:p>
        </p:txBody>
      </p:sp>
      <p:pic>
        <p:nvPicPr>
          <p:cNvPr id="43" name="Graphic 42" descr="Bullseye">
            <a:extLst>
              <a:ext uri="{FF2B5EF4-FFF2-40B4-BE49-F238E27FC236}">
                <a16:creationId xmlns:a16="http://schemas.microsoft.com/office/drawing/2014/main" id="{49221075-2A31-4E26-A904-50C8AFBD964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03407" y="1742368"/>
            <a:ext cx="485224" cy="485224"/>
          </a:xfrm>
          <a:prstGeom prst="rect">
            <a:avLst/>
          </a:prstGeom>
        </p:spPr>
      </p:pic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C0343281-996F-4967-8863-A652B8C13118}"/>
              </a:ext>
            </a:extLst>
          </p:cNvPr>
          <p:cNvSpPr/>
          <p:nvPr/>
        </p:nvSpPr>
        <p:spPr>
          <a:xfrm>
            <a:off x="1291161" y="4588454"/>
            <a:ext cx="10276952" cy="485223"/>
          </a:xfrm>
          <a:prstGeom prst="roundRect">
            <a:avLst>
              <a:gd name="adj" fmla="val 7589"/>
            </a:avLst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es logiciels côté prescrits (Pharmaciens ou Professionnels de la LPP) </a:t>
            </a:r>
            <a:r>
              <a:rPr lang="fr-FR" sz="1400" b="1" kern="0" dirty="0">
                <a:solidFill>
                  <a:prstClr val="white"/>
                </a:solidFill>
                <a:latin typeface="Calibri" panose="020F0502020204030204" pitchFamily="34" charset="0"/>
              </a:rPr>
              <a:t>permettent d’identifier un DM </a:t>
            </a:r>
            <a:r>
              <a: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à partir des informations contenues dans la e-prescription</a:t>
            </a:r>
          </a:p>
        </p:txBody>
      </p:sp>
      <p:pic>
        <p:nvPicPr>
          <p:cNvPr id="46" name="Graphic 45" descr="Circle with right arrow">
            <a:extLst>
              <a:ext uri="{FF2B5EF4-FFF2-40B4-BE49-F238E27FC236}">
                <a16:creationId xmlns:a16="http://schemas.microsoft.com/office/drawing/2014/main" id="{5D24A143-270C-484B-BABB-5C1B29208AB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0800000">
            <a:off x="703407" y="4588454"/>
            <a:ext cx="485223" cy="485223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6EEDC2B3-8D71-40CB-8930-2D512FA238E9}"/>
              </a:ext>
            </a:extLst>
          </p:cNvPr>
          <p:cNvSpPr txBox="1"/>
          <p:nvPr/>
        </p:nvSpPr>
        <p:spPr>
          <a:xfrm>
            <a:off x="1418779" y="5143861"/>
            <a:ext cx="8820596" cy="10567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ts val="200"/>
              </a:spcBef>
              <a:spcAft>
                <a:spcPts val="200"/>
              </a:spcAft>
            </a:pPr>
            <a:r>
              <a:rPr lang="fr-FR" sz="1400" b="1" dirty="0">
                <a:solidFill>
                  <a:prstClr val="black">
                    <a:lumMod val="85000"/>
                    <a:lumOff val="15000"/>
                  </a:prst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Remarque : </a:t>
            </a:r>
          </a:p>
          <a:p>
            <a:pPr fontAlgn="base">
              <a:spcBef>
                <a:spcPts val="200"/>
              </a:spcBef>
              <a:spcAft>
                <a:spcPts val="200"/>
              </a:spcAft>
            </a:pPr>
            <a:r>
              <a:rPr lang="fr-FR" sz="1400" dirty="0">
                <a:solidFill>
                  <a:prstClr val="black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A ce jour, dans le cas d’une prescription de DM avec marque, la substitution n’est pas admise</a:t>
            </a:r>
          </a:p>
          <a:p>
            <a:pPr fontAlgn="base">
              <a:spcBef>
                <a:spcPts val="200"/>
              </a:spcBef>
              <a:spcAft>
                <a:spcPts val="200"/>
              </a:spcAft>
            </a:pPr>
            <a:r>
              <a:rPr lang="fr-FR" sz="1400" dirty="0">
                <a:solidFill>
                  <a:prstClr val="black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Quelques cas de substitution de DM sont prévus dans le cadre de la crise sanitaire en lien avec la COVID-19 (Arrêté du 01 avril 2020 - JORF n°0080 du 2 avril 2020)</a:t>
            </a:r>
          </a:p>
        </p:txBody>
      </p:sp>
    </p:spTree>
    <p:extLst>
      <p:ext uri="{BB962C8B-B14F-4D97-AF65-F5344CB8AC3E}">
        <p14:creationId xmlns:p14="http://schemas.microsoft.com/office/powerpoint/2010/main" val="148445387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23619FFD-1AA4-48B9-BB8C-C7D1C9C7C6D9}"/>
              </a:ext>
            </a:extLst>
          </p:cNvPr>
          <p:cNvSpPr txBox="1">
            <a:spLocks/>
          </p:cNvSpPr>
          <p:nvPr/>
        </p:nvSpPr>
        <p:spPr>
          <a:xfrm>
            <a:off x="9850169" y="6136661"/>
            <a:ext cx="2095263" cy="587573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txBody>
          <a:bodyPr vert="horz" lIns="864000" tIns="72000" rIns="72000" bIns="7200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 sz="2400" dirty="0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6D8B95A-EA83-4547-9B08-A0B3217B0C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6D8B95A-EA83-4547-9B08-A0B3217B0C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numéro de diapositive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17</a:t>
            </a:fld>
            <a:endParaRPr lang="fr-FR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4F8B02-35DA-4098-AAE8-8AE791E787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8660" y="494778"/>
            <a:ext cx="11196000" cy="587573"/>
          </a:xfrm>
          <a:solidFill>
            <a:srgbClr val="2A9CA9"/>
          </a:solidFill>
        </p:spPr>
        <p:txBody>
          <a:bodyPr>
            <a:normAutofit/>
          </a:bodyPr>
          <a:lstStyle/>
          <a:p>
            <a:r>
              <a:rPr lang="fr-FR" dirty="0"/>
              <a:t>La prescription de DM dans le cadre de l’ON unifiée – 2 sur 3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59A9711-0732-49CC-AB6D-11B0A4399F4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53797"/>
          <a:stretch/>
        </p:blipFill>
        <p:spPr>
          <a:xfrm>
            <a:off x="2024584" y="1195632"/>
            <a:ext cx="8142832" cy="254750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7A68953-F4AB-4456-A15A-1C0C213D226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49134"/>
          <a:stretch/>
        </p:blipFill>
        <p:spPr>
          <a:xfrm>
            <a:off x="2024584" y="3856417"/>
            <a:ext cx="8142832" cy="2804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183276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6D8B95A-EA83-4547-9B08-A0B3217B0C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6D8B95A-EA83-4547-9B08-A0B3217B0C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numéro de diapositive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18</a:t>
            </a:fld>
            <a:endParaRPr lang="fr-FR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4F8B02-35DA-4098-AAE8-8AE791E787B0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rgbClr val="2A9CA9"/>
          </a:solidFill>
        </p:spPr>
        <p:txBody>
          <a:bodyPr>
            <a:normAutofit/>
          </a:bodyPr>
          <a:lstStyle/>
          <a:p>
            <a:r>
              <a:rPr lang="fr-FR" sz="2400" dirty="0"/>
              <a:t>La prescription de DM dans le cadre de l’Ordonnance Numérique unifiée – 3 sur 3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CD957BF-6CEC-46D2-A5B2-E90765B16319}"/>
              </a:ext>
            </a:extLst>
          </p:cNvPr>
          <p:cNvSpPr/>
          <p:nvPr/>
        </p:nvSpPr>
        <p:spPr>
          <a:xfrm>
            <a:off x="5044324" y="2101426"/>
            <a:ext cx="617484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z="1400" dirty="0">
                <a:solidFill>
                  <a:prstClr val="black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Au regard des retours « terrain » sur la prescription de DM dans l’expérimentation qui imposait l’impression sur une page différente des médicaments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960681B-A079-4E90-BA24-E910C0356E8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08365" y="1609595"/>
            <a:ext cx="3145417" cy="1722327"/>
          </a:xfrm>
          <a:prstGeom prst="rect">
            <a:avLst/>
          </a:prstGeom>
        </p:spPr>
      </p:pic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05205513-31A9-485C-A55E-9BD6E059F406}"/>
              </a:ext>
            </a:extLst>
          </p:cNvPr>
          <p:cNvSpPr/>
          <p:nvPr/>
        </p:nvSpPr>
        <p:spPr>
          <a:xfrm>
            <a:off x="1291161" y="3667125"/>
            <a:ext cx="10276952" cy="485223"/>
          </a:xfrm>
          <a:prstGeom prst="roundRect">
            <a:avLst>
              <a:gd name="adj" fmla="val 7589"/>
            </a:avLst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z="1400" b="1" dirty="0">
                <a:solidFill>
                  <a:prstClr val="white"/>
                </a:solidFill>
                <a:latin typeface="Calibri" panose="020F0502020204030204" pitchFamily="34" charset="0"/>
              </a:rPr>
              <a:t>La prescription unifiée admet sur une même e-prescription, c’est-à-dire sur une e-prescription portant un identifiant unique, la prescription de médicaments et de dispositifs médicaux. </a:t>
            </a:r>
          </a:p>
        </p:txBody>
      </p:sp>
      <p:pic>
        <p:nvPicPr>
          <p:cNvPr id="17" name="Graphic 16" descr="Circle with right arrow">
            <a:extLst>
              <a:ext uri="{FF2B5EF4-FFF2-40B4-BE49-F238E27FC236}">
                <a16:creationId xmlns:a16="http://schemas.microsoft.com/office/drawing/2014/main" id="{9AEE1C40-4511-435A-AC78-F7FF95CC750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0800000">
            <a:off x="703407" y="3667125"/>
            <a:ext cx="485223" cy="485223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FE1F452D-1113-47D5-AAAF-9316FFC58C96}"/>
              </a:ext>
            </a:extLst>
          </p:cNvPr>
          <p:cNvSpPr/>
          <p:nvPr/>
        </p:nvSpPr>
        <p:spPr>
          <a:xfrm>
            <a:off x="1813465" y="4257652"/>
            <a:ext cx="887794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>
              <a:spcBef>
                <a:spcPts val="300"/>
              </a:spcBef>
              <a:spcAft>
                <a:spcPts val="300"/>
              </a:spcAft>
              <a:defRPr/>
            </a:pPr>
            <a:r>
              <a:rPr lang="fr-FR" sz="1200" dirty="0">
                <a:solidFill>
                  <a:prstClr val="black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Cette e-prescription commune médicaments et DM laisse </a:t>
            </a:r>
            <a:r>
              <a:rPr lang="fr-FR" sz="1200" b="1" dirty="0">
                <a:solidFill>
                  <a:prstClr val="black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oute liberté au patient, comme aujourd’hui avec du papier, de consulter l’exécutant de son choix </a:t>
            </a:r>
            <a:r>
              <a:rPr lang="fr-FR" sz="1200" dirty="0">
                <a:solidFill>
                  <a:prstClr val="black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(pharmacien ou professionnel de la LPP) </a:t>
            </a:r>
          </a:p>
        </p:txBody>
      </p:sp>
      <p:pic>
        <p:nvPicPr>
          <p:cNvPr id="19" name="Graphic 18" descr="Right pointing backhand index">
            <a:extLst>
              <a:ext uri="{FF2B5EF4-FFF2-40B4-BE49-F238E27FC236}">
                <a16:creationId xmlns:a16="http://schemas.microsoft.com/office/drawing/2014/main" id="{0EFAE2FC-4BAD-46AF-8BE9-5E3563D003E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500588" y="4249426"/>
            <a:ext cx="307777" cy="307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9863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75A587B-5814-4D9B-9598-FE9CB954CB01}" type="slidenum">
              <a:rPr lang="fr-FR" smtClean="0">
                <a:latin typeface="+mj-lt"/>
              </a:rPr>
              <a:pPr/>
              <a:t>19</a:t>
            </a:fld>
            <a:endParaRPr lang="fr-FR" dirty="0">
              <a:latin typeface="+mj-lt"/>
            </a:endParaRP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solidFill>
            <a:srgbClr val="2A9CA9"/>
          </a:solidFill>
        </p:spPr>
        <p:txBody>
          <a:bodyPr/>
          <a:lstStyle/>
          <a:p>
            <a:pPr>
              <a:lnSpc>
                <a:spcPts val="2700"/>
              </a:lnSpc>
            </a:pPr>
            <a:r>
              <a:rPr lang="fr-FR" dirty="0"/>
              <a:t>Le principe des préséries</a:t>
            </a:r>
            <a:endParaRPr lang="fr-FR" dirty="0">
              <a:solidFill>
                <a:srgbClr val="FFFF00"/>
              </a:solidFill>
            </a:endParaRPr>
          </a:p>
        </p:txBody>
      </p:sp>
      <p:sp>
        <p:nvSpPr>
          <p:cNvPr id="13" name="Espace réservé de la date 6"/>
          <p:cNvSpPr>
            <a:spLocks noGrp="1"/>
          </p:cNvSpPr>
          <p:nvPr/>
        </p:nvSpPr>
        <p:spPr>
          <a:xfrm>
            <a:off x="9270772" y="5803986"/>
            <a:ext cx="1144442" cy="205919"/>
          </a:xfrm>
          <a:prstGeom prst="rect">
            <a:avLst/>
          </a:prstGeom>
          <a:solidFill>
            <a:schemeClr val="accent1">
              <a:alpha val="0"/>
            </a:schemeClr>
          </a:solidFill>
        </p:spPr>
        <p:txBody>
          <a:bodyPr vert="horz" lIns="91440" tIns="45720" rIns="91440" bIns="45720" rtlCol="0"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00" b="0" i="0" u="none" strike="noStrike" cap="none">
                <a:solidFill>
                  <a:schemeClr val="bg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fr-FR" dirty="0">
                <a:latin typeface="+mj-lt"/>
              </a:rPr>
              <a:t>02/12/2021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123C0AA-D020-4557-972B-3E51396D00C8}"/>
              </a:ext>
            </a:extLst>
          </p:cNvPr>
          <p:cNvSpPr/>
          <p:nvPr/>
        </p:nvSpPr>
        <p:spPr>
          <a:xfrm>
            <a:off x="623887" y="1705720"/>
            <a:ext cx="10944225" cy="625360"/>
          </a:xfrm>
          <a:prstGeom prst="rect">
            <a:avLst/>
          </a:prstGeom>
          <a:solidFill>
            <a:srgbClr val="E7EF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218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07" algn="l" defTabSz="914218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18" algn="l" defTabSz="914218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328" algn="l" defTabSz="914218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437" algn="l" defTabSz="914218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550" algn="l" defTabSz="914218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654" algn="l" defTabSz="914218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760" algn="l" defTabSz="914218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6867" algn="l" defTabSz="914218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400" dirty="0">
                <a:solidFill>
                  <a:srgbClr val="0C419A"/>
                </a:solidFill>
              </a:rPr>
              <a:t>La présérie consiste à </a:t>
            </a:r>
            <a:r>
              <a:rPr lang="fr-FR" sz="1400" b="1" dirty="0">
                <a:solidFill>
                  <a:srgbClr val="0C419A"/>
                </a:solidFill>
              </a:rPr>
              <a:t>tester l’ensemble du processus, pour une solution logicielle donnée</a:t>
            </a:r>
            <a:r>
              <a:rPr lang="fr-FR" sz="1400" dirty="0">
                <a:solidFill>
                  <a:srgbClr val="0C419A"/>
                </a:solidFill>
              </a:rPr>
              <a:t>, afin de </a:t>
            </a:r>
            <a:r>
              <a:rPr lang="fr-FR" sz="1400" b="1" dirty="0">
                <a:solidFill>
                  <a:srgbClr val="0C419A"/>
                </a:solidFill>
              </a:rPr>
              <a:t>sécuriser le déploiement </a:t>
            </a:r>
            <a:br>
              <a:rPr lang="fr-FR" sz="1400" b="1" dirty="0">
                <a:solidFill>
                  <a:srgbClr val="0C419A"/>
                </a:solidFill>
              </a:rPr>
            </a:br>
            <a:r>
              <a:rPr lang="fr-FR" sz="1400" dirty="0">
                <a:solidFill>
                  <a:srgbClr val="0C419A"/>
                </a:solidFill>
              </a:rPr>
              <a:t>en vérifiant que la e-prescription fonctionne sur le terrain entre les prescripteurs et les professionnels de santé prescrits</a:t>
            </a:r>
            <a:endParaRPr lang="fr-FR" dirty="0"/>
          </a:p>
        </p:txBody>
      </p:sp>
      <p:sp>
        <p:nvSpPr>
          <p:cNvPr id="8" name="Espace réservé du texte 2">
            <a:extLst>
              <a:ext uri="{FF2B5EF4-FFF2-40B4-BE49-F238E27FC236}">
                <a16:creationId xmlns:a16="http://schemas.microsoft.com/office/drawing/2014/main" id="{C583F68A-CEE1-4D6D-AEB2-1B41774233D9}"/>
              </a:ext>
            </a:extLst>
          </p:cNvPr>
          <p:cNvSpPr txBox="1">
            <a:spLocks/>
          </p:cNvSpPr>
          <p:nvPr/>
        </p:nvSpPr>
        <p:spPr>
          <a:xfrm>
            <a:off x="663584" y="2427194"/>
            <a:ext cx="10899775" cy="3659281"/>
          </a:xfrm>
          <a:prstGeom prst="rect">
            <a:avLst/>
          </a:prstGeom>
          <a:noFill/>
          <a:ln w="3175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fr-FR"/>
            </a:defPPr>
            <a:lvl1pPr marL="0" algn="l" defTabSz="914218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07" algn="l" defTabSz="914218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18" algn="l" defTabSz="914218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328" algn="l" defTabSz="914218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437" algn="l" defTabSz="914218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550" algn="l" defTabSz="914218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654" algn="l" defTabSz="914218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760" algn="l" defTabSz="914218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6867" algn="l" defTabSz="914218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fr-FR" sz="1400" b="0" dirty="0">
                <a:solidFill>
                  <a:srgbClr val="0C419A"/>
                </a:solidFill>
              </a:rPr>
              <a:t>Pour les médecins,</a:t>
            </a:r>
            <a:r>
              <a:rPr lang="fr-FR" sz="1400" dirty="0">
                <a:solidFill>
                  <a:srgbClr val="0C419A"/>
                </a:solidFill>
              </a:rPr>
              <a:t> l</a:t>
            </a:r>
            <a:r>
              <a:rPr lang="fr-FR" sz="1400" b="0" dirty="0">
                <a:solidFill>
                  <a:srgbClr val="0C419A"/>
                </a:solidFill>
              </a:rPr>
              <a:t>es préséries se déroulent* :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400" b="0" dirty="0">
                <a:solidFill>
                  <a:srgbClr val="0C419A"/>
                </a:solidFill>
              </a:rPr>
              <a:t>Sur une </a:t>
            </a:r>
            <a:r>
              <a:rPr lang="fr-FR" sz="1400" dirty="0">
                <a:solidFill>
                  <a:srgbClr val="0C419A"/>
                </a:solidFill>
              </a:rPr>
              <a:t>zone géographique </a:t>
            </a:r>
            <a:r>
              <a:rPr lang="fr-FR" sz="1400" b="0" dirty="0">
                <a:solidFill>
                  <a:srgbClr val="0C419A"/>
                </a:solidFill>
              </a:rPr>
              <a:t>donnée,</a:t>
            </a:r>
          </a:p>
          <a:p>
            <a:pPr marL="625475" lvl="2" indent="-271463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fr-FR" sz="1400" b="0" dirty="0">
                <a:solidFill>
                  <a:srgbClr val="0C419A"/>
                </a:solidFill>
              </a:rPr>
              <a:t>Idéalement dans les mêmes départements que l’expérimentation : </a:t>
            </a:r>
            <a:r>
              <a:rPr lang="fr-FR" sz="1400" b="1" dirty="0">
                <a:solidFill>
                  <a:srgbClr val="0C419A"/>
                </a:solidFill>
              </a:rPr>
              <a:t>Maine-et-Loire (49), Saône-et-Loire (71), Val-de-Marne (94)</a:t>
            </a:r>
          </a:p>
          <a:p>
            <a:pPr marL="625475" lvl="2" indent="-271463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fr-FR" sz="1400" b="0" dirty="0">
                <a:solidFill>
                  <a:srgbClr val="0C419A"/>
                </a:solidFill>
              </a:rPr>
              <a:t>Ainsi que dans la </a:t>
            </a:r>
            <a:r>
              <a:rPr lang="fr-FR" sz="1400" b="1" dirty="0">
                <a:solidFill>
                  <a:srgbClr val="0C419A"/>
                </a:solidFill>
              </a:rPr>
              <a:t>Côte d’Opale </a:t>
            </a:r>
            <a:r>
              <a:rPr lang="fr-FR" sz="1400" b="0" dirty="0">
                <a:solidFill>
                  <a:srgbClr val="0C419A"/>
                </a:solidFill>
              </a:rPr>
              <a:t>(</a:t>
            </a:r>
            <a:r>
              <a:rPr lang="fr-FR" sz="1400" b="1" dirty="0">
                <a:solidFill>
                  <a:srgbClr val="0C419A"/>
                </a:solidFill>
              </a:rPr>
              <a:t>62</a:t>
            </a:r>
            <a:r>
              <a:rPr lang="fr-FR" sz="1400" b="0" dirty="0">
                <a:solidFill>
                  <a:srgbClr val="0C419A"/>
                </a:solidFill>
              </a:rPr>
              <a:t>, MOAD)</a:t>
            </a:r>
          </a:p>
          <a:p>
            <a:pPr marL="625475" lvl="2" indent="-271463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fr-FR" sz="1400" dirty="0">
                <a:solidFill>
                  <a:srgbClr val="0C419A"/>
                </a:solidFill>
              </a:rPr>
              <a:t>D’autres départements sont amenés à rejoindre les préséries selon l’implantation des logiciels (dont le 56, 67, 76, 78) </a:t>
            </a:r>
            <a:endParaRPr lang="fr-FR" sz="1400" b="0" dirty="0">
              <a:solidFill>
                <a:srgbClr val="0C419A"/>
              </a:solidFill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400" b="0" dirty="0">
                <a:solidFill>
                  <a:srgbClr val="0C419A"/>
                </a:solidFill>
              </a:rPr>
              <a:t>Pour un </a:t>
            </a:r>
            <a:r>
              <a:rPr lang="fr-FR" sz="1400" dirty="0">
                <a:solidFill>
                  <a:srgbClr val="0C419A"/>
                </a:solidFill>
              </a:rPr>
              <a:t>nombre limité de PS </a:t>
            </a:r>
            <a:r>
              <a:rPr lang="fr-FR" sz="1400" b="1" dirty="0">
                <a:solidFill>
                  <a:srgbClr val="0C419A"/>
                </a:solidFill>
              </a:rPr>
              <a:t>par éditeur</a:t>
            </a:r>
            <a:r>
              <a:rPr lang="fr-FR" sz="1400" dirty="0">
                <a:solidFill>
                  <a:srgbClr val="0C419A"/>
                </a:solidFill>
              </a:rPr>
              <a:t> :</a:t>
            </a:r>
            <a:endParaRPr lang="fr-FR" sz="1400" b="0" dirty="0">
              <a:solidFill>
                <a:srgbClr val="0C419A"/>
              </a:solidFill>
            </a:endParaRPr>
          </a:p>
          <a:p>
            <a:pPr marL="625475" lvl="2" indent="-271463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fr-FR" sz="1400" dirty="0">
                <a:solidFill>
                  <a:srgbClr val="0C419A"/>
                </a:solidFill>
              </a:rPr>
              <a:t>Minimum de </a:t>
            </a:r>
            <a:r>
              <a:rPr lang="fr-FR" sz="1400" b="1" dirty="0">
                <a:solidFill>
                  <a:srgbClr val="0C419A"/>
                </a:solidFill>
              </a:rPr>
              <a:t>10 médecins maximum 20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400" b="0" dirty="0">
                <a:solidFill>
                  <a:srgbClr val="0C419A"/>
                </a:solidFill>
              </a:rPr>
              <a:t>Pendant une </a:t>
            </a:r>
            <a:r>
              <a:rPr lang="fr-FR" sz="1400" dirty="0">
                <a:solidFill>
                  <a:srgbClr val="0C419A"/>
                </a:solidFill>
              </a:rPr>
              <a:t>période restreinte de quelques semaines</a:t>
            </a:r>
          </a:p>
          <a:p>
            <a:pPr marL="285750" lvl="2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rgbClr val="0C419A"/>
                </a:solidFill>
              </a:rPr>
              <a:t>Le passage à l'étape de déploiement du logiciel est conditionné par les résultats d'un bila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9D30989-173A-4865-B624-5F03E2E3FD28}"/>
              </a:ext>
            </a:extLst>
          </p:cNvPr>
          <p:cNvSpPr/>
          <p:nvPr/>
        </p:nvSpPr>
        <p:spPr>
          <a:xfrm>
            <a:off x="623887" y="2427196"/>
            <a:ext cx="10944224" cy="3659280"/>
          </a:xfrm>
          <a:prstGeom prst="rect">
            <a:avLst/>
          </a:prstGeom>
          <a:noFill/>
          <a:ln>
            <a:solidFill>
              <a:srgbClr val="003493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218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07" algn="l" defTabSz="914218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18" algn="l" defTabSz="914218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328" algn="l" defTabSz="914218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437" algn="l" defTabSz="914218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550" algn="l" defTabSz="914218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654" algn="l" defTabSz="914218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760" algn="l" defTabSz="914218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6867" algn="l" defTabSz="914218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FR" sz="1600" dirty="0"/>
          </a:p>
        </p:txBody>
      </p:sp>
      <p:sp>
        <p:nvSpPr>
          <p:cNvPr id="5" name="ZoneTexte 4"/>
          <p:cNvSpPr txBox="1"/>
          <p:nvPr/>
        </p:nvSpPr>
        <p:spPr>
          <a:xfrm>
            <a:off x="755469" y="6229647"/>
            <a:ext cx="9468627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/>
              <a:t>*Tous les éditeurs Médecins, pharmaciens sont aussi soumis à des préséries, comme les éditeurs des professionnels de la LPP lorsqu’ils seront autorisés.</a:t>
            </a:r>
          </a:p>
          <a:p>
            <a:r>
              <a:rPr lang="fr-FR" sz="1000" dirty="0"/>
              <a:t>** Les modalités de présérie éditeurs sont disponibles sur le site du GIE SESAM-Vitale et en annexe.</a:t>
            </a:r>
          </a:p>
        </p:txBody>
      </p:sp>
    </p:spTree>
    <p:extLst>
      <p:ext uri="{BB962C8B-B14F-4D97-AF65-F5344CB8AC3E}">
        <p14:creationId xmlns:p14="http://schemas.microsoft.com/office/powerpoint/2010/main" val="39134330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8097" y="235390"/>
            <a:ext cx="11706891" cy="5799560"/>
          </a:xfrm>
        </p:spPr>
        <p:txBody>
          <a:bodyPr/>
          <a:lstStyle/>
          <a:p>
            <a:r>
              <a:rPr lang="fr-FR" dirty="0"/>
              <a:t>SOMMAI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722922" y="569893"/>
            <a:ext cx="1080000" cy="552732"/>
          </a:xfrm>
        </p:spPr>
        <p:txBody>
          <a:bodyPr/>
          <a:lstStyle/>
          <a:p>
            <a:r>
              <a:rPr lang="fr-FR" dirty="0"/>
              <a:t>01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3"/>
          </p:nvPr>
        </p:nvSpPr>
        <p:spPr>
          <a:xfrm>
            <a:off x="2719497" y="1109915"/>
            <a:ext cx="7920000" cy="360000"/>
          </a:xfrm>
        </p:spPr>
        <p:txBody>
          <a:bodyPr>
            <a:noAutofit/>
          </a:bodyPr>
          <a:lstStyle/>
          <a:p>
            <a:r>
              <a:rPr lang="fr-FR" sz="1800" dirty="0"/>
              <a:t>La e-prescription – Contexte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idx="13"/>
          </p:nvPr>
        </p:nvSpPr>
        <p:spPr>
          <a:xfrm>
            <a:off x="2722922" y="1619522"/>
            <a:ext cx="1080000" cy="552732"/>
          </a:xfrm>
        </p:spPr>
        <p:txBody>
          <a:bodyPr>
            <a:normAutofit fontScale="92500" lnSpcReduction="20000"/>
          </a:bodyPr>
          <a:lstStyle/>
          <a:p>
            <a:r>
              <a:rPr lang="fr-FR" dirty="0"/>
              <a:t>02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4"/>
          </p:nvPr>
        </p:nvSpPr>
        <p:spPr>
          <a:xfrm>
            <a:off x="2719497" y="2163061"/>
            <a:ext cx="7920000" cy="360000"/>
          </a:xfrm>
        </p:spPr>
        <p:txBody>
          <a:bodyPr>
            <a:noAutofit/>
          </a:bodyPr>
          <a:lstStyle/>
          <a:p>
            <a:r>
              <a:rPr lang="fr-FR" sz="1800" dirty="0"/>
              <a:t>Retour sur l’expérimentation médicament lancée en 2019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idx="15"/>
          </p:nvPr>
        </p:nvSpPr>
        <p:spPr>
          <a:xfrm>
            <a:off x="2722922" y="2669151"/>
            <a:ext cx="1080000" cy="552732"/>
          </a:xfrm>
        </p:spPr>
        <p:txBody>
          <a:bodyPr>
            <a:normAutofit fontScale="92500" lnSpcReduction="20000"/>
          </a:bodyPr>
          <a:lstStyle/>
          <a:p>
            <a:r>
              <a:rPr lang="fr-FR" dirty="0"/>
              <a:t>03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6"/>
          </p:nvPr>
        </p:nvSpPr>
        <p:spPr>
          <a:xfrm>
            <a:off x="2719495" y="3216207"/>
            <a:ext cx="7920000" cy="360000"/>
          </a:xfrm>
        </p:spPr>
        <p:txBody>
          <a:bodyPr>
            <a:noAutofit/>
          </a:bodyPr>
          <a:lstStyle/>
          <a:p>
            <a:r>
              <a:rPr lang="fr-FR" sz="1800" dirty="0"/>
              <a:t>E-prescription unifiée – PRINCIPES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idx="17"/>
          </p:nvPr>
        </p:nvSpPr>
        <p:spPr>
          <a:xfrm>
            <a:off x="2722922" y="4768411"/>
            <a:ext cx="1080000" cy="552732"/>
          </a:xfrm>
        </p:spPr>
        <p:txBody>
          <a:bodyPr>
            <a:normAutofit fontScale="92500" lnSpcReduction="20000"/>
          </a:bodyPr>
          <a:lstStyle/>
          <a:p>
            <a:r>
              <a:rPr lang="fr-FR" dirty="0"/>
              <a:t>05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/>
          </p:nvPr>
        </p:nvSpPr>
        <p:spPr>
          <a:xfrm>
            <a:off x="2719497" y="5322501"/>
            <a:ext cx="7920000" cy="360000"/>
          </a:xfrm>
        </p:spPr>
        <p:txBody>
          <a:bodyPr>
            <a:noAutofit/>
          </a:bodyPr>
          <a:lstStyle/>
          <a:p>
            <a:r>
              <a:rPr lang="fr-FR" altLang="fr-FR" sz="1800" dirty="0"/>
              <a:t>Annexes</a:t>
            </a:r>
            <a:endParaRPr lang="fr-FR" sz="1800" dirty="0"/>
          </a:p>
        </p:txBody>
      </p:sp>
      <p:sp>
        <p:nvSpPr>
          <p:cNvPr id="18" name="Espace réservé du texte 17"/>
          <p:cNvSpPr>
            <a:spLocks noGrp="1"/>
          </p:cNvSpPr>
          <p:nvPr>
            <p:ph type="body" sz="quarter" idx="27"/>
          </p:nvPr>
        </p:nvSpPr>
        <p:spPr>
          <a:xfrm>
            <a:off x="2674742" y="823050"/>
            <a:ext cx="21600" cy="6372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29"/>
          </p:nvPr>
        </p:nvSpPr>
        <p:spPr>
          <a:xfrm>
            <a:off x="2674742" y="1875927"/>
            <a:ext cx="21600" cy="6372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20" name="Espace réservé du texte 19"/>
          <p:cNvSpPr>
            <a:spLocks noGrp="1"/>
          </p:cNvSpPr>
          <p:nvPr>
            <p:ph type="body" sz="quarter" idx="30"/>
          </p:nvPr>
        </p:nvSpPr>
        <p:spPr>
          <a:xfrm>
            <a:off x="2674742" y="2928804"/>
            <a:ext cx="21600" cy="6372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31"/>
          </p:nvPr>
        </p:nvSpPr>
        <p:spPr>
          <a:xfrm>
            <a:off x="2674742" y="5034558"/>
            <a:ext cx="21600" cy="6372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26" name="Espace réservé du texte 8">
            <a:extLst>
              <a:ext uri="{FF2B5EF4-FFF2-40B4-BE49-F238E27FC236}">
                <a16:creationId xmlns:a16="http://schemas.microsoft.com/office/drawing/2014/main" id="{C5E13345-7E8C-48AB-BD8D-2CAD0CD6C0C4}"/>
              </a:ext>
            </a:extLst>
          </p:cNvPr>
          <p:cNvSpPr txBox="1">
            <a:spLocks/>
          </p:cNvSpPr>
          <p:nvPr/>
        </p:nvSpPr>
        <p:spPr>
          <a:xfrm>
            <a:off x="2722922" y="3718780"/>
            <a:ext cx="1080000" cy="552732"/>
          </a:xfrm>
          <a:prstGeom prst="rect">
            <a:avLst/>
          </a:prstGeom>
          <a:ln w="3175">
            <a:noFill/>
          </a:ln>
        </p:spPr>
        <p:txBody>
          <a:bodyPr vert="horz" lIns="91440" tIns="45720" rIns="91440" bIns="45720" rtlCol="0" anchor="t">
            <a:normAutofit fontScale="92500" lnSpcReduction="20000"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Symbol" panose="05050102010706020507" pitchFamily="18" charset="2"/>
              <a:buNone/>
              <a:defRPr sz="3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None/>
              <a:defRPr sz="20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04</a:t>
            </a:r>
            <a:endParaRPr lang="fr-FR" dirty="0"/>
          </a:p>
        </p:txBody>
      </p:sp>
      <p:sp>
        <p:nvSpPr>
          <p:cNvPr id="27" name="Espace réservé du texte 9">
            <a:extLst>
              <a:ext uri="{FF2B5EF4-FFF2-40B4-BE49-F238E27FC236}">
                <a16:creationId xmlns:a16="http://schemas.microsoft.com/office/drawing/2014/main" id="{72577618-2164-430C-A545-C4461AA45F71}"/>
              </a:ext>
            </a:extLst>
          </p:cNvPr>
          <p:cNvSpPr txBox="1">
            <a:spLocks/>
          </p:cNvSpPr>
          <p:nvPr/>
        </p:nvSpPr>
        <p:spPr>
          <a:xfrm>
            <a:off x="2719497" y="4269353"/>
            <a:ext cx="7920000" cy="360000"/>
          </a:xfrm>
          <a:prstGeom prst="rect">
            <a:avLst/>
          </a:prstGeom>
          <a:ln w="3175">
            <a:noFill/>
          </a:ln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Symbol" panose="05050102010706020507" pitchFamily="18" charset="2"/>
              <a:buNone/>
              <a:defRPr sz="1600" b="1" kern="1200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None/>
              <a:defRPr sz="20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altLang="fr-FR" sz="1800"/>
              <a:t>Planning</a:t>
            </a:r>
            <a:endParaRPr lang="fr-FR" sz="1800" dirty="0"/>
          </a:p>
        </p:txBody>
      </p:sp>
      <p:sp>
        <p:nvSpPr>
          <p:cNvPr id="28" name="Espace réservé du texte 20">
            <a:extLst>
              <a:ext uri="{FF2B5EF4-FFF2-40B4-BE49-F238E27FC236}">
                <a16:creationId xmlns:a16="http://schemas.microsoft.com/office/drawing/2014/main" id="{0B5BA77D-9F2C-4390-97D6-9CD9C4265FC6}"/>
              </a:ext>
            </a:extLst>
          </p:cNvPr>
          <p:cNvSpPr txBox="1">
            <a:spLocks/>
          </p:cNvSpPr>
          <p:nvPr/>
        </p:nvSpPr>
        <p:spPr>
          <a:xfrm>
            <a:off x="2674742" y="3981681"/>
            <a:ext cx="21600" cy="6372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Symbol" panose="05050102010706020507" pitchFamily="18" charset="2"/>
              <a:buNone/>
              <a:defRPr sz="5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8415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0225" indent="-1714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809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 dirty="0"/>
          </a:p>
        </p:txBody>
      </p:sp>
      <p:sp>
        <p:nvSpPr>
          <p:cNvPr id="31" name="Espace réservé du numéro de diapositive 4">
            <a:extLst>
              <a:ext uri="{FF2B5EF4-FFF2-40B4-BE49-F238E27FC236}">
                <a16:creationId xmlns:a16="http://schemas.microsoft.com/office/drawing/2014/main" id="{8FBB3B74-150A-4F04-9E15-B409186522E5}"/>
              </a:ext>
            </a:extLst>
          </p:cNvPr>
          <p:cNvSpPr txBox="1">
            <a:spLocks/>
          </p:cNvSpPr>
          <p:nvPr/>
        </p:nvSpPr>
        <p:spPr>
          <a:xfrm>
            <a:off x="395469" y="6229647"/>
            <a:ext cx="720000" cy="288000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75A587B-5814-4D9B-9598-FE9CB954CB01}" type="slidenum">
              <a:rPr lang="fr-FR" sz="1200" smtClean="0"/>
              <a:pPr/>
              <a:t>2</a:t>
            </a:fld>
            <a:endParaRPr lang="fr-FR" sz="1200" dirty="0"/>
          </a:p>
        </p:txBody>
      </p:sp>
    </p:spTree>
    <p:extLst>
      <p:ext uri="{BB962C8B-B14F-4D97-AF65-F5344CB8AC3E}">
        <p14:creationId xmlns:p14="http://schemas.microsoft.com/office/powerpoint/2010/main" val="19371790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9BF4044-E01B-4894-B21A-58827329B47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8660" y="4496184"/>
            <a:ext cx="11466328" cy="1838679"/>
          </a:xfrm>
        </p:spPr>
        <p:txBody>
          <a:bodyPr>
            <a:noAutofit/>
          </a:bodyPr>
          <a:lstStyle/>
          <a:p>
            <a:pPr marL="321750" lvl="1" indent="-28575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tabLst>
                <a:tab pos="269875" algn="l"/>
              </a:tabLst>
              <a:defRPr/>
            </a:pPr>
            <a:r>
              <a:rPr lang="fr-FR" sz="1200" b="0" dirty="0">
                <a:latin typeface="Arial" panose="020B0604020202020204"/>
              </a:rPr>
              <a:t>La  e-prescription permet, aux professionnels de santé prescrits, de s’affranchir de l’envoi de l’ordonnance numérisée à l’Assurance Maladie via SCOR.</a:t>
            </a:r>
          </a:p>
          <a:p>
            <a:pPr marL="321750" lvl="1" indent="-28575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tabLst>
                <a:tab pos="269875" algn="l"/>
              </a:tabLst>
              <a:defRPr/>
            </a:pPr>
            <a:r>
              <a:rPr lang="fr-FR" altLang="fr-FR" sz="1200" b="0" dirty="0">
                <a:latin typeface="Arial" panose="020B0604020202020204"/>
              </a:rPr>
              <a:t>Le professionnel de santé prescrit active, ou désactive, la transmission des PJ SCOR pour les e-prescriptions  depuis son logiciel métier (paramétrage).</a:t>
            </a:r>
            <a:endParaRPr lang="fr-FR" sz="1200" b="0" dirty="0">
              <a:latin typeface="Arial" panose="020B0604020202020204"/>
            </a:endParaRPr>
          </a:p>
          <a:p>
            <a:pPr marL="321750" lvl="1" indent="-28575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tabLst>
                <a:tab pos="269875" algn="l"/>
              </a:tabLst>
              <a:defRPr/>
            </a:pPr>
            <a:r>
              <a:rPr lang="fr-FR" altLang="fr-FR" sz="1200" b="0" dirty="0">
                <a:latin typeface="Arial" panose="020B0604020202020204"/>
              </a:rPr>
              <a:t>L’ordonnance numérisée transmise par le professionnel de santé vaut pièce justificative, pour l’ensemble des caisses et pour l’ensemble des régimes.</a:t>
            </a:r>
          </a:p>
          <a:p>
            <a:pPr marL="321750" lvl="1" indent="-28575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tabLst>
                <a:tab pos="269875" algn="l"/>
              </a:tabLst>
              <a:defRPr/>
            </a:pPr>
            <a:r>
              <a:rPr lang="fr-FR" sz="1200" b="0" dirty="0">
                <a:latin typeface="Arial" panose="020B0604020202020204"/>
              </a:rPr>
              <a:t>En présérie : vérification du bon fonctionnement suite à l’arrêt de l’envoi des PJ SCOR : une fois l’arrêt d’envoi des PJ SCOR activé pour un professionnel de santé prescrit, la CPAM vérifie la présence d’une PJ reconstituée conforme pour chaque facture émise à partir d’une e-prescription et le rapprochement automatique dans flux tiers</a:t>
            </a:r>
            <a:br>
              <a:rPr lang="fr-FR" sz="1200" b="0" dirty="0">
                <a:latin typeface="Arial" panose="020B0604020202020204"/>
              </a:rPr>
            </a:br>
            <a:r>
              <a:rPr lang="fr-FR" sz="1200" b="0" dirty="0">
                <a:latin typeface="Arial" panose="020B0604020202020204"/>
              </a:rPr>
              <a:t>Le contrôle s’effectue à la demande de la CNAM à partir d’une liste de factures fournie par l’éditeur sur une période d’au moins une semaine. </a:t>
            </a:r>
            <a:br>
              <a:rPr lang="fr-FR" sz="1200" b="0" dirty="0">
                <a:latin typeface="Arial" panose="020B0604020202020204"/>
              </a:rPr>
            </a:br>
            <a:r>
              <a:rPr lang="fr-FR" sz="1200" b="0" dirty="0">
                <a:latin typeface="Arial" panose="020B0604020202020204"/>
              </a:rPr>
              <a:t>Les résultats sont consignés dans ce fichier :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6F032C-ADB1-451A-9F9D-EC642F5C77A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20</a:t>
            </a:fld>
            <a:endParaRPr lang="fr-FR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DF2CCA4-39AB-4BD4-A127-1BD386AF6EA5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rgbClr val="2A9CA9"/>
          </a:solidFill>
          <a:ln w="3175">
            <a:noFill/>
          </a:ln>
        </p:spPr>
        <p:txBody>
          <a:bodyPr vert="horz" lIns="864000" tIns="72000" rIns="72000" bIns="72000" rtlCol="0" anchor="ctr">
            <a:normAutofit/>
          </a:bodyPr>
          <a:lstStyle/>
          <a:p>
            <a:r>
              <a:rPr lang="fr-FR" sz="2000" dirty="0"/>
              <a:t>simplification du traitement de l’ordonnance numérisée </a:t>
            </a:r>
            <a:br>
              <a:rPr lang="fr-FR" sz="2000" dirty="0"/>
            </a:br>
            <a:r>
              <a:rPr lang="fr-FR" sz="2000" dirty="0"/>
              <a:t>par les professionnels de santé prescrits – testée en préséri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1D60842-3A08-43C6-A683-4B8EAD3AC4E5}"/>
              </a:ext>
            </a:extLst>
          </p:cNvPr>
          <p:cNvSpPr/>
          <p:nvPr/>
        </p:nvSpPr>
        <p:spPr>
          <a:xfrm>
            <a:off x="5936694" y="1806131"/>
            <a:ext cx="3858109" cy="2514209"/>
          </a:xfrm>
          <a:prstGeom prst="rect">
            <a:avLst/>
          </a:prstGeom>
          <a:solidFill>
            <a:srgbClr val="E0F2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 b="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DB400C4-101F-4769-A2F4-D3E22897C19C}"/>
              </a:ext>
            </a:extLst>
          </p:cNvPr>
          <p:cNvSpPr/>
          <p:nvPr/>
        </p:nvSpPr>
        <p:spPr>
          <a:xfrm>
            <a:off x="1824507" y="1806131"/>
            <a:ext cx="3858109" cy="251420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AutoShape 6">
            <a:extLst>
              <a:ext uri="{FF2B5EF4-FFF2-40B4-BE49-F238E27FC236}">
                <a16:creationId xmlns:a16="http://schemas.microsoft.com/office/drawing/2014/main" id="{F99C976E-A9B0-4128-9AEB-E631CDAEF3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24507" y="1806131"/>
            <a:ext cx="3858109" cy="248784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Circuit « classique » des PJ SCOR</a:t>
            </a:r>
          </a:p>
        </p:txBody>
      </p:sp>
      <p:grpSp>
        <p:nvGrpSpPr>
          <p:cNvPr id="8" name="Group 15">
            <a:extLst>
              <a:ext uri="{FF2B5EF4-FFF2-40B4-BE49-F238E27FC236}">
                <a16:creationId xmlns:a16="http://schemas.microsoft.com/office/drawing/2014/main" id="{0A0125FF-3129-4518-8B1F-569F287C8112}"/>
              </a:ext>
            </a:extLst>
          </p:cNvPr>
          <p:cNvGrpSpPr/>
          <p:nvPr/>
        </p:nvGrpSpPr>
        <p:grpSpPr>
          <a:xfrm>
            <a:off x="1891997" y="3214362"/>
            <a:ext cx="436566" cy="461665"/>
            <a:chOff x="4275470" y="1293887"/>
            <a:chExt cx="599707" cy="576000"/>
          </a:xfrm>
        </p:grpSpPr>
        <p:sp>
          <p:nvSpPr>
            <p:cNvPr id="9" name="Oval 16">
              <a:extLst>
                <a:ext uri="{FF2B5EF4-FFF2-40B4-BE49-F238E27FC236}">
                  <a16:creationId xmlns:a16="http://schemas.microsoft.com/office/drawing/2014/main" id="{0E47F760-C68C-4CB7-AE36-F15A19787900}"/>
                </a:ext>
              </a:extLst>
            </p:cNvPr>
            <p:cNvSpPr/>
            <p:nvPr/>
          </p:nvSpPr>
          <p:spPr>
            <a:xfrm>
              <a:off x="4287323" y="1293887"/>
              <a:ext cx="576000" cy="576000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fr-FR" dirty="0"/>
            </a:p>
          </p:txBody>
        </p:sp>
        <p:grpSp>
          <p:nvGrpSpPr>
            <p:cNvPr id="10" name="Group 17">
              <a:extLst>
                <a:ext uri="{FF2B5EF4-FFF2-40B4-BE49-F238E27FC236}">
                  <a16:creationId xmlns:a16="http://schemas.microsoft.com/office/drawing/2014/main" id="{441EAB54-C9BD-401A-BB19-16D853CA019E}"/>
                </a:ext>
              </a:extLst>
            </p:cNvPr>
            <p:cNvGrpSpPr/>
            <p:nvPr/>
          </p:nvGrpSpPr>
          <p:grpSpPr>
            <a:xfrm>
              <a:off x="4275470" y="1296197"/>
              <a:ext cx="599707" cy="571380"/>
              <a:chOff x="696510" y="2798379"/>
              <a:chExt cx="864000" cy="862364"/>
            </a:xfrm>
          </p:grpSpPr>
          <p:pic>
            <p:nvPicPr>
              <p:cNvPr id="11" name="Graphic 64" descr="Female Profile">
                <a:extLst>
                  <a:ext uri="{FF2B5EF4-FFF2-40B4-BE49-F238E27FC236}">
                    <a16:creationId xmlns:a16="http://schemas.microsoft.com/office/drawing/2014/main" id="{6B32FA5E-F64E-4965-92F1-B51E74ABE3D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696510" y="2798379"/>
                <a:ext cx="864000" cy="862364"/>
              </a:xfrm>
              <a:prstGeom prst="rect">
                <a:avLst/>
              </a:prstGeom>
            </p:spPr>
          </p:pic>
          <p:pic>
            <p:nvPicPr>
              <p:cNvPr id="12" name="Picture 19">
                <a:extLst>
                  <a:ext uri="{FF2B5EF4-FFF2-40B4-BE49-F238E27FC236}">
                    <a16:creationId xmlns:a16="http://schemas.microsoft.com/office/drawing/2014/main" id="{915AC96B-D762-43D0-9E72-DCA6BB1F92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1029086" y="3274126"/>
                <a:ext cx="359309" cy="263989"/>
              </a:xfrm>
              <a:prstGeom prst="rect">
                <a:avLst/>
              </a:prstGeom>
            </p:spPr>
          </p:pic>
        </p:grpSp>
      </p:grpSp>
      <p:pic>
        <p:nvPicPr>
          <p:cNvPr id="13" name="Picture 13" descr="Compte ameli - mon espace personnel - Connexion à mon compte">
            <a:extLst>
              <a:ext uri="{FF2B5EF4-FFF2-40B4-BE49-F238E27FC236}">
                <a16:creationId xmlns:a16="http://schemas.microsoft.com/office/drawing/2014/main" id="{65B21694-B0F1-4621-BE3E-B6E5650861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0917" y="3169850"/>
            <a:ext cx="468052" cy="46805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Arrow: Right 21">
            <a:extLst>
              <a:ext uri="{FF2B5EF4-FFF2-40B4-BE49-F238E27FC236}">
                <a16:creationId xmlns:a16="http://schemas.microsoft.com/office/drawing/2014/main" id="{35374743-1ADE-417A-B554-CFBE0D872420}"/>
              </a:ext>
            </a:extLst>
          </p:cNvPr>
          <p:cNvSpPr/>
          <p:nvPr/>
        </p:nvSpPr>
        <p:spPr>
          <a:xfrm>
            <a:off x="2503726" y="3004623"/>
            <a:ext cx="2224591" cy="98635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Oval 22">
            <a:extLst>
              <a:ext uri="{FF2B5EF4-FFF2-40B4-BE49-F238E27FC236}">
                <a16:creationId xmlns:a16="http://schemas.microsoft.com/office/drawing/2014/main" id="{C8DDE1AB-CAAF-4C63-91ED-5BF465F70BB0}"/>
              </a:ext>
            </a:extLst>
          </p:cNvPr>
          <p:cNvSpPr/>
          <p:nvPr/>
        </p:nvSpPr>
        <p:spPr>
          <a:xfrm>
            <a:off x="2485662" y="2963418"/>
            <a:ext cx="202265" cy="175483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>
                <a:solidFill>
                  <a:schemeClr val="bg1">
                    <a:lumMod val="50000"/>
                  </a:schemeClr>
                </a:solidFill>
              </a:rPr>
              <a:t>1</a:t>
            </a:r>
          </a:p>
        </p:txBody>
      </p:sp>
      <p:grpSp>
        <p:nvGrpSpPr>
          <p:cNvPr id="16" name="Group 23">
            <a:extLst>
              <a:ext uri="{FF2B5EF4-FFF2-40B4-BE49-F238E27FC236}">
                <a16:creationId xmlns:a16="http://schemas.microsoft.com/office/drawing/2014/main" id="{C2E8FD20-B24A-4856-8A6A-80BD5078665A}"/>
              </a:ext>
            </a:extLst>
          </p:cNvPr>
          <p:cNvGrpSpPr/>
          <p:nvPr/>
        </p:nvGrpSpPr>
        <p:grpSpPr>
          <a:xfrm>
            <a:off x="2534914" y="2271070"/>
            <a:ext cx="2299027" cy="743887"/>
            <a:chOff x="2136200" y="1428251"/>
            <a:chExt cx="2299027" cy="743887"/>
          </a:xfrm>
        </p:grpSpPr>
        <p:pic>
          <p:nvPicPr>
            <p:cNvPr id="17" name="Graphic 27" descr="Contract RTL">
              <a:extLst>
                <a:ext uri="{FF2B5EF4-FFF2-40B4-BE49-F238E27FC236}">
                  <a16:creationId xmlns:a16="http://schemas.microsoft.com/office/drawing/2014/main" id="{4857914C-F833-405B-93C5-E8A63851B2C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342740" y="1428251"/>
              <a:ext cx="313184" cy="313184"/>
            </a:xfrm>
            <a:prstGeom prst="rect">
              <a:avLst/>
            </a:prstGeom>
          </p:spPr>
        </p:pic>
        <p:sp>
          <p:nvSpPr>
            <p:cNvPr id="18" name="TextBox 25">
              <a:extLst>
                <a:ext uri="{FF2B5EF4-FFF2-40B4-BE49-F238E27FC236}">
                  <a16:creationId xmlns:a16="http://schemas.microsoft.com/office/drawing/2014/main" id="{630B3D5B-62C9-416F-9F4E-D03350203460}"/>
                </a:ext>
              </a:extLst>
            </p:cNvPr>
            <p:cNvSpPr txBox="1"/>
            <p:nvPr/>
          </p:nvSpPr>
          <p:spPr>
            <a:xfrm>
              <a:off x="2136200" y="1802806"/>
              <a:ext cx="229902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900" b="1" dirty="0"/>
                <a:t>Lot FSE = Lot SCOR</a:t>
              </a:r>
              <a:br>
                <a:rPr lang="fr-FR" sz="900" dirty="0"/>
              </a:br>
              <a:r>
                <a:rPr lang="fr-FR" sz="900" dirty="0"/>
                <a:t>1 facture = 1 PJ SCOR (sauf renouvellement*)</a:t>
              </a:r>
            </a:p>
          </p:txBody>
        </p:sp>
      </p:grpSp>
      <p:grpSp>
        <p:nvGrpSpPr>
          <p:cNvPr id="19" name="Group 32">
            <a:extLst>
              <a:ext uri="{FF2B5EF4-FFF2-40B4-BE49-F238E27FC236}">
                <a16:creationId xmlns:a16="http://schemas.microsoft.com/office/drawing/2014/main" id="{F44CA18D-7E52-4F8F-AC0C-3F47B27A455E}"/>
              </a:ext>
            </a:extLst>
          </p:cNvPr>
          <p:cNvGrpSpPr/>
          <p:nvPr/>
        </p:nvGrpSpPr>
        <p:grpSpPr>
          <a:xfrm>
            <a:off x="2821118" y="3096204"/>
            <a:ext cx="1536306" cy="369332"/>
            <a:chOff x="3675664" y="2283842"/>
            <a:chExt cx="1536306" cy="369332"/>
          </a:xfrm>
        </p:grpSpPr>
        <p:sp>
          <p:nvSpPr>
            <p:cNvPr id="20" name="TextBox 33">
              <a:extLst>
                <a:ext uri="{FF2B5EF4-FFF2-40B4-BE49-F238E27FC236}">
                  <a16:creationId xmlns:a16="http://schemas.microsoft.com/office/drawing/2014/main" id="{BF44DE7C-7EF3-40B7-A105-3570897CB72C}"/>
                </a:ext>
              </a:extLst>
            </p:cNvPr>
            <p:cNvSpPr txBox="1"/>
            <p:nvPr/>
          </p:nvSpPr>
          <p:spPr>
            <a:xfrm>
              <a:off x="4036648" y="2283842"/>
              <a:ext cx="117532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900" b="1" dirty="0"/>
                <a:t>Accusé de Réception</a:t>
              </a:r>
            </a:p>
            <a:p>
              <a:pPr algn="ctr"/>
              <a:r>
                <a:rPr lang="fr-FR" sz="900" dirty="0"/>
                <a:t>(Lots SCOR et FSE)</a:t>
              </a:r>
            </a:p>
          </p:txBody>
        </p:sp>
        <p:pic>
          <p:nvPicPr>
            <p:cNvPr id="21" name="Graphic 35" descr="Email">
              <a:extLst>
                <a:ext uri="{FF2B5EF4-FFF2-40B4-BE49-F238E27FC236}">
                  <a16:creationId xmlns:a16="http://schemas.microsoft.com/office/drawing/2014/main" id="{E471D49D-398C-4D5F-B3FE-2249513E59B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675664" y="2465638"/>
              <a:ext cx="125876" cy="125876"/>
            </a:xfrm>
            <a:prstGeom prst="rect">
              <a:avLst/>
            </a:prstGeom>
          </p:spPr>
        </p:pic>
      </p:grpSp>
      <p:grpSp>
        <p:nvGrpSpPr>
          <p:cNvPr id="22" name="Group 38">
            <a:extLst>
              <a:ext uri="{FF2B5EF4-FFF2-40B4-BE49-F238E27FC236}">
                <a16:creationId xmlns:a16="http://schemas.microsoft.com/office/drawing/2014/main" id="{DF2DA8F3-6248-476C-A843-AF3469AEC042}"/>
              </a:ext>
            </a:extLst>
          </p:cNvPr>
          <p:cNvGrpSpPr/>
          <p:nvPr/>
        </p:nvGrpSpPr>
        <p:grpSpPr>
          <a:xfrm>
            <a:off x="3152961" y="3633791"/>
            <a:ext cx="773128" cy="261610"/>
            <a:chOff x="1659770" y="1777764"/>
            <a:chExt cx="773128" cy="261610"/>
          </a:xfrm>
        </p:grpSpPr>
        <p:sp>
          <p:nvSpPr>
            <p:cNvPr id="23" name="TextBox 39">
              <a:extLst>
                <a:ext uri="{FF2B5EF4-FFF2-40B4-BE49-F238E27FC236}">
                  <a16:creationId xmlns:a16="http://schemas.microsoft.com/office/drawing/2014/main" id="{DF41CF09-B2B8-400E-B693-E71EDE325731}"/>
                </a:ext>
              </a:extLst>
            </p:cNvPr>
            <p:cNvSpPr txBox="1"/>
            <p:nvPr/>
          </p:nvSpPr>
          <p:spPr>
            <a:xfrm>
              <a:off x="1788171" y="1793153"/>
              <a:ext cx="644727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900" b="1" dirty="0"/>
                <a:t>Paiement</a:t>
              </a:r>
              <a:endParaRPr lang="fr-FR" sz="900" dirty="0"/>
            </a:p>
          </p:txBody>
        </p:sp>
        <p:sp>
          <p:nvSpPr>
            <p:cNvPr id="24" name="TextBox 40">
              <a:extLst>
                <a:ext uri="{FF2B5EF4-FFF2-40B4-BE49-F238E27FC236}">
                  <a16:creationId xmlns:a16="http://schemas.microsoft.com/office/drawing/2014/main" id="{498F26AF-2F36-4979-85AB-FC3E24109266}"/>
                </a:ext>
              </a:extLst>
            </p:cNvPr>
            <p:cNvSpPr txBox="1"/>
            <p:nvPr/>
          </p:nvSpPr>
          <p:spPr>
            <a:xfrm>
              <a:off x="1659770" y="1777764"/>
              <a:ext cx="25680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100" b="1" dirty="0"/>
                <a:t>€</a:t>
              </a:r>
              <a:endParaRPr lang="fr-FR" sz="900" b="1" dirty="0"/>
            </a:p>
          </p:txBody>
        </p:sp>
      </p:grpSp>
      <p:sp>
        <p:nvSpPr>
          <p:cNvPr id="25" name="Arrow: Right 41">
            <a:extLst>
              <a:ext uri="{FF2B5EF4-FFF2-40B4-BE49-F238E27FC236}">
                <a16:creationId xmlns:a16="http://schemas.microsoft.com/office/drawing/2014/main" id="{3EFA5E68-A95C-415A-A4BA-03F1EC8B7097}"/>
              </a:ext>
            </a:extLst>
          </p:cNvPr>
          <p:cNvSpPr/>
          <p:nvPr/>
        </p:nvSpPr>
        <p:spPr>
          <a:xfrm rot="10800000">
            <a:off x="2514457" y="3410145"/>
            <a:ext cx="2224591" cy="98635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6" name="Oval 42">
            <a:extLst>
              <a:ext uri="{FF2B5EF4-FFF2-40B4-BE49-F238E27FC236}">
                <a16:creationId xmlns:a16="http://schemas.microsoft.com/office/drawing/2014/main" id="{C701ABD8-5043-43B7-82D8-48A6A940AD27}"/>
              </a:ext>
            </a:extLst>
          </p:cNvPr>
          <p:cNvSpPr/>
          <p:nvPr/>
        </p:nvSpPr>
        <p:spPr>
          <a:xfrm>
            <a:off x="4573894" y="3352769"/>
            <a:ext cx="202265" cy="175483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>
                <a:solidFill>
                  <a:schemeClr val="bg1">
                    <a:lumMod val="50000"/>
                  </a:schemeClr>
                </a:solidFill>
              </a:rPr>
              <a:t>2</a:t>
            </a:r>
          </a:p>
        </p:txBody>
      </p:sp>
      <p:pic>
        <p:nvPicPr>
          <p:cNvPr id="27" name="Graphic 43" descr="Email">
            <a:extLst>
              <a:ext uri="{FF2B5EF4-FFF2-40B4-BE49-F238E27FC236}">
                <a16:creationId xmlns:a16="http://schemas.microsoft.com/office/drawing/2014/main" id="{2F9EF3FE-6E24-4C4D-8B99-182750E59BC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687912" y="3278000"/>
            <a:ext cx="125876" cy="125876"/>
          </a:xfrm>
          <a:prstGeom prst="rect">
            <a:avLst/>
          </a:prstGeom>
        </p:spPr>
      </p:pic>
      <p:sp>
        <p:nvSpPr>
          <p:cNvPr id="28" name="Arrow: Right 44">
            <a:extLst>
              <a:ext uri="{FF2B5EF4-FFF2-40B4-BE49-F238E27FC236}">
                <a16:creationId xmlns:a16="http://schemas.microsoft.com/office/drawing/2014/main" id="{935CB9F4-5FFC-4C08-83DF-11B70F4CF440}"/>
              </a:ext>
            </a:extLst>
          </p:cNvPr>
          <p:cNvSpPr/>
          <p:nvPr/>
        </p:nvSpPr>
        <p:spPr>
          <a:xfrm rot="10800000">
            <a:off x="2524055" y="3825508"/>
            <a:ext cx="2224591" cy="98635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9" name="Oval 45">
            <a:extLst>
              <a:ext uri="{FF2B5EF4-FFF2-40B4-BE49-F238E27FC236}">
                <a16:creationId xmlns:a16="http://schemas.microsoft.com/office/drawing/2014/main" id="{0A051247-943A-459F-B741-4AE5F410FE99}"/>
              </a:ext>
            </a:extLst>
          </p:cNvPr>
          <p:cNvSpPr/>
          <p:nvPr/>
        </p:nvSpPr>
        <p:spPr>
          <a:xfrm>
            <a:off x="4583492" y="3776258"/>
            <a:ext cx="202265" cy="175483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>
                <a:solidFill>
                  <a:schemeClr val="bg1">
                    <a:lumMod val="50000"/>
                  </a:schemeClr>
                </a:solidFill>
              </a:rPr>
              <a:t>3</a:t>
            </a:r>
          </a:p>
        </p:txBody>
      </p:sp>
      <p:sp>
        <p:nvSpPr>
          <p:cNvPr id="30" name="AutoShape 6">
            <a:extLst>
              <a:ext uri="{FF2B5EF4-FFF2-40B4-BE49-F238E27FC236}">
                <a16:creationId xmlns:a16="http://schemas.microsoft.com/office/drawing/2014/main" id="{13C659BC-772C-420B-96D8-14D7A9435C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7311" y="1806132"/>
            <a:ext cx="3858109" cy="248784"/>
          </a:xfrm>
          <a:prstGeom prst="roundRect">
            <a:avLst>
              <a:gd name="adj" fmla="val 0"/>
            </a:avLst>
          </a:prstGeom>
          <a:solidFill>
            <a:srgbClr val="41B2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/>
              <a:t>Circuit « e-prescription »</a:t>
            </a:r>
          </a:p>
        </p:txBody>
      </p:sp>
      <p:grpSp>
        <p:nvGrpSpPr>
          <p:cNvPr id="31" name="Group 48">
            <a:extLst>
              <a:ext uri="{FF2B5EF4-FFF2-40B4-BE49-F238E27FC236}">
                <a16:creationId xmlns:a16="http://schemas.microsoft.com/office/drawing/2014/main" id="{533E51F6-25EF-46F8-A33E-5A00DC13A80D}"/>
              </a:ext>
            </a:extLst>
          </p:cNvPr>
          <p:cNvGrpSpPr/>
          <p:nvPr/>
        </p:nvGrpSpPr>
        <p:grpSpPr>
          <a:xfrm>
            <a:off x="5996453" y="3210251"/>
            <a:ext cx="436566" cy="461665"/>
            <a:chOff x="4275470" y="1293887"/>
            <a:chExt cx="599707" cy="576000"/>
          </a:xfrm>
        </p:grpSpPr>
        <p:sp>
          <p:nvSpPr>
            <p:cNvPr id="32" name="Oval 49">
              <a:extLst>
                <a:ext uri="{FF2B5EF4-FFF2-40B4-BE49-F238E27FC236}">
                  <a16:creationId xmlns:a16="http://schemas.microsoft.com/office/drawing/2014/main" id="{2A642425-0A2B-4F65-B739-C5E263701A93}"/>
                </a:ext>
              </a:extLst>
            </p:cNvPr>
            <p:cNvSpPr/>
            <p:nvPr/>
          </p:nvSpPr>
          <p:spPr>
            <a:xfrm>
              <a:off x="4287323" y="1293887"/>
              <a:ext cx="576000" cy="576000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fr-FR" dirty="0"/>
            </a:p>
          </p:txBody>
        </p:sp>
        <p:grpSp>
          <p:nvGrpSpPr>
            <p:cNvPr id="33" name="Group 50">
              <a:extLst>
                <a:ext uri="{FF2B5EF4-FFF2-40B4-BE49-F238E27FC236}">
                  <a16:creationId xmlns:a16="http://schemas.microsoft.com/office/drawing/2014/main" id="{28F80589-86CE-46EB-B141-45C893659BCC}"/>
                </a:ext>
              </a:extLst>
            </p:cNvPr>
            <p:cNvGrpSpPr/>
            <p:nvPr/>
          </p:nvGrpSpPr>
          <p:grpSpPr>
            <a:xfrm>
              <a:off x="4275470" y="1296197"/>
              <a:ext cx="599707" cy="571380"/>
              <a:chOff x="696510" y="2798379"/>
              <a:chExt cx="864000" cy="862364"/>
            </a:xfrm>
          </p:grpSpPr>
          <p:pic>
            <p:nvPicPr>
              <p:cNvPr id="34" name="Graphic 64" descr="Female Profile">
                <a:extLst>
                  <a:ext uri="{FF2B5EF4-FFF2-40B4-BE49-F238E27FC236}">
                    <a16:creationId xmlns:a16="http://schemas.microsoft.com/office/drawing/2014/main" id="{BB50EABE-E086-4A67-80E8-672C364DE58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696510" y="2798379"/>
                <a:ext cx="864000" cy="862364"/>
              </a:xfrm>
              <a:prstGeom prst="rect">
                <a:avLst/>
              </a:prstGeom>
            </p:spPr>
          </p:pic>
          <p:pic>
            <p:nvPicPr>
              <p:cNvPr id="35" name="Picture 52">
                <a:extLst>
                  <a:ext uri="{FF2B5EF4-FFF2-40B4-BE49-F238E27FC236}">
                    <a16:creationId xmlns:a16="http://schemas.microsoft.com/office/drawing/2014/main" id="{261E1EA7-0B8F-412B-ABE0-2B13D49076B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1029086" y="3274126"/>
                <a:ext cx="359309" cy="263989"/>
              </a:xfrm>
              <a:prstGeom prst="rect">
                <a:avLst/>
              </a:prstGeom>
            </p:spPr>
          </p:pic>
        </p:grpSp>
      </p:grpSp>
      <p:pic>
        <p:nvPicPr>
          <p:cNvPr id="36" name="Picture 13" descr="Compte ameli - mon espace personnel - Connexion à mon compte">
            <a:extLst>
              <a:ext uri="{FF2B5EF4-FFF2-40B4-BE49-F238E27FC236}">
                <a16:creationId xmlns:a16="http://schemas.microsoft.com/office/drawing/2014/main" id="{97BA3108-46D1-4B3C-9884-E39329D2A4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6902" y="3165739"/>
            <a:ext cx="468052" cy="46805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Arrow: Right 54">
            <a:extLst>
              <a:ext uri="{FF2B5EF4-FFF2-40B4-BE49-F238E27FC236}">
                <a16:creationId xmlns:a16="http://schemas.microsoft.com/office/drawing/2014/main" id="{281F8524-06D5-4ADE-8B48-AC4F1E661CA3}"/>
              </a:ext>
            </a:extLst>
          </p:cNvPr>
          <p:cNvSpPr/>
          <p:nvPr/>
        </p:nvSpPr>
        <p:spPr>
          <a:xfrm>
            <a:off x="6599711" y="3000512"/>
            <a:ext cx="2224591" cy="98635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Oval 55">
            <a:extLst>
              <a:ext uri="{FF2B5EF4-FFF2-40B4-BE49-F238E27FC236}">
                <a16:creationId xmlns:a16="http://schemas.microsoft.com/office/drawing/2014/main" id="{E12E3C50-37C8-4ABE-A2D5-E9D9B97BB0D0}"/>
              </a:ext>
            </a:extLst>
          </p:cNvPr>
          <p:cNvSpPr/>
          <p:nvPr/>
        </p:nvSpPr>
        <p:spPr>
          <a:xfrm>
            <a:off x="6581647" y="2959307"/>
            <a:ext cx="202265" cy="175483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>
                <a:solidFill>
                  <a:schemeClr val="bg1">
                    <a:lumMod val="50000"/>
                  </a:schemeClr>
                </a:solidFill>
              </a:rPr>
              <a:t>1</a:t>
            </a:r>
          </a:p>
        </p:txBody>
      </p:sp>
      <p:sp>
        <p:nvSpPr>
          <p:cNvPr id="39" name="TextBox 58">
            <a:extLst>
              <a:ext uri="{FF2B5EF4-FFF2-40B4-BE49-F238E27FC236}">
                <a16:creationId xmlns:a16="http://schemas.microsoft.com/office/drawing/2014/main" id="{21C7EBD1-4734-4E23-A6C7-E7C6619BD041}"/>
              </a:ext>
            </a:extLst>
          </p:cNvPr>
          <p:cNvSpPr txBox="1"/>
          <p:nvPr/>
        </p:nvSpPr>
        <p:spPr>
          <a:xfrm>
            <a:off x="7108971" y="2821981"/>
            <a:ext cx="138211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900" b="1" dirty="0"/>
              <a:t>Lot FSE  </a:t>
            </a:r>
            <a:r>
              <a:rPr lang="fr-FR" sz="900" b="1" dirty="0">
                <a:solidFill>
                  <a:srgbClr val="13BCCF"/>
                </a:solidFill>
              </a:rPr>
              <a:t>+ e-prescriptions</a:t>
            </a:r>
            <a:endParaRPr lang="fr-FR" sz="900" dirty="0"/>
          </a:p>
        </p:txBody>
      </p:sp>
      <p:grpSp>
        <p:nvGrpSpPr>
          <p:cNvPr id="40" name="Group 63">
            <a:extLst>
              <a:ext uri="{FF2B5EF4-FFF2-40B4-BE49-F238E27FC236}">
                <a16:creationId xmlns:a16="http://schemas.microsoft.com/office/drawing/2014/main" id="{49B35740-5D76-4356-9E46-D464719A7C0A}"/>
              </a:ext>
            </a:extLst>
          </p:cNvPr>
          <p:cNvGrpSpPr/>
          <p:nvPr/>
        </p:nvGrpSpPr>
        <p:grpSpPr>
          <a:xfrm>
            <a:off x="6917103" y="3092093"/>
            <a:ext cx="1692600" cy="369332"/>
            <a:chOff x="3675664" y="2283842"/>
            <a:chExt cx="1692600" cy="369332"/>
          </a:xfrm>
        </p:grpSpPr>
        <p:sp>
          <p:nvSpPr>
            <p:cNvPr id="41" name="TextBox 64">
              <a:extLst>
                <a:ext uri="{FF2B5EF4-FFF2-40B4-BE49-F238E27FC236}">
                  <a16:creationId xmlns:a16="http://schemas.microsoft.com/office/drawing/2014/main" id="{8A01BB1C-0484-473F-9969-70470FF4D357}"/>
                </a:ext>
              </a:extLst>
            </p:cNvPr>
            <p:cNvSpPr txBox="1"/>
            <p:nvPr/>
          </p:nvSpPr>
          <p:spPr>
            <a:xfrm>
              <a:off x="3880356" y="2283842"/>
              <a:ext cx="148790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900" b="1" dirty="0"/>
                <a:t>Accusé de Réception</a:t>
              </a:r>
            </a:p>
            <a:p>
              <a:pPr algn="ctr"/>
              <a:r>
                <a:rPr lang="fr-FR" sz="900" dirty="0"/>
                <a:t>(Lots FSE et </a:t>
              </a:r>
              <a:r>
                <a:rPr lang="fr-FR" sz="900" dirty="0">
                  <a:solidFill>
                    <a:srgbClr val="13BCCF"/>
                  </a:solidFill>
                </a:rPr>
                <a:t>e-prescriptions</a:t>
              </a:r>
              <a:r>
                <a:rPr lang="fr-FR" sz="900" dirty="0"/>
                <a:t>)</a:t>
              </a:r>
            </a:p>
          </p:txBody>
        </p:sp>
        <p:pic>
          <p:nvPicPr>
            <p:cNvPr id="42" name="Graphic 65" descr="Email">
              <a:extLst>
                <a:ext uri="{FF2B5EF4-FFF2-40B4-BE49-F238E27FC236}">
                  <a16:creationId xmlns:a16="http://schemas.microsoft.com/office/drawing/2014/main" id="{76C7E7A1-7C75-4232-B724-63813A76F65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675664" y="2465638"/>
              <a:ext cx="125876" cy="125876"/>
            </a:xfrm>
            <a:prstGeom prst="rect">
              <a:avLst/>
            </a:prstGeom>
          </p:spPr>
        </p:pic>
      </p:grpSp>
      <p:grpSp>
        <p:nvGrpSpPr>
          <p:cNvPr id="43" name="Group 66">
            <a:extLst>
              <a:ext uri="{FF2B5EF4-FFF2-40B4-BE49-F238E27FC236}">
                <a16:creationId xmlns:a16="http://schemas.microsoft.com/office/drawing/2014/main" id="{7FD8B6F4-28F7-4CBD-A69A-3FED6A20ECD7}"/>
              </a:ext>
            </a:extLst>
          </p:cNvPr>
          <p:cNvGrpSpPr/>
          <p:nvPr/>
        </p:nvGrpSpPr>
        <p:grpSpPr>
          <a:xfrm>
            <a:off x="7248946" y="3629680"/>
            <a:ext cx="773128" cy="261610"/>
            <a:chOff x="1659770" y="1777764"/>
            <a:chExt cx="773128" cy="261610"/>
          </a:xfrm>
        </p:grpSpPr>
        <p:sp>
          <p:nvSpPr>
            <p:cNvPr id="44" name="TextBox 67">
              <a:extLst>
                <a:ext uri="{FF2B5EF4-FFF2-40B4-BE49-F238E27FC236}">
                  <a16:creationId xmlns:a16="http://schemas.microsoft.com/office/drawing/2014/main" id="{7CD3A0F3-C3F8-437D-817B-60EABCF8E834}"/>
                </a:ext>
              </a:extLst>
            </p:cNvPr>
            <p:cNvSpPr txBox="1"/>
            <p:nvPr/>
          </p:nvSpPr>
          <p:spPr>
            <a:xfrm>
              <a:off x="1788171" y="1793153"/>
              <a:ext cx="644727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900" b="1" dirty="0"/>
                <a:t>Paiement</a:t>
              </a:r>
              <a:endParaRPr lang="fr-FR" sz="900" dirty="0"/>
            </a:p>
          </p:txBody>
        </p:sp>
        <p:sp>
          <p:nvSpPr>
            <p:cNvPr id="45" name="TextBox 68">
              <a:extLst>
                <a:ext uri="{FF2B5EF4-FFF2-40B4-BE49-F238E27FC236}">
                  <a16:creationId xmlns:a16="http://schemas.microsoft.com/office/drawing/2014/main" id="{ECC439B7-0987-4101-B1C7-96B992A303C5}"/>
                </a:ext>
              </a:extLst>
            </p:cNvPr>
            <p:cNvSpPr txBox="1"/>
            <p:nvPr/>
          </p:nvSpPr>
          <p:spPr>
            <a:xfrm>
              <a:off x="1659770" y="1777764"/>
              <a:ext cx="25680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100" b="1" dirty="0"/>
                <a:t>€</a:t>
              </a:r>
              <a:endParaRPr lang="fr-FR" sz="900" b="1" dirty="0"/>
            </a:p>
          </p:txBody>
        </p:sp>
      </p:grpSp>
      <p:sp>
        <p:nvSpPr>
          <p:cNvPr id="46" name="Arrow: Right 69">
            <a:extLst>
              <a:ext uri="{FF2B5EF4-FFF2-40B4-BE49-F238E27FC236}">
                <a16:creationId xmlns:a16="http://schemas.microsoft.com/office/drawing/2014/main" id="{197D5951-9875-4891-AC28-231E72070C3C}"/>
              </a:ext>
            </a:extLst>
          </p:cNvPr>
          <p:cNvSpPr/>
          <p:nvPr/>
        </p:nvSpPr>
        <p:spPr>
          <a:xfrm rot="10800000">
            <a:off x="6610442" y="3406034"/>
            <a:ext cx="2224591" cy="98635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7" name="Oval 70">
            <a:extLst>
              <a:ext uri="{FF2B5EF4-FFF2-40B4-BE49-F238E27FC236}">
                <a16:creationId xmlns:a16="http://schemas.microsoft.com/office/drawing/2014/main" id="{27A53EA5-0A7E-4A5C-A8A0-4C5257F6202F}"/>
              </a:ext>
            </a:extLst>
          </p:cNvPr>
          <p:cNvSpPr/>
          <p:nvPr/>
        </p:nvSpPr>
        <p:spPr>
          <a:xfrm>
            <a:off x="8669879" y="3348658"/>
            <a:ext cx="202265" cy="175483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>
                <a:solidFill>
                  <a:schemeClr val="bg1">
                    <a:lumMod val="50000"/>
                  </a:schemeClr>
                </a:solidFill>
              </a:rPr>
              <a:t>2</a:t>
            </a:r>
          </a:p>
        </p:txBody>
      </p:sp>
      <p:pic>
        <p:nvPicPr>
          <p:cNvPr id="48" name="Graphic 71" descr="Email">
            <a:extLst>
              <a:ext uri="{FF2B5EF4-FFF2-40B4-BE49-F238E27FC236}">
                <a16:creationId xmlns:a16="http://schemas.microsoft.com/office/drawing/2014/main" id="{203EC42F-7192-492F-A02E-D4B2E6F70BC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783897" y="3273889"/>
            <a:ext cx="125876" cy="125876"/>
          </a:xfrm>
          <a:prstGeom prst="rect">
            <a:avLst/>
          </a:prstGeom>
        </p:spPr>
      </p:pic>
      <p:sp>
        <p:nvSpPr>
          <p:cNvPr id="49" name="Arrow: Right 72">
            <a:extLst>
              <a:ext uri="{FF2B5EF4-FFF2-40B4-BE49-F238E27FC236}">
                <a16:creationId xmlns:a16="http://schemas.microsoft.com/office/drawing/2014/main" id="{8034FA6E-D8EF-4995-A8A0-20983DDED2D1}"/>
              </a:ext>
            </a:extLst>
          </p:cNvPr>
          <p:cNvSpPr/>
          <p:nvPr/>
        </p:nvSpPr>
        <p:spPr>
          <a:xfrm rot="10800000">
            <a:off x="6620040" y="3821397"/>
            <a:ext cx="2224591" cy="98635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0" name="Oval 73">
            <a:extLst>
              <a:ext uri="{FF2B5EF4-FFF2-40B4-BE49-F238E27FC236}">
                <a16:creationId xmlns:a16="http://schemas.microsoft.com/office/drawing/2014/main" id="{65701600-762F-494B-9694-FA38FCF728D2}"/>
              </a:ext>
            </a:extLst>
          </p:cNvPr>
          <p:cNvSpPr/>
          <p:nvPr/>
        </p:nvSpPr>
        <p:spPr>
          <a:xfrm>
            <a:off x="8679477" y="3772147"/>
            <a:ext cx="202265" cy="175483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>
                <a:solidFill>
                  <a:schemeClr val="bg1">
                    <a:lumMod val="50000"/>
                  </a:schemeClr>
                </a:solidFill>
              </a:rPr>
              <a:t>3</a:t>
            </a:r>
          </a:p>
        </p:txBody>
      </p:sp>
      <p:pic>
        <p:nvPicPr>
          <p:cNvPr id="51" name="Picture 5" descr="Recevoir QR Code for Windows 10 - Microsoft Store fr-FR">
            <a:extLst>
              <a:ext uri="{FF2B5EF4-FFF2-40B4-BE49-F238E27FC236}">
                <a16:creationId xmlns:a16="http://schemas.microsoft.com/office/drawing/2014/main" id="{E3B772DA-0856-497C-AA9D-A43FC8064F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4219" y="2636459"/>
            <a:ext cx="66469" cy="664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Freeform: Shape 74">
            <a:extLst>
              <a:ext uri="{FF2B5EF4-FFF2-40B4-BE49-F238E27FC236}">
                <a16:creationId xmlns:a16="http://schemas.microsoft.com/office/drawing/2014/main" id="{6EEE8858-D1C0-4926-B9C9-46C8FD3CA4A5}"/>
              </a:ext>
            </a:extLst>
          </p:cNvPr>
          <p:cNvSpPr/>
          <p:nvPr/>
        </p:nvSpPr>
        <p:spPr>
          <a:xfrm>
            <a:off x="7840280" y="2311697"/>
            <a:ext cx="202265" cy="260987"/>
          </a:xfrm>
          <a:custGeom>
            <a:avLst/>
            <a:gdLst>
              <a:gd name="connsiteX0" fmla="*/ 182691 w 202264"/>
              <a:gd name="connsiteY0" fmla="*/ 241413 h 260986"/>
              <a:gd name="connsiteX1" fmla="*/ 19574 w 202264"/>
              <a:gd name="connsiteY1" fmla="*/ 241413 h 260986"/>
              <a:gd name="connsiteX2" fmla="*/ 19574 w 202264"/>
              <a:gd name="connsiteY2" fmla="*/ 19574 h 260986"/>
              <a:gd name="connsiteX3" fmla="*/ 182691 w 202264"/>
              <a:gd name="connsiteY3" fmla="*/ 19574 h 260986"/>
              <a:gd name="connsiteX4" fmla="*/ 182691 w 202264"/>
              <a:gd name="connsiteY4" fmla="*/ 241413 h 260986"/>
              <a:gd name="connsiteX5" fmla="*/ 202265 w 202264"/>
              <a:gd name="connsiteY5" fmla="*/ 0 h 260986"/>
              <a:gd name="connsiteX6" fmla="*/ 0 w 202264"/>
              <a:gd name="connsiteY6" fmla="*/ 0 h 260986"/>
              <a:gd name="connsiteX7" fmla="*/ 0 w 202264"/>
              <a:gd name="connsiteY7" fmla="*/ 260987 h 260986"/>
              <a:gd name="connsiteX8" fmla="*/ 202265 w 202264"/>
              <a:gd name="connsiteY8" fmla="*/ 260987 h 260986"/>
              <a:gd name="connsiteX9" fmla="*/ 202265 w 202264"/>
              <a:gd name="connsiteY9" fmla="*/ 0 h 260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2264" h="260986">
                <a:moveTo>
                  <a:pt x="182691" y="241413"/>
                </a:moveTo>
                <a:lnTo>
                  <a:pt x="19574" y="241413"/>
                </a:lnTo>
                <a:lnTo>
                  <a:pt x="19574" y="19574"/>
                </a:lnTo>
                <a:lnTo>
                  <a:pt x="182691" y="19574"/>
                </a:lnTo>
                <a:lnTo>
                  <a:pt x="182691" y="241413"/>
                </a:lnTo>
                <a:close/>
                <a:moveTo>
                  <a:pt x="202265" y="0"/>
                </a:moveTo>
                <a:lnTo>
                  <a:pt x="0" y="0"/>
                </a:lnTo>
                <a:lnTo>
                  <a:pt x="0" y="260987"/>
                </a:lnTo>
                <a:lnTo>
                  <a:pt x="202265" y="260987"/>
                </a:lnTo>
                <a:lnTo>
                  <a:pt x="202265" y="0"/>
                </a:lnTo>
                <a:close/>
              </a:path>
            </a:pathLst>
          </a:custGeom>
          <a:solidFill>
            <a:srgbClr val="000000"/>
          </a:solidFill>
          <a:ln w="3175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53" name="Freeform: Shape 76">
            <a:extLst>
              <a:ext uri="{FF2B5EF4-FFF2-40B4-BE49-F238E27FC236}">
                <a16:creationId xmlns:a16="http://schemas.microsoft.com/office/drawing/2014/main" id="{C73AF4C5-EAB8-47B0-A526-24A57BF6E4E3}"/>
              </a:ext>
            </a:extLst>
          </p:cNvPr>
          <p:cNvSpPr/>
          <p:nvPr/>
        </p:nvSpPr>
        <p:spPr>
          <a:xfrm>
            <a:off x="7932991" y="2467481"/>
            <a:ext cx="202265" cy="260987"/>
          </a:xfrm>
          <a:custGeom>
            <a:avLst/>
            <a:gdLst>
              <a:gd name="connsiteX0" fmla="*/ 182691 w 202264"/>
              <a:gd name="connsiteY0" fmla="*/ 241413 h 260986"/>
              <a:gd name="connsiteX1" fmla="*/ 19574 w 202264"/>
              <a:gd name="connsiteY1" fmla="*/ 241413 h 260986"/>
              <a:gd name="connsiteX2" fmla="*/ 19574 w 202264"/>
              <a:gd name="connsiteY2" fmla="*/ 19574 h 260986"/>
              <a:gd name="connsiteX3" fmla="*/ 182691 w 202264"/>
              <a:gd name="connsiteY3" fmla="*/ 19574 h 260986"/>
              <a:gd name="connsiteX4" fmla="*/ 182691 w 202264"/>
              <a:gd name="connsiteY4" fmla="*/ 241413 h 260986"/>
              <a:gd name="connsiteX5" fmla="*/ 202265 w 202264"/>
              <a:gd name="connsiteY5" fmla="*/ 0 h 260986"/>
              <a:gd name="connsiteX6" fmla="*/ 0 w 202264"/>
              <a:gd name="connsiteY6" fmla="*/ 0 h 260986"/>
              <a:gd name="connsiteX7" fmla="*/ 0 w 202264"/>
              <a:gd name="connsiteY7" fmla="*/ 260987 h 260986"/>
              <a:gd name="connsiteX8" fmla="*/ 202265 w 202264"/>
              <a:gd name="connsiteY8" fmla="*/ 260987 h 260986"/>
              <a:gd name="connsiteX9" fmla="*/ 202265 w 202264"/>
              <a:gd name="connsiteY9" fmla="*/ 0 h 260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2264" h="260986">
                <a:moveTo>
                  <a:pt x="182691" y="241413"/>
                </a:moveTo>
                <a:lnTo>
                  <a:pt x="19574" y="241413"/>
                </a:lnTo>
                <a:lnTo>
                  <a:pt x="19574" y="19574"/>
                </a:lnTo>
                <a:lnTo>
                  <a:pt x="182691" y="19574"/>
                </a:lnTo>
                <a:lnTo>
                  <a:pt x="182691" y="241413"/>
                </a:lnTo>
                <a:close/>
                <a:moveTo>
                  <a:pt x="202265" y="0"/>
                </a:moveTo>
                <a:lnTo>
                  <a:pt x="0" y="0"/>
                </a:lnTo>
                <a:lnTo>
                  <a:pt x="0" y="260987"/>
                </a:lnTo>
                <a:lnTo>
                  <a:pt x="202265" y="260987"/>
                </a:lnTo>
                <a:lnTo>
                  <a:pt x="202265" y="0"/>
                </a:lnTo>
                <a:close/>
              </a:path>
            </a:pathLst>
          </a:custGeom>
          <a:solidFill>
            <a:srgbClr val="000000"/>
          </a:solidFill>
          <a:ln w="3175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54" name="Freeform: Shape 77">
            <a:extLst>
              <a:ext uri="{FF2B5EF4-FFF2-40B4-BE49-F238E27FC236}">
                <a16:creationId xmlns:a16="http://schemas.microsoft.com/office/drawing/2014/main" id="{7D2180A0-1E6C-42B1-9526-531F22F756F7}"/>
              </a:ext>
            </a:extLst>
          </p:cNvPr>
          <p:cNvSpPr/>
          <p:nvPr/>
        </p:nvSpPr>
        <p:spPr>
          <a:xfrm>
            <a:off x="7887734" y="2378933"/>
            <a:ext cx="202265" cy="260987"/>
          </a:xfrm>
          <a:custGeom>
            <a:avLst/>
            <a:gdLst>
              <a:gd name="connsiteX0" fmla="*/ 182691 w 202264"/>
              <a:gd name="connsiteY0" fmla="*/ 241413 h 260986"/>
              <a:gd name="connsiteX1" fmla="*/ 19574 w 202264"/>
              <a:gd name="connsiteY1" fmla="*/ 241413 h 260986"/>
              <a:gd name="connsiteX2" fmla="*/ 19574 w 202264"/>
              <a:gd name="connsiteY2" fmla="*/ 19574 h 260986"/>
              <a:gd name="connsiteX3" fmla="*/ 182691 w 202264"/>
              <a:gd name="connsiteY3" fmla="*/ 19574 h 260986"/>
              <a:gd name="connsiteX4" fmla="*/ 182691 w 202264"/>
              <a:gd name="connsiteY4" fmla="*/ 241413 h 260986"/>
              <a:gd name="connsiteX5" fmla="*/ 202265 w 202264"/>
              <a:gd name="connsiteY5" fmla="*/ 0 h 260986"/>
              <a:gd name="connsiteX6" fmla="*/ 0 w 202264"/>
              <a:gd name="connsiteY6" fmla="*/ 0 h 260986"/>
              <a:gd name="connsiteX7" fmla="*/ 0 w 202264"/>
              <a:gd name="connsiteY7" fmla="*/ 260987 h 260986"/>
              <a:gd name="connsiteX8" fmla="*/ 202265 w 202264"/>
              <a:gd name="connsiteY8" fmla="*/ 260987 h 260986"/>
              <a:gd name="connsiteX9" fmla="*/ 202265 w 202264"/>
              <a:gd name="connsiteY9" fmla="*/ 0 h 260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2264" h="260986">
                <a:moveTo>
                  <a:pt x="182691" y="241413"/>
                </a:moveTo>
                <a:lnTo>
                  <a:pt x="19574" y="241413"/>
                </a:lnTo>
                <a:lnTo>
                  <a:pt x="19574" y="19574"/>
                </a:lnTo>
                <a:lnTo>
                  <a:pt x="182691" y="19574"/>
                </a:lnTo>
                <a:lnTo>
                  <a:pt x="182691" y="241413"/>
                </a:lnTo>
                <a:close/>
                <a:moveTo>
                  <a:pt x="202265" y="0"/>
                </a:moveTo>
                <a:lnTo>
                  <a:pt x="0" y="0"/>
                </a:lnTo>
                <a:lnTo>
                  <a:pt x="0" y="260987"/>
                </a:lnTo>
                <a:lnTo>
                  <a:pt x="202265" y="260987"/>
                </a:lnTo>
                <a:lnTo>
                  <a:pt x="202265" y="0"/>
                </a:lnTo>
                <a:close/>
              </a:path>
            </a:pathLst>
          </a:custGeom>
          <a:solidFill>
            <a:srgbClr val="000000"/>
          </a:solidFill>
          <a:ln w="3175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55" name="TextBox 1">
            <a:extLst>
              <a:ext uri="{FF2B5EF4-FFF2-40B4-BE49-F238E27FC236}">
                <a16:creationId xmlns:a16="http://schemas.microsoft.com/office/drawing/2014/main" id="{095D93B2-FFA0-404C-8C35-54F7EF0DAC73}"/>
              </a:ext>
            </a:extLst>
          </p:cNvPr>
          <p:cNvSpPr txBox="1"/>
          <p:nvPr/>
        </p:nvSpPr>
        <p:spPr>
          <a:xfrm>
            <a:off x="1890617" y="4077809"/>
            <a:ext cx="205310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*Index en cas de renouvellement</a:t>
            </a:r>
          </a:p>
        </p:txBody>
      </p:sp>
      <p:sp>
        <p:nvSpPr>
          <p:cNvPr id="56" name="Freeform: Shape 74">
            <a:extLst>
              <a:ext uri="{FF2B5EF4-FFF2-40B4-BE49-F238E27FC236}">
                <a16:creationId xmlns:a16="http://schemas.microsoft.com/office/drawing/2014/main" id="{6EEE8858-D1C0-4926-B9C9-46C8FD3CA4A5}"/>
              </a:ext>
            </a:extLst>
          </p:cNvPr>
          <p:cNvSpPr/>
          <p:nvPr/>
        </p:nvSpPr>
        <p:spPr>
          <a:xfrm>
            <a:off x="7389289" y="2311697"/>
            <a:ext cx="202265" cy="260987"/>
          </a:xfrm>
          <a:custGeom>
            <a:avLst/>
            <a:gdLst>
              <a:gd name="connsiteX0" fmla="*/ 182691 w 202264"/>
              <a:gd name="connsiteY0" fmla="*/ 241413 h 260986"/>
              <a:gd name="connsiteX1" fmla="*/ 19574 w 202264"/>
              <a:gd name="connsiteY1" fmla="*/ 241413 h 260986"/>
              <a:gd name="connsiteX2" fmla="*/ 19574 w 202264"/>
              <a:gd name="connsiteY2" fmla="*/ 19574 h 260986"/>
              <a:gd name="connsiteX3" fmla="*/ 182691 w 202264"/>
              <a:gd name="connsiteY3" fmla="*/ 19574 h 260986"/>
              <a:gd name="connsiteX4" fmla="*/ 182691 w 202264"/>
              <a:gd name="connsiteY4" fmla="*/ 241413 h 260986"/>
              <a:gd name="connsiteX5" fmla="*/ 202265 w 202264"/>
              <a:gd name="connsiteY5" fmla="*/ 0 h 260986"/>
              <a:gd name="connsiteX6" fmla="*/ 0 w 202264"/>
              <a:gd name="connsiteY6" fmla="*/ 0 h 260986"/>
              <a:gd name="connsiteX7" fmla="*/ 0 w 202264"/>
              <a:gd name="connsiteY7" fmla="*/ 260987 h 260986"/>
              <a:gd name="connsiteX8" fmla="*/ 202265 w 202264"/>
              <a:gd name="connsiteY8" fmla="*/ 260987 h 260986"/>
              <a:gd name="connsiteX9" fmla="*/ 202265 w 202264"/>
              <a:gd name="connsiteY9" fmla="*/ 0 h 260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2264" h="260986">
                <a:moveTo>
                  <a:pt x="182691" y="241413"/>
                </a:moveTo>
                <a:lnTo>
                  <a:pt x="19574" y="241413"/>
                </a:lnTo>
                <a:lnTo>
                  <a:pt x="19574" y="19574"/>
                </a:lnTo>
                <a:lnTo>
                  <a:pt x="182691" y="19574"/>
                </a:lnTo>
                <a:lnTo>
                  <a:pt x="182691" y="241413"/>
                </a:lnTo>
                <a:close/>
                <a:moveTo>
                  <a:pt x="202265" y="0"/>
                </a:moveTo>
                <a:lnTo>
                  <a:pt x="0" y="0"/>
                </a:lnTo>
                <a:lnTo>
                  <a:pt x="0" y="260987"/>
                </a:lnTo>
                <a:lnTo>
                  <a:pt x="202265" y="260987"/>
                </a:lnTo>
                <a:lnTo>
                  <a:pt x="202265" y="0"/>
                </a:lnTo>
                <a:close/>
              </a:path>
            </a:pathLst>
          </a:custGeom>
          <a:solidFill>
            <a:srgbClr val="000000"/>
          </a:solidFill>
          <a:ln w="3175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57" name="Freeform: Shape 76">
            <a:extLst>
              <a:ext uri="{FF2B5EF4-FFF2-40B4-BE49-F238E27FC236}">
                <a16:creationId xmlns:a16="http://schemas.microsoft.com/office/drawing/2014/main" id="{C73AF4C5-EAB8-47B0-A526-24A57BF6E4E3}"/>
              </a:ext>
            </a:extLst>
          </p:cNvPr>
          <p:cNvSpPr/>
          <p:nvPr/>
        </p:nvSpPr>
        <p:spPr>
          <a:xfrm>
            <a:off x="7482000" y="2467481"/>
            <a:ext cx="202265" cy="260987"/>
          </a:xfrm>
          <a:custGeom>
            <a:avLst/>
            <a:gdLst>
              <a:gd name="connsiteX0" fmla="*/ 182691 w 202264"/>
              <a:gd name="connsiteY0" fmla="*/ 241413 h 260986"/>
              <a:gd name="connsiteX1" fmla="*/ 19574 w 202264"/>
              <a:gd name="connsiteY1" fmla="*/ 241413 h 260986"/>
              <a:gd name="connsiteX2" fmla="*/ 19574 w 202264"/>
              <a:gd name="connsiteY2" fmla="*/ 19574 h 260986"/>
              <a:gd name="connsiteX3" fmla="*/ 182691 w 202264"/>
              <a:gd name="connsiteY3" fmla="*/ 19574 h 260986"/>
              <a:gd name="connsiteX4" fmla="*/ 182691 w 202264"/>
              <a:gd name="connsiteY4" fmla="*/ 241413 h 260986"/>
              <a:gd name="connsiteX5" fmla="*/ 202265 w 202264"/>
              <a:gd name="connsiteY5" fmla="*/ 0 h 260986"/>
              <a:gd name="connsiteX6" fmla="*/ 0 w 202264"/>
              <a:gd name="connsiteY6" fmla="*/ 0 h 260986"/>
              <a:gd name="connsiteX7" fmla="*/ 0 w 202264"/>
              <a:gd name="connsiteY7" fmla="*/ 260987 h 260986"/>
              <a:gd name="connsiteX8" fmla="*/ 202265 w 202264"/>
              <a:gd name="connsiteY8" fmla="*/ 260987 h 260986"/>
              <a:gd name="connsiteX9" fmla="*/ 202265 w 202264"/>
              <a:gd name="connsiteY9" fmla="*/ 0 h 260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2264" h="260986">
                <a:moveTo>
                  <a:pt x="182691" y="241413"/>
                </a:moveTo>
                <a:lnTo>
                  <a:pt x="19574" y="241413"/>
                </a:lnTo>
                <a:lnTo>
                  <a:pt x="19574" y="19574"/>
                </a:lnTo>
                <a:lnTo>
                  <a:pt x="182691" y="19574"/>
                </a:lnTo>
                <a:lnTo>
                  <a:pt x="182691" y="241413"/>
                </a:lnTo>
                <a:close/>
                <a:moveTo>
                  <a:pt x="202265" y="0"/>
                </a:moveTo>
                <a:lnTo>
                  <a:pt x="0" y="0"/>
                </a:lnTo>
                <a:lnTo>
                  <a:pt x="0" y="260987"/>
                </a:lnTo>
                <a:lnTo>
                  <a:pt x="202265" y="260987"/>
                </a:lnTo>
                <a:lnTo>
                  <a:pt x="202265" y="0"/>
                </a:lnTo>
                <a:close/>
              </a:path>
            </a:pathLst>
          </a:custGeom>
          <a:solidFill>
            <a:srgbClr val="000000"/>
          </a:solidFill>
          <a:ln w="3175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58" name="Freeform: Shape 77">
            <a:extLst>
              <a:ext uri="{FF2B5EF4-FFF2-40B4-BE49-F238E27FC236}">
                <a16:creationId xmlns:a16="http://schemas.microsoft.com/office/drawing/2014/main" id="{7D2180A0-1E6C-42B1-9526-531F22F756F7}"/>
              </a:ext>
            </a:extLst>
          </p:cNvPr>
          <p:cNvSpPr/>
          <p:nvPr/>
        </p:nvSpPr>
        <p:spPr>
          <a:xfrm>
            <a:off x="7436743" y="2378933"/>
            <a:ext cx="202265" cy="260987"/>
          </a:xfrm>
          <a:custGeom>
            <a:avLst/>
            <a:gdLst>
              <a:gd name="connsiteX0" fmla="*/ 182691 w 202264"/>
              <a:gd name="connsiteY0" fmla="*/ 241413 h 260986"/>
              <a:gd name="connsiteX1" fmla="*/ 19574 w 202264"/>
              <a:gd name="connsiteY1" fmla="*/ 241413 h 260986"/>
              <a:gd name="connsiteX2" fmla="*/ 19574 w 202264"/>
              <a:gd name="connsiteY2" fmla="*/ 19574 h 260986"/>
              <a:gd name="connsiteX3" fmla="*/ 182691 w 202264"/>
              <a:gd name="connsiteY3" fmla="*/ 19574 h 260986"/>
              <a:gd name="connsiteX4" fmla="*/ 182691 w 202264"/>
              <a:gd name="connsiteY4" fmla="*/ 241413 h 260986"/>
              <a:gd name="connsiteX5" fmla="*/ 202265 w 202264"/>
              <a:gd name="connsiteY5" fmla="*/ 0 h 260986"/>
              <a:gd name="connsiteX6" fmla="*/ 0 w 202264"/>
              <a:gd name="connsiteY6" fmla="*/ 0 h 260986"/>
              <a:gd name="connsiteX7" fmla="*/ 0 w 202264"/>
              <a:gd name="connsiteY7" fmla="*/ 260987 h 260986"/>
              <a:gd name="connsiteX8" fmla="*/ 202265 w 202264"/>
              <a:gd name="connsiteY8" fmla="*/ 260987 h 260986"/>
              <a:gd name="connsiteX9" fmla="*/ 202265 w 202264"/>
              <a:gd name="connsiteY9" fmla="*/ 0 h 260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2264" h="260986">
                <a:moveTo>
                  <a:pt x="182691" y="241413"/>
                </a:moveTo>
                <a:lnTo>
                  <a:pt x="19574" y="241413"/>
                </a:lnTo>
                <a:lnTo>
                  <a:pt x="19574" y="19574"/>
                </a:lnTo>
                <a:lnTo>
                  <a:pt x="182691" y="19574"/>
                </a:lnTo>
                <a:lnTo>
                  <a:pt x="182691" y="241413"/>
                </a:lnTo>
                <a:close/>
                <a:moveTo>
                  <a:pt x="202265" y="0"/>
                </a:moveTo>
                <a:lnTo>
                  <a:pt x="0" y="0"/>
                </a:lnTo>
                <a:lnTo>
                  <a:pt x="0" y="260987"/>
                </a:lnTo>
                <a:lnTo>
                  <a:pt x="202265" y="260987"/>
                </a:lnTo>
                <a:lnTo>
                  <a:pt x="202265" y="0"/>
                </a:lnTo>
                <a:close/>
              </a:path>
            </a:pathLst>
          </a:custGeom>
          <a:solidFill>
            <a:srgbClr val="000000"/>
          </a:solidFill>
          <a:ln w="3175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59" name="Freeform: Shape 74">
            <a:extLst>
              <a:ext uri="{FF2B5EF4-FFF2-40B4-BE49-F238E27FC236}">
                <a16:creationId xmlns:a16="http://schemas.microsoft.com/office/drawing/2014/main" id="{6EEE8858-D1C0-4926-B9C9-46C8FD3CA4A5}"/>
              </a:ext>
            </a:extLst>
          </p:cNvPr>
          <p:cNvSpPr/>
          <p:nvPr/>
        </p:nvSpPr>
        <p:spPr>
          <a:xfrm>
            <a:off x="3313869" y="2157958"/>
            <a:ext cx="202265" cy="260987"/>
          </a:xfrm>
          <a:custGeom>
            <a:avLst/>
            <a:gdLst>
              <a:gd name="connsiteX0" fmla="*/ 182691 w 202264"/>
              <a:gd name="connsiteY0" fmla="*/ 241413 h 260986"/>
              <a:gd name="connsiteX1" fmla="*/ 19574 w 202264"/>
              <a:gd name="connsiteY1" fmla="*/ 241413 h 260986"/>
              <a:gd name="connsiteX2" fmla="*/ 19574 w 202264"/>
              <a:gd name="connsiteY2" fmla="*/ 19574 h 260986"/>
              <a:gd name="connsiteX3" fmla="*/ 182691 w 202264"/>
              <a:gd name="connsiteY3" fmla="*/ 19574 h 260986"/>
              <a:gd name="connsiteX4" fmla="*/ 182691 w 202264"/>
              <a:gd name="connsiteY4" fmla="*/ 241413 h 260986"/>
              <a:gd name="connsiteX5" fmla="*/ 202265 w 202264"/>
              <a:gd name="connsiteY5" fmla="*/ 0 h 260986"/>
              <a:gd name="connsiteX6" fmla="*/ 0 w 202264"/>
              <a:gd name="connsiteY6" fmla="*/ 0 h 260986"/>
              <a:gd name="connsiteX7" fmla="*/ 0 w 202264"/>
              <a:gd name="connsiteY7" fmla="*/ 260987 h 260986"/>
              <a:gd name="connsiteX8" fmla="*/ 202265 w 202264"/>
              <a:gd name="connsiteY8" fmla="*/ 260987 h 260986"/>
              <a:gd name="connsiteX9" fmla="*/ 202265 w 202264"/>
              <a:gd name="connsiteY9" fmla="*/ 0 h 260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2264" h="260986">
                <a:moveTo>
                  <a:pt x="182691" y="241413"/>
                </a:moveTo>
                <a:lnTo>
                  <a:pt x="19574" y="241413"/>
                </a:lnTo>
                <a:lnTo>
                  <a:pt x="19574" y="19574"/>
                </a:lnTo>
                <a:lnTo>
                  <a:pt x="182691" y="19574"/>
                </a:lnTo>
                <a:lnTo>
                  <a:pt x="182691" y="241413"/>
                </a:lnTo>
                <a:close/>
                <a:moveTo>
                  <a:pt x="202265" y="0"/>
                </a:moveTo>
                <a:lnTo>
                  <a:pt x="0" y="0"/>
                </a:lnTo>
                <a:lnTo>
                  <a:pt x="0" y="260987"/>
                </a:lnTo>
                <a:lnTo>
                  <a:pt x="202265" y="260987"/>
                </a:lnTo>
                <a:lnTo>
                  <a:pt x="202265" y="0"/>
                </a:lnTo>
                <a:close/>
              </a:path>
            </a:pathLst>
          </a:custGeom>
          <a:solidFill>
            <a:srgbClr val="000000"/>
          </a:solidFill>
          <a:ln w="3175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60" name="Freeform: Shape 76">
            <a:extLst>
              <a:ext uri="{FF2B5EF4-FFF2-40B4-BE49-F238E27FC236}">
                <a16:creationId xmlns:a16="http://schemas.microsoft.com/office/drawing/2014/main" id="{C73AF4C5-EAB8-47B0-A526-24A57BF6E4E3}"/>
              </a:ext>
            </a:extLst>
          </p:cNvPr>
          <p:cNvSpPr/>
          <p:nvPr/>
        </p:nvSpPr>
        <p:spPr>
          <a:xfrm>
            <a:off x="3406580" y="2313742"/>
            <a:ext cx="202265" cy="260987"/>
          </a:xfrm>
          <a:custGeom>
            <a:avLst/>
            <a:gdLst>
              <a:gd name="connsiteX0" fmla="*/ 182691 w 202264"/>
              <a:gd name="connsiteY0" fmla="*/ 241413 h 260986"/>
              <a:gd name="connsiteX1" fmla="*/ 19574 w 202264"/>
              <a:gd name="connsiteY1" fmla="*/ 241413 h 260986"/>
              <a:gd name="connsiteX2" fmla="*/ 19574 w 202264"/>
              <a:gd name="connsiteY2" fmla="*/ 19574 h 260986"/>
              <a:gd name="connsiteX3" fmla="*/ 182691 w 202264"/>
              <a:gd name="connsiteY3" fmla="*/ 19574 h 260986"/>
              <a:gd name="connsiteX4" fmla="*/ 182691 w 202264"/>
              <a:gd name="connsiteY4" fmla="*/ 241413 h 260986"/>
              <a:gd name="connsiteX5" fmla="*/ 202265 w 202264"/>
              <a:gd name="connsiteY5" fmla="*/ 0 h 260986"/>
              <a:gd name="connsiteX6" fmla="*/ 0 w 202264"/>
              <a:gd name="connsiteY6" fmla="*/ 0 h 260986"/>
              <a:gd name="connsiteX7" fmla="*/ 0 w 202264"/>
              <a:gd name="connsiteY7" fmla="*/ 260987 h 260986"/>
              <a:gd name="connsiteX8" fmla="*/ 202265 w 202264"/>
              <a:gd name="connsiteY8" fmla="*/ 260987 h 260986"/>
              <a:gd name="connsiteX9" fmla="*/ 202265 w 202264"/>
              <a:gd name="connsiteY9" fmla="*/ 0 h 260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2264" h="260986">
                <a:moveTo>
                  <a:pt x="182691" y="241413"/>
                </a:moveTo>
                <a:lnTo>
                  <a:pt x="19574" y="241413"/>
                </a:lnTo>
                <a:lnTo>
                  <a:pt x="19574" y="19574"/>
                </a:lnTo>
                <a:lnTo>
                  <a:pt x="182691" y="19574"/>
                </a:lnTo>
                <a:lnTo>
                  <a:pt x="182691" y="241413"/>
                </a:lnTo>
                <a:close/>
                <a:moveTo>
                  <a:pt x="202265" y="0"/>
                </a:moveTo>
                <a:lnTo>
                  <a:pt x="0" y="0"/>
                </a:lnTo>
                <a:lnTo>
                  <a:pt x="0" y="260987"/>
                </a:lnTo>
                <a:lnTo>
                  <a:pt x="202265" y="260987"/>
                </a:lnTo>
                <a:lnTo>
                  <a:pt x="202265" y="0"/>
                </a:lnTo>
                <a:close/>
              </a:path>
            </a:pathLst>
          </a:custGeom>
          <a:solidFill>
            <a:srgbClr val="000000"/>
          </a:solidFill>
          <a:ln w="3175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61" name="Freeform: Shape 77">
            <a:extLst>
              <a:ext uri="{FF2B5EF4-FFF2-40B4-BE49-F238E27FC236}">
                <a16:creationId xmlns:a16="http://schemas.microsoft.com/office/drawing/2014/main" id="{7D2180A0-1E6C-42B1-9526-531F22F756F7}"/>
              </a:ext>
            </a:extLst>
          </p:cNvPr>
          <p:cNvSpPr/>
          <p:nvPr/>
        </p:nvSpPr>
        <p:spPr>
          <a:xfrm>
            <a:off x="3361323" y="2225194"/>
            <a:ext cx="202265" cy="260987"/>
          </a:xfrm>
          <a:custGeom>
            <a:avLst/>
            <a:gdLst>
              <a:gd name="connsiteX0" fmla="*/ 182691 w 202264"/>
              <a:gd name="connsiteY0" fmla="*/ 241413 h 260986"/>
              <a:gd name="connsiteX1" fmla="*/ 19574 w 202264"/>
              <a:gd name="connsiteY1" fmla="*/ 241413 h 260986"/>
              <a:gd name="connsiteX2" fmla="*/ 19574 w 202264"/>
              <a:gd name="connsiteY2" fmla="*/ 19574 h 260986"/>
              <a:gd name="connsiteX3" fmla="*/ 182691 w 202264"/>
              <a:gd name="connsiteY3" fmla="*/ 19574 h 260986"/>
              <a:gd name="connsiteX4" fmla="*/ 182691 w 202264"/>
              <a:gd name="connsiteY4" fmla="*/ 241413 h 260986"/>
              <a:gd name="connsiteX5" fmla="*/ 202265 w 202264"/>
              <a:gd name="connsiteY5" fmla="*/ 0 h 260986"/>
              <a:gd name="connsiteX6" fmla="*/ 0 w 202264"/>
              <a:gd name="connsiteY6" fmla="*/ 0 h 260986"/>
              <a:gd name="connsiteX7" fmla="*/ 0 w 202264"/>
              <a:gd name="connsiteY7" fmla="*/ 260987 h 260986"/>
              <a:gd name="connsiteX8" fmla="*/ 202265 w 202264"/>
              <a:gd name="connsiteY8" fmla="*/ 260987 h 260986"/>
              <a:gd name="connsiteX9" fmla="*/ 202265 w 202264"/>
              <a:gd name="connsiteY9" fmla="*/ 0 h 260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2264" h="260986">
                <a:moveTo>
                  <a:pt x="182691" y="241413"/>
                </a:moveTo>
                <a:lnTo>
                  <a:pt x="19574" y="241413"/>
                </a:lnTo>
                <a:lnTo>
                  <a:pt x="19574" y="19574"/>
                </a:lnTo>
                <a:lnTo>
                  <a:pt x="182691" y="19574"/>
                </a:lnTo>
                <a:lnTo>
                  <a:pt x="182691" y="241413"/>
                </a:lnTo>
                <a:close/>
                <a:moveTo>
                  <a:pt x="202265" y="0"/>
                </a:moveTo>
                <a:lnTo>
                  <a:pt x="0" y="0"/>
                </a:lnTo>
                <a:lnTo>
                  <a:pt x="0" y="260987"/>
                </a:lnTo>
                <a:lnTo>
                  <a:pt x="202265" y="260987"/>
                </a:lnTo>
                <a:lnTo>
                  <a:pt x="202265" y="0"/>
                </a:lnTo>
                <a:close/>
              </a:path>
            </a:pathLst>
          </a:custGeom>
          <a:solidFill>
            <a:srgbClr val="000000"/>
          </a:solidFill>
          <a:ln w="3175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62" name="Freeform: Shape 76">
            <a:extLst>
              <a:ext uri="{FF2B5EF4-FFF2-40B4-BE49-F238E27FC236}">
                <a16:creationId xmlns:a16="http://schemas.microsoft.com/office/drawing/2014/main" id="{C73AF4C5-EAB8-47B0-A526-24A57BF6E4E3}"/>
              </a:ext>
            </a:extLst>
          </p:cNvPr>
          <p:cNvSpPr/>
          <p:nvPr/>
        </p:nvSpPr>
        <p:spPr>
          <a:xfrm>
            <a:off x="3741454" y="2181203"/>
            <a:ext cx="202265" cy="260987"/>
          </a:xfrm>
          <a:custGeom>
            <a:avLst/>
            <a:gdLst>
              <a:gd name="connsiteX0" fmla="*/ 182691 w 202264"/>
              <a:gd name="connsiteY0" fmla="*/ 241413 h 260986"/>
              <a:gd name="connsiteX1" fmla="*/ 19574 w 202264"/>
              <a:gd name="connsiteY1" fmla="*/ 241413 h 260986"/>
              <a:gd name="connsiteX2" fmla="*/ 19574 w 202264"/>
              <a:gd name="connsiteY2" fmla="*/ 19574 h 260986"/>
              <a:gd name="connsiteX3" fmla="*/ 182691 w 202264"/>
              <a:gd name="connsiteY3" fmla="*/ 19574 h 260986"/>
              <a:gd name="connsiteX4" fmla="*/ 182691 w 202264"/>
              <a:gd name="connsiteY4" fmla="*/ 241413 h 260986"/>
              <a:gd name="connsiteX5" fmla="*/ 202265 w 202264"/>
              <a:gd name="connsiteY5" fmla="*/ 0 h 260986"/>
              <a:gd name="connsiteX6" fmla="*/ 0 w 202264"/>
              <a:gd name="connsiteY6" fmla="*/ 0 h 260986"/>
              <a:gd name="connsiteX7" fmla="*/ 0 w 202264"/>
              <a:gd name="connsiteY7" fmla="*/ 260987 h 260986"/>
              <a:gd name="connsiteX8" fmla="*/ 202265 w 202264"/>
              <a:gd name="connsiteY8" fmla="*/ 260987 h 260986"/>
              <a:gd name="connsiteX9" fmla="*/ 202265 w 202264"/>
              <a:gd name="connsiteY9" fmla="*/ 0 h 260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2264" h="260986">
                <a:moveTo>
                  <a:pt x="182691" y="241413"/>
                </a:moveTo>
                <a:lnTo>
                  <a:pt x="19574" y="241413"/>
                </a:lnTo>
                <a:lnTo>
                  <a:pt x="19574" y="19574"/>
                </a:lnTo>
                <a:lnTo>
                  <a:pt x="182691" y="19574"/>
                </a:lnTo>
                <a:lnTo>
                  <a:pt x="182691" y="241413"/>
                </a:lnTo>
                <a:close/>
                <a:moveTo>
                  <a:pt x="202265" y="0"/>
                </a:moveTo>
                <a:lnTo>
                  <a:pt x="0" y="0"/>
                </a:lnTo>
                <a:lnTo>
                  <a:pt x="0" y="260987"/>
                </a:lnTo>
                <a:lnTo>
                  <a:pt x="202265" y="260987"/>
                </a:lnTo>
                <a:lnTo>
                  <a:pt x="202265" y="0"/>
                </a:lnTo>
                <a:close/>
              </a:path>
            </a:pathLst>
          </a:custGeom>
          <a:solidFill>
            <a:srgbClr val="000000"/>
          </a:solidFill>
          <a:ln w="3175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graphicFrame>
        <p:nvGraphicFramePr>
          <p:cNvPr id="64" name="Objet 4">
            <a:extLst>
              <a:ext uri="{FF2B5EF4-FFF2-40B4-BE49-F238E27FC236}">
                <a16:creationId xmlns:a16="http://schemas.microsoft.com/office/drawing/2014/main" id="{DDBC0E7B-769B-4520-B5AC-6D37C20C54D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44070229"/>
              </p:ext>
            </p:extLst>
          </p:nvPr>
        </p:nvGraphicFramePr>
        <p:xfrm>
          <a:off x="5535275" y="6234250"/>
          <a:ext cx="720000" cy="623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Feuille de calcul" showAsIcon="1" r:id="rId13" imgW="914400" imgH="792360" progId="Excel.Sheet.12">
                  <p:embed/>
                </p:oleObj>
              </mc:Choice>
              <mc:Fallback>
                <p:oleObj name="Feuille de calcul" showAsIcon="1" r:id="rId13" imgW="914400" imgH="792360" progId="Excel.Sheet.12">
                  <p:embed/>
                  <p:pic>
                    <p:nvPicPr>
                      <p:cNvPr id="64" name="Objet 4">
                        <a:extLst>
                          <a:ext uri="{FF2B5EF4-FFF2-40B4-BE49-F238E27FC236}">
                            <a16:creationId xmlns:a16="http://schemas.microsoft.com/office/drawing/2014/main" id="{DDBC0E7B-769B-4520-B5AC-6D37C20C54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5535275" y="6234250"/>
                        <a:ext cx="720000" cy="623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9271272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E624EE3-63E6-4211-83DE-DABAC78CAAA6}"/>
              </a:ext>
            </a:extLst>
          </p:cNvPr>
          <p:cNvSpPr txBox="1">
            <a:spLocks/>
          </p:cNvSpPr>
          <p:nvPr/>
        </p:nvSpPr>
        <p:spPr>
          <a:xfrm>
            <a:off x="498660" y="494789"/>
            <a:ext cx="11196000" cy="1114817"/>
          </a:xfrm>
          <a:prstGeom prst="rect">
            <a:avLst/>
          </a:prstGeom>
          <a:solidFill>
            <a:srgbClr val="2A9CA9"/>
          </a:solidFill>
          <a:ln w="3175">
            <a:noFill/>
          </a:ln>
        </p:spPr>
        <p:txBody>
          <a:bodyPr vert="horz" lIns="863829" tIns="71989" rIns="71989" bIns="71989" rtlCol="0" anchor="ctr">
            <a:normAutofit/>
          </a:bodyPr>
          <a:lstStyle>
            <a:lvl1pPr algn="l" defTabSz="91421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300" b="1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/>
              <a:t>Stratégie de déploiement</a:t>
            </a:r>
            <a:endParaRPr lang="fr-FR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0E68AE7-285A-4F21-80F6-73A2DF09DC79}"/>
              </a:ext>
            </a:extLst>
          </p:cNvPr>
          <p:cNvGrpSpPr/>
          <p:nvPr/>
        </p:nvGrpSpPr>
        <p:grpSpPr>
          <a:xfrm>
            <a:off x="878459" y="3328938"/>
            <a:ext cx="3221040" cy="3007190"/>
            <a:chOff x="878459" y="3328938"/>
            <a:chExt cx="3221040" cy="3007190"/>
          </a:xfrm>
        </p:grpSpPr>
        <p:sp>
          <p:nvSpPr>
            <p:cNvPr id="9" name="FR-2A">
              <a:extLst>
                <a:ext uri="{FF2B5EF4-FFF2-40B4-BE49-F238E27FC236}">
                  <a16:creationId xmlns:a16="http://schemas.microsoft.com/office/drawing/2014/main" id="{AD706A27-CFD3-4F17-BFA5-5694514EE3A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832481" y="6007894"/>
              <a:ext cx="242996" cy="328234"/>
            </a:xfrm>
            <a:custGeom>
              <a:avLst/>
              <a:gdLst>
                <a:gd name="T0" fmla="*/ 0 w 526"/>
                <a:gd name="T1" fmla="*/ 29 h 745"/>
                <a:gd name="T2" fmla="*/ 70 w 526"/>
                <a:gd name="T3" fmla="*/ 73 h 745"/>
                <a:gd name="T4" fmla="*/ 47 w 526"/>
                <a:gd name="T5" fmla="*/ 102 h 745"/>
                <a:gd name="T6" fmla="*/ 5 w 526"/>
                <a:gd name="T7" fmla="*/ 128 h 745"/>
                <a:gd name="T8" fmla="*/ 23 w 526"/>
                <a:gd name="T9" fmla="*/ 196 h 745"/>
                <a:gd name="T10" fmla="*/ 101 w 526"/>
                <a:gd name="T11" fmla="*/ 219 h 745"/>
                <a:gd name="T12" fmla="*/ 107 w 526"/>
                <a:gd name="T13" fmla="*/ 266 h 745"/>
                <a:gd name="T14" fmla="*/ 70 w 526"/>
                <a:gd name="T15" fmla="*/ 302 h 745"/>
                <a:gd name="T16" fmla="*/ 62 w 526"/>
                <a:gd name="T17" fmla="*/ 367 h 745"/>
                <a:gd name="T18" fmla="*/ 112 w 526"/>
                <a:gd name="T19" fmla="*/ 373 h 745"/>
                <a:gd name="T20" fmla="*/ 159 w 526"/>
                <a:gd name="T21" fmla="*/ 365 h 745"/>
                <a:gd name="T22" fmla="*/ 159 w 526"/>
                <a:gd name="T23" fmla="*/ 422 h 745"/>
                <a:gd name="T24" fmla="*/ 107 w 526"/>
                <a:gd name="T25" fmla="*/ 492 h 745"/>
                <a:gd name="T26" fmla="*/ 245 w 526"/>
                <a:gd name="T27" fmla="*/ 513 h 745"/>
                <a:gd name="T28" fmla="*/ 188 w 526"/>
                <a:gd name="T29" fmla="*/ 549 h 745"/>
                <a:gd name="T30" fmla="*/ 187 w 526"/>
                <a:gd name="T31" fmla="*/ 550 h 745"/>
                <a:gd name="T32" fmla="*/ 186 w 526"/>
                <a:gd name="T33" fmla="*/ 551 h 745"/>
                <a:gd name="T34" fmla="*/ 185 w 526"/>
                <a:gd name="T35" fmla="*/ 552 h 745"/>
                <a:gd name="T36" fmla="*/ 185 w 526"/>
                <a:gd name="T37" fmla="*/ 553 h 745"/>
                <a:gd name="T38" fmla="*/ 185 w 526"/>
                <a:gd name="T39" fmla="*/ 555 h 745"/>
                <a:gd name="T40" fmla="*/ 192 w 526"/>
                <a:gd name="T41" fmla="*/ 628 h 745"/>
                <a:gd name="T42" fmla="*/ 328 w 526"/>
                <a:gd name="T43" fmla="*/ 680 h 745"/>
                <a:gd name="T44" fmla="*/ 377 w 526"/>
                <a:gd name="T45" fmla="*/ 701 h 745"/>
                <a:gd name="T46" fmla="*/ 403 w 526"/>
                <a:gd name="T47" fmla="*/ 727 h 745"/>
                <a:gd name="T48" fmla="*/ 453 w 526"/>
                <a:gd name="T49" fmla="*/ 745 h 745"/>
                <a:gd name="T50" fmla="*/ 437 w 526"/>
                <a:gd name="T51" fmla="*/ 690 h 745"/>
                <a:gd name="T52" fmla="*/ 461 w 526"/>
                <a:gd name="T53" fmla="*/ 638 h 745"/>
                <a:gd name="T54" fmla="*/ 510 w 526"/>
                <a:gd name="T55" fmla="*/ 589 h 745"/>
                <a:gd name="T56" fmla="*/ 482 w 526"/>
                <a:gd name="T57" fmla="*/ 558 h 745"/>
                <a:gd name="T58" fmla="*/ 461 w 526"/>
                <a:gd name="T59" fmla="*/ 550 h 745"/>
                <a:gd name="T60" fmla="*/ 515 w 526"/>
                <a:gd name="T61" fmla="*/ 516 h 745"/>
                <a:gd name="T62" fmla="*/ 518 w 526"/>
                <a:gd name="T63" fmla="*/ 386 h 745"/>
                <a:gd name="T64" fmla="*/ 472 w 526"/>
                <a:gd name="T65" fmla="*/ 378 h 745"/>
                <a:gd name="T66" fmla="*/ 413 w 526"/>
                <a:gd name="T67" fmla="*/ 343 h 745"/>
                <a:gd name="T68" fmla="*/ 403 w 526"/>
                <a:gd name="T69" fmla="*/ 321 h 745"/>
                <a:gd name="T70" fmla="*/ 392 w 526"/>
                <a:gd name="T71" fmla="*/ 246 h 745"/>
                <a:gd name="T72" fmla="*/ 349 w 526"/>
                <a:gd name="T73" fmla="*/ 234 h 745"/>
                <a:gd name="T74" fmla="*/ 330 w 526"/>
                <a:gd name="T75" fmla="*/ 178 h 745"/>
                <a:gd name="T76" fmla="*/ 288 w 526"/>
                <a:gd name="T77" fmla="*/ 135 h 745"/>
                <a:gd name="T78" fmla="*/ 255 w 526"/>
                <a:gd name="T79" fmla="*/ 114 h 745"/>
                <a:gd name="T80" fmla="*/ 193 w 526"/>
                <a:gd name="T81" fmla="*/ 78 h 745"/>
                <a:gd name="T82" fmla="*/ 175 w 526"/>
                <a:gd name="T83" fmla="*/ 31 h 745"/>
                <a:gd name="T84" fmla="*/ 120 w 526"/>
                <a:gd name="T85" fmla="*/ 29 h 745"/>
                <a:gd name="T86" fmla="*/ 55 w 526"/>
                <a:gd name="T87" fmla="*/ 20 h 745"/>
                <a:gd name="T88" fmla="*/ 20 w 526"/>
                <a:gd name="T89" fmla="*/ 0 h 745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526"/>
                <a:gd name="T136" fmla="*/ 0 h 745"/>
                <a:gd name="T137" fmla="*/ 526 w 526"/>
                <a:gd name="T138" fmla="*/ 745 h 745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526" h="745">
                  <a:moveTo>
                    <a:pt x="0" y="0"/>
                  </a:moveTo>
                  <a:lnTo>
                    <a:pt x="0" y="29"/>
                  </a:lnTo>
                  <a:lnTo>
                    <a:pt x="26" y="47"/>
                  </a:lnTo>
                  <a:lnTo>
                    <a:pt x="70" y="73"/>
                  </a:lnTo>
                  <a:lnTo>
                    <a:pt x="73" y="94"/>
                  </a:lnTo>
                  <a:lnTo>
                    <a:pt x="47" y="102"/>
                  </a:lnTo>
                  <a:lnTo>
                    <a:pt x="5" y="110"/>
                  </a:lnTo>
                  <a:lnTo>
                    <a:pt x="5" y="128"/>
                  </a:lnTo>
                  <a:lnTo>
                    <a:pt x="20" y="143"/>
                  </a:lnTo>
                  <a:lnTo>
                    <a:pt x="23" y="196"/>
                  </a:lnTo>
                  <a:lnTo>
                    <a:pt x="80" y="214"/>
                  </a:lnTo>
                  <a:lnTo>
                    <a:pt x="101" y="219"/>
                  </a:lnTo>
                  <a:lnTo>
                    <a:pt x="120" y="248"/>
                  </a:lnTo>
                  <a:lnTo>
                    <a:pt x="107" y="266"/>
                  </a:lnTo>
                  <a:lnTo>
                    <a:pt x="86" y="273"/>
                  </a:lnTo>
                  <a:lnTo>
                    <a:pt x="70" y="302"/>
                  </a:lnTo>
                  <a:lnTo>
                    <a:pt x="55" y="321"/>
                  </a:lnTo>
                  <a:lnTo>
                    <a:pt x="62" y="367"/>
                  </a:lnTo>
                  <a:lnTo>
                    <a:pt x="101" y="365"/>
                  </a:lnTo>
                  <a:lnTo>
                    <a:pt x="112" y="373"/>
                  </a:lnTo>
                  <a:lnTo>
                    <a:pt x="148" y="354"/>
                  </a:lnTo>
                  <a:lnTo>
                    <a:pt x="159" y="365"/>
                  </a:lnTo>
                  <a:lnTo>
                    <a:pt x="140" y="404"/>
                  </a:lnTo>
                  <a:lnTo>
                    <a:pt x="159" y="422"/>
                  </a:lnTo>
                  <a:lnTo>
                    <a:pt x="127" y="446"/>
                  </a:lnTo>
                  <a:lnTo>
                    <a:pt x="107" y="492"/>
                  </a:lnTo>
                  <a:lnTo>
                    <a:pt x="164" y="506"/>
                  </a:lnTo>
                  <a:lnTo>
                    <a:pt x="245" y="513"/>
                  </a:lnTo>
                  <a:lnTo>
                    <a:pt x="211" y="552"/>
                  </a:lnTo>
                  <a:cubicBezTo>
                    <a:pt x="211" y="552"/>
                    <a:pt x="195" y="546"/>
                    <a:pt x="188" y="549"/>
                  </a:cubicBezTo>
                  <a:lnTo>
                    <a:pt x="187" y="550"/>
                  </a:lnTo>
                  <a:cubicBezTo>
                    <a:pt x="187" y="550"/>
                    <a:pt x="186" y="550"/>
                    <a:pt x="186" y="551"/>
                  </a:cubicBezTo>
                  <a:lnTo>
                    <a:pt x="185" y="551"/>
                  </a:lnTo>
                  <a:lnTo>
                    <a:pt x="185" y="552"/>
                  </a:lnTo>
                  <a:cubicBezTo>
                    <a:pt x="185" y="552"/>
                    <a:pt x="185" y="552"/>
                    <a:pt x="185" y="553"/>
                  </a:cubicBezTo>
                  <a:lnTo>
                    <a:pt x="185" y="554"/>
                  </a:lnTo>
                  <a:cubicBezTo>
                    <a:pt x="184" y="554"/>
                    <a:pt x="185" y="555"/>
                    <a:pt x="185" y="555"/>
                  </a:cubicBezTo>
                  <a:cubicBezTo>
                    <a:pt x="185" y="568"/>
                    <a:pt x="166" y="587"/>
                    <a:pt x="167" y="599"/>
                  </a:cubicBezTo>
                  <a:lnTo>
                    <a:pt x="192" y="628"/>
                  </a:lnTo>
                  <a:lnTo>
                    <a:pt x="240" y="656"/>
                  </a:lnTo>
                  <a:lnTo>
                    <a:pt x="328" y="680"/>
                  </a:lnTo>
                  <a:lnTo>
                    <a:pt x="354" y="690"/>
                  </a:lnTo>
                  <a:lnTo>
                    <a:pt x="377" y="701"/>
                  </a:lnTo>
                  <a:lnTo>
                    <a:pt x="362" y="729"/>
                  </a:lnTo>
                  <a:lnTo>
                    <a:pt x="403" y="727"/>
                  </a:lnTo>
                  <a:lnTo>
                    <a:pt x="411" y="745"/>
                  </a:lnTo>
                  <a:lnTo>
                    <a:pt x="453" y="745"/>
                  </a:lnTo>
                  <a:lnTo>
                    <a:pt x="463" y="696"/>
                  </a:lnTo>
                  <a:lnTo>
                    <a:pt x="437" y="690"/>
                  </a:lnTo>
                  <a:lnTo>
                    <a:pt x="474" y="651"/>
                  </a:lnTo>
                  <a:lnTo>
                    <a:pt x="461" y="638"/>
                  </a:lnTo>
                  <a:lnTo>
                    <a:pt x="463" y="615"/>
                  </a:lnTo>
                  <a:lnTo>
                    <a:pt x="510" y="589"/>
                  </a:lnTo>
                  <a:lnTo>
                    <a:pt x="513" y="560"/>
                  </a:lnTo>
                  <a:lnTo>
                    <a:pt x="482" y="558"/>
                  </a:lnTo>
                  <a:lnTo>
                    <a:pt x="461" y="576"/>
                  </a:lnTo>
                  <a:lnTo>
                    <a:pt x="461" y="550"/>
                  </a:lnTo>
                  <a:lnTo>
                    <a:pt x="502" y="547"/>
                  </a:lnTo>
                  <a:lnTo>
                    <a:pt x="515" y="516"/>
                  </a:lnTo>
                  <a:lnTo>
                    <a:pt x="526" y="425"/>
                  </a:lnTo>
                  <a:lnTo>
                    <a:pt x="518" y="386"/>
                  </a:lnTo>
                  <a:lnTo>
                    <a:pt x="517" y="348"/>
                  </a:lnTo>
                  <a:lnTo>
                    <a:pt x="472" y="378"/>
                  </a:lnTo>
                  <a:lnTo>
                    <a:pt x="417" y="380"/>
                  </a:lnTo>
                  <a:lnTo>
                    <a:pt x="413" y="343"/>
                  </a:lnTo>
                  <a:lnTo>
                    <a:pt x="420" y="333"/>
                  </a:lnTo>
                  <a:lnTo>
                    <a:pt x="403" y="321"/>
                  </a:lnTo>
                  <a:lnTo>
                    <a:pt x="399" y="258"/>
                  </a:lnTo>
                  <a:lnTo>
                    <a:pt x="392" y="246"/>
                  </a:lnTo>
                  <a:lnTo>
                    <a:pt x="363" y="246"/>
                  </a:lnTo>
                  <a:lnTo>
                    <a:pt x="349" y="234"/>
                  </a:lnTo>
                  <a:lnTo>
                    <a:pt x="349" y="189"/>
                  </a:lnTo>
                  <a:lnTo>
                    <a:pt x="330" y="178"/>
                  </a:lnTo>
                  <a:lnTo>
                    <a:pt x="316" y="171"/>
                  </a:lnTo>
                  <a:lnTo>
                    <a:pt x="288" y="135"/>
                  </a:lnTo>
                  <a:lnTo>
                    <a:pt x="290" y="114"/>
                  </a:lnTo>
                  <a:lnTo>
                    <a:pt x="255" y="114"/>
                  </a:lnTo>
                  <a:lnTo>
                    <a:pt x="243" y="78"/>
                  </a:lnTo>
                  <a:lnTo>
                    <a:pt x="193" y="78"/>
                  </a:lnTo>
                  <a:lnTo>
                    <a:pt x="167" y="43"/>
                  </a:lnTo>
                  <a:lnTo>
                    <a:pt x="175" y="31"/>
                  </a:lnTo>
                  <a:lnTo>
                    <a:pt x="158" y="22"/>
                  </a:lnTo>
                  <a:lnTo>
                    <a:pt x="120" y="29"/>
                  </a:lnTo>
                  <a:lnTo>
                    <a:pt x="106" y="20"/>
                  </a:lnTo>
                  <a:lnTo>
                    <a:pt x="55" y="20"/>
                  </a:lnTo>
                  <a:lnTo>
                    <a:pt x="50" y="6"/>
                  </a:lnTo>
                  <a:lnTo>
                    <a:pt x="2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2A</a:t>
              </a:r>
            </a:p>
          </p:txBody>
        </p:sp>
        <p:sp>
          <p:nvSpPr>
            <p:cNvPr id="10" name="FR-2B">
              <a:extLst>
                <a:ext uri="{FF2B5EF4-FFF2-40B4-BE49-F238E27FC236}">
                  <a16:creationId xmlns:a16="http://schemas.microsoft.com/office/drawing/2014/main" id="{8130F506-1873-4DCA-8A7C-52F4E5FAC51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841720" y="5782783"/>
              <a:ext cx="257779" cy="396964"/>
            </a:xfrm>
            <a:custGeom>
              <a:avLst/>
              <a:gdLst>
                <a:gd name="T0" fmla="*/ 375 w 558"/>
                <a:gd name="T1" fmla="*/ 27 h 901"/>
                <a:gd name="T2" fmla="*/ 402 w 558"/>
                <a:gd name="T3" fmla="*/ 79 h 901"/>
                <a:gd name="T4" fmla="*/ 389 w 558"/>
                <a:gd name="T5" fmla="*/ 117 h 901"/>
                <a:gd name="T6" fmla="*/ 373 w 558"/>
                <a:gd name="T7" fmla="*/ 159 h 901"/>
                <a:gd name="T8" fmla="*/ 399 w 558"/>
                <a:gd name="T9" fmla="*/ 219 h 901"/>
                <a:gd name="T10" fmla="*/ 365 w 558"/>
                <a:gd name="T11" fmla="*/ 261 h 901"/>
                <a:gd name="T12" fmla="*/ 308 w 558"/>
                <a:gd name="T13" fmla="*/ 235 h 901"/>
                <a:gd name="T14" fmla="*/ 269 w 558"/>
                <a:gd name="T15" fmla="*/ 229 h 901"/>
                <a:gd name="T16" fmla="*/ 230 w 558"/>
                <a:gd name="T17" fmla="*/ 300 h 901"/>
                <a:gd name="T18" fmla="*/ 110 w 558"/>
                <a:gd name="T19" fmla="*/ 357 h 901"/>
                <a:gd name="T20" fmla="*/ 74 w 558"/>
                <a:gd name="T21" fmla="*/ 383 h 901"/>
                <a:gd name="T22" fmla="*/ 53 w 558"/>
                <a:gd name="T23" fmla="*/ 412 h 901"/>
                <a:gd name="T24" fmla="*/ 29 w 558"/>
                <a:gd name="T25" fmla="*/ 461 h 901"/>
                <a:gd name="T26" fmla="*/ 8 w 558"/>
                <a:gd name="T27" fmla="*/ 500 h 901"/>
                <a:gd name="T28" fmla="*/ 30 w 558"/>
                <a:gd name="T29" fmla="*/ 527 h 901"/>
                <a:gd name="T30" fmla="*/ 86 w 558"/>
                <a:gd name="T31" fmla="*/ 541 h 901"/>
                <a:gd name="T32" fmla="*/ 138 w 558"/>
                <a:gd name="T33" fmla="*/ 543 h 901"/>
                <a:gd name="T34" fmla="*/ 147 w 558"/>
                <a:gd name="T35" fmla="*/ 564 h 901"/>
                <a:gd name="T36" fmla="*/ 223 w 558"/>
                <a:gd name="T37" fmla="*/ 599 h 901"/>
                <a:gd name="T38" fmla="*/ 270 w 558"/>
                <a:gd name="T39" fmla="*/ 635 h 901"/>
                <a:gd name="T40" fmla="*/ 296 w 558"/>
                <a:gd name="T41" fmla="*/ 692 h 901"/>
                <a:gd name="T42" fmla="*/ 329 w 558"/>
                <a:gd name="T43" fmla="*/ 710 h 901"/>
                <a:gd name="T44" fmla="*/ 343 w 558"/>
                <a:gd name="T45" fmla="*/ 767 h 901"/>
                <a:gd name="T46" fmla="*/ 379 w 558"/>
                <a:gd name="T47" fmla="*/ 779 h 901"/>
                <a:gd name="T48" fmla="*/ 400 w 558"/>
                <a:gd name="T49" fmla="*/ 854 h 901"/>
                <a:gd name="T50" fmla="*/ 397 w 558"/>
                <a:gd name="T51" fmla="*/ 901 h 901"/>
                <a:gd name="T52" fmla="*/ 497 w 558"/>
                <a:gd name="T53" fmla="*/ 869 h 901"/>
                <a:gd name="T54" fmla="*/ 558 w 558"/>
                <a:gd name="T55" fmla="*/ 704 h 901"/>
                <a:gd name="T56" fmla="*/ 532 w 558"/>
                <a:gd name="T57" fmla="*/ 508 h 901"/>
                <a:gd name="T58" fmla="*/ 506 w 558"/>
                <a:gd name="T59" fmla="*/ 323 h 901"/>
                <a:gd name="T60" fmla="*/ 467 w 558"/>
                <a:gd name="T61" fmla="*/ 201 h 901"/>
                <a:gd name="T62" fmla="*/ 462 w 558"/>
                <a:gd name="T63" fmla="*/ 86 h 901"/>
                <a:gd name="T64" fmla="*/ 438 w 558"/>
                <a:gd name="T65" fmla="*/ 13 h 90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558"/>
                <a:gd name="T100" fmla="*/ 0 h 901"/>
                <a:gd name="T101" fmla="*/ 558 w 558"/>
                <a:gd name="T102" fmla="*/ 901 h 90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558" h="901">
                  <a:moveTo>
                    <a:pt x="415" y="0"/>
                  </a:moveTo>
                  <a:lnTo>
                    <a:pt x="375" y="27"/>
                  </a:lnTo>
                  <a:lnTo>
                    <a:pt x="381" y="52"/>
                  </a:lnTo>
                  <a:lnTo>
                    <a:pt x="402" y="79"/>
                  </a:lnTo>
                  <a:lnTo>
                    <a:pt x="378" y="97"/>
                  </a:lnTo>
                  <a:lnTo>
                    <a:pt x="389" y="117"/>
                  </a:lnTo>
                  <a:lnTo>
                    <a:pt x="373" y="136"/>
                  </a:lnTo>
                  <a:lnTo>
                    <a:pt x="373" y="159"/>
                  </a:lnTo>
                  <a:lnTo>
                    <a:pt x="399" y="183"/>
                  </a:lnTo>
                  <a:lnTo>
                    <a:pt x="399" y="219"/>
                  </a:lnTo>
                  <a:lnTo>
                    <a:pt x="383" y="253"/>
                  </a:lnTo>
                  <a:lnTo>
                    <a:pt x="365" y="261"/>
                  </a:lnTo>
                  <a:lnTo>
                    <a:pt x="345" y="232"/>
                  </a:lnTo>
                  <a:lnTo>
                    <a:pt x="308" y="235"/>
                  </a:lnTo>
                  <a:lnTo>
                    <a:pt x="300" y="229"/>
                  </a:lnTo>
                  <a:lnTo>
                    <a:pt x="269" y="229"/>
                  </a:lnTo>
                  <a:lnTo>
                    <a:pt x="240" y="256"/>
                  </a:lnTo>
                  <a:lnTo>
                    <a:pt x="230" y="300"/>
                  </a:lnTo>
                  <a:lnTo>
                    <a:pt x="162" y="313"/>
                  </a:lnTo>
                  <a:lnTo>
                    <a:pt x="110" y="357"/>
                  </a:lnTo>
                  <a:lnTo>
                    <a:pt x="100" y="386"/>
                  </a:lnTo>
                  <a:lnTo>
                    <a:pt x="74" y="383"/>
                  </a:lnTo>
                  <a:lnTo>
                    <a:pt x="60" y="367"/>
                  </a:lnTo>
                  <a:lnTo>
                    <a:pt x="53" y="412"/>
                  </a:lnTo>
                  <a:lnTo>
                    <a:pt x="35" y="419"/>
                  </a:lnTo>
                  <a:lnTo>
                    <a:pt x="29" y="461"/>
                  </a:lnTo>
                  <a:lnTo>
                    <a:pt x="37" y="479"/>
                  </a:lnTo>
                  <a:lnTo>
                    <a:pt x="8" y="500"/>
                  </a:lnTo>
                  <a:lnTo>
                    <a:pt x="0" y="521"/>
                  </a:lnTo>
                  <a:lnTo>
                    <a:pt x="30" y="527"/>
                  </a:lnTo>
                  <a:lnTo>
                    <a:pt x="35" y="541"/>
                  </a:lnTo>
                  <a:lnTo>
                    <a:pt x="86" y="541"/>
                  </a:lnTo>
                  <a:lnTo>
                    <a:pt x="100" y="550"/>
                  </a:lnTo>
                  <a:lnTo>
                    <a:pt x="138" y="543"/>
                  </a:lnTo>
                  <a:lnTo>
                    <a:pt x="155" y="552"/>
                  </a:lnTo>
                  <a:lnTo>
                    <a:pt x="147" y="564"/>
                  </a:lnTo>
                  <a:lnTo>
                    <a:pt x="173" y="599"/>
                  </a:lnTo>
                  <a:lnTo>
                    <a:pt x="223" y="599"/>
                  </a:lnTo>
                  <a:lnTo>
                    <a:pt x="235" y="635"/>
                  </a:lnTo>
                  <a:lnTo>
                    <a:pt x="270" y="635"/>
                  </a:lnTo>
                  <a:lnTo>
                    <a:pt x="268" y="656"/>
                  </a:lnTo>
                  <a:lnTo>
                    <a:pt x="296" y="692"/>
                  </a:lnTo>
                  <a:lnTo>
                    <a:pt x="310" y="699"/>
                  </a:lnTo>
                  <a:lnTo>
                    <a:pt x="329" y="710"/>
                  </a:lnTo>
                  <a:lnTo>
                    <a:pt x="329" y="755"/>
                  </a:lnTo>
                  <a:lnTo>
                    <a:pt x="343" y="767"/>
                  </a:lnTo>
                  <a:lnTo>
                    <a:pt x="372" y="767"/>
                  </a:lnTo>
                  <a:lnTo>
                    <a:pt x="379" y="779"/>
                  </a:lnTo>
                  <a:lnTo>
                    <a:pt x="383" y="842"/>
                  </a:lnTo>
                  <a:lnTo>
                    <a:pt x="400" y="854"/>
                  </a:lnTo>
                  <a:lnTo>
                    <a:pt x="393" y="864"/>
                  </a:lnTo>
                  <a:lnTo>
                    <a:pt x="397" y="901"/>
                  </a:lnTo>
                  <a:lnTo>
                    <a:pt x="452" y="899"/>
                  </a:lnTo>
                  <a:lnTo>
                    <a:pt x="497" y="869"/>
                  </a:lnTo>
                  <a:lnTo>
                    <a:pt x="495" y="792"/>
                  </a:lnTo>
                  <a:lnTo>
                    <a:pt x="558" y="704"/>
                  </a:lnTo>
                  <a:lnTo>
                    <a:pt x="558" y="558"/>
                  </a:lnTo>
                  <a:lnTo>
                    <a:pt x="532" y="508"/>
                  </a:lnTo>
                  <a:lnTo>
                    <a:pt x="524" y="352"/>
                  </a:lnTo>
                  <a:lnTo>
                    <a:pt x="506" y="323"/>
                  </a:lnTo>
                  <a:lnTo>
                    <a:pt x="472" y="297"/>
                  </a:lnTo>
                  <a:lnTo>
                    <a:pt x="467" y="201"/>
                  </a:lnTo>
                  <a:lnTo>
                    <a:pt x="482" y="157"/>
                  </a:lnTo>
                  <a:lnTo>
                    <a:pt x="462" y="86"/>
                  </a:lnTo>
                  <a:lnTo>
                    <a:pt x="449" y="29"/>
                  </a:lnTo>
                  <a:lnTo>
                    <a:pt x="438" y="13"/>
                  </a:lnTo>
                  <a:lnTo>
                    <a:pt x="415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2B</a:t>
              </a:r>
            </a:p>
          </p:txBody>
        </p:sp>
        <p:sp>
          <p:nvSpPr>
            <p:cNvPr id="11" name="FR-13">
              <a:extLst>
                <a:ext uri="{FF2B5EF4-FFF2-40B4-BE49-F238E27FC236}">
                  <a16:creationId xmlns:a16="http://schemas.microsoft.com/office/drawing/2014/main" id="{FE10CFC6-2EA2-4E3A-A2D8-A6132B9B448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035855" y="5712927"/>
              <a:ext cx="392674" cy="250691"/>
            </a:xfrm>
            <a:custGeom>
              <a:avLst/>
              <a:gdLst>
                <a:gd name="T0" fmla="*/ 280 w 850"/>
                <a:gd name="T1" fmla="*/ 0 h 569"/>
                <a:gd name="T2" fmla="*/ 207 w 850"/>
                <a:gd name="T3" fmla="*/ 42 h 569"/>
                <a:gd name="T4" fmla="*/ 188 w 850"/>
                <a:gd name="T5" fmla="*/ 182 h 569"/>
                <a:gd name="T6" fmla="*/ 111 w 850"/>
                <a:gd name="T7" fmla="*/ 171 h 569"/>
                <a:gd name="T8" fmla="*/ 89 w 850"/>
                <a:gd name="T9" fmla="*/ 230 h 569"/>
                <a:gd name="T10" fmla="*/ 107 w 850"/>
                <a:gd name="T11" fmla="*/ 256 h 569"/>
                <a:gd name="T12" fmla="*/ 23 w 850"/>
                <a:gd name="T13" fmla="*/ 308 h 569"/>
                <a:gd name="T14" fmla="*/ 0 w 850"/>
                <a:gd name="T15" fmla="*/ 362 h 569"/>
                <a:gd name="T16" fmla="*/ 82 w 850"/>
                <a:gd name="T17" fmla="*/ 365 h 569"/>
                <a:gd name="T18" fmla="*/ 192 w 850"/>
                <a:gd name="T19" fmla="*/ 373 h 569"/>
                <a:gd name="T20" fmla="*/ 212 w 850"/>
                <a:gd name="T21" fmla="*/ 394 h 569"/>
                <a:gd name="T22" fmla="*/ 173 w 850"/>
                <a:gd name="T23" fmla="*/ 394 h 569"/>
                <a:gd name="T24" fmla="*/ 147 w 850"/>
                <a:gd name="T25" fmla="*/ 438 h 569"/>
                <a:gd name="T26" fmla="*/ 259 w 850"/>
                <a:gd name="T27" fmla="*/ 462 h 569"/>
                <a:gd name="T28" fmla="*/ 348 w 850"/>
                <a:gd name="T29" fmla="*/ 446 h 569"/>
                <a:gd name="T30" fmla="*/ 301 w 850"/>
                <a:gd name="T31" fmla="*/ 402 h 569"/>
                <a:gd name="T32" fmla="*/ 332 w 850"/>
                <a:gd name="T33" fmla="*/ 376 h 569"/>
                <a:gd name="T34" fmla="*/ 382 w 850"/>
                <a:gd name="T35" fmla="*/ 397 h 569"/>
                <a:gd name="T36" fmla="*/ 405 w 850"/>
                <a:gd name="T37" fmla="*/ 446 h 569"/>
                <a:gd name="T38" fmla="*/ 554 w 850"/>
                <a:gd name="T39" fmla="*/ 449 h 569"/>
                <a:gd name="T40" fmla="*/ 592 w 850"/>
                <a:gd name="T41" fmla="*/ 433 h 569"/>
                <a:gd name="T42" fmla="*/ 600 w 850"/>
                <a:gd name="T43" fmla="*/ 457 h 569"/>
                <a:gd name="T44" fmla="*/ 559 w 850"/>
                <a:gd name="T45" fmla="*/ 493 h 569"/>
                <a:gd name="T46" fmla="*/ 616 w 850"/>
                <a:gd name="T47" fmla="*/ 495 h 569"/>
                <a:gd name="T48" fmla="*/ 606 w 850"/>
                <a:gd name="T49" fmla="*/ 522 h 569"/>
                <a:gd name="T50" fmla="*/ 590 w 850"/>
                <a:gd name="T51" fmla="*/ 540 h 569"/>
                <a:gd name="T52" fmla="*/ 717 w 850"/>
                <a:gd name="T53" fmla="*/ 540 h 569"/>
                <a:gd name="T54" fmla="*/ 780 w 850"/>
                <a:gd name="T55" fmla="*/ 561 h 569"/>
                <a:gd name="T56" fmla="*/ 786 w 850"/>
                <a:gd name="T57" fmla="*/ 569 h 569"/>
                <a:gd name="T58" fmla="*/ 789 w 850"/>
                <a:gd name="T59" fmla="*/ 518 h 569"/>
                <a:gd name="T60" fmla="*/ 807 w 850"/>
                <a:gd name="T61" fmla="*/ 496 h 569"/>
                <a:gd name="T62" fmla="*/ 831 w 850"/>
                <a:gd name="T63" fmla="*/ 482 h 569"/>
                <a:gd name="T64" fmla="*/ 829 w 850"/>
                <a:gd name="T65" fmla="*/ 468 h 569"/>
                <a:gd name="T66" fmla="*/ 810 w 850"/>
                <a:gd name="T67" fmla="*/ 449 h 569"/>
                <a:gd name="T68" fmla="*/ 791 w 850"/>
                <a:gd name="T69" fmla="*/ 449 h 569"/>
                <a:gd name="T70" fmla="*/ 779 w 850"/>
                <a:gd name="T71" fmla="*/ 435 h 569"/>
                <a:gd name="T72" fmla="*/ 800 w 850"/>
                <a:gd name="T73" fmla="*/ 416 h 569"/>
                <a:gd name="T74" fmla="*/ 800 w 850"/>
                <a:gd name="T75" fmla="*/ 409 h 569"/>
                <a:gd name="T76" fmla="*/ 777 w 850"/>
                <a:gd name="T77" fmla="*/ 397 h 569"/>
                <a:gd name="T78" fmla="*/ 777 w 850"/>
                <a:gd name="T79" fmla="*/ 378 h 569"/>
                <a:gd name="T80" fmla="*/ 829 w 850"/>
                <a:gd name="T81" fmla="*/ 381 h 569"/>
                <a:gd name="T82" fmla="*/ 841 w 850"/>
                <a:gd name="T83" fmla="*/ 371 h 569"/>
                <a:gd name="T84" fmla="*/ 796 w 850"/>
                <a:gd name="T85" fmla="*/ 329 h 569"/>
                <a:gd name="T86" fmla="*/ 798 w 850"/>
                <a:gd name="T87" fmla="*/ 279 h 569"/>
                <a:gd name="T88" fmla="*/ 770 w 850"/>
                <a:gd name="T89" fmla="*/ 256 h 569"/>
                <a:gd name="T90" fmla="*/ 793 w 850"/>
                <a:gd name="T91" fmla="*/ 209 h 569"/>
                <a:gd name="T92" fmla="*/ 850 w 850"/>
                <a:gd name="T93" fmla="*/ 171 h 569"/>
                <a:gd name="T94" fmla="*/ 807 w 850"/>
                <a:gd name="T95" fmla="*/ 143 h 569"/>
                <a:gd name="T96" fmla="*/ 777 w 850"/>
                <a:gd name="T97" fmla="*/ 166 h 569"/>
                <a:gd name="T98" fmla="*/ 706 w 850"/>
                <a:gd name="T99" fmla="*/ 183 h 569"/>
                <a:gd name="T100" fmla="*/ 650 w 850"/>
                <a:gd name="T101" fmla="*/ 175 h 569"/>
                <a:gd name="T102" fmla="*/ 548 w 850"/>
                <a:gd name="T103" fmla="*/ 133 h 569"/>
                <a:gd name="T104" fmla="*/ 487 w 850"/>
                <a:gd name="T105" fmla="*/ 135 h 569"/>
                <a:gd name="T106" fmla="*/ 435 w 850"/>
                <a:gd name="T107" fmla="*/ 112 h 569"/>
                <a:gd name="T108" fmla="*/ 416 w 850"/>
                <a:gd name="T109" fmla="*/ 86 h 569"/>
                <a:gd name="T110" fmla="*/ 376 w 850"/>
                <a:gd name="T111" fmla="*/ 41 h 569"/>
                <a:gd name="T112" fmla="*/ 282 w 850"/>
                <a:gd name="T113" fmla="*/ 1 h 569"/>
                <a:gd name="T114" fmla="*/ 280 w 850"/>
                <a:gd name="T115" fmla="*/ 0 h 56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50"/>
                <a:gd name="T175" fmla="*/ 0 h 569"/>
                <a:gd name="T176" fmla="*/ 850 w 850"/>
                <a:gd name="T177" fmla="*/ 569 h 569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50" h="569">
                  <a:moveTo>
                    <a:pt x="280" y="0"/>
                  </a:moveTo>
                  <a:lnTo>
                    <a:pt x="207" y="42"/>
                  </a:lnTo>
                  <a:lnTo>
                    <a:pt x="188" y="182"/>
                  </a:lnTo>
                  <a:lnTo>
                    <a:pt x="111" y="171"/>
                  </a:lnTo>
                  <a:lnTo>
                    <a:pt x="89" y="230"/>
                  </a:lnTo>
                  <a:lnTo>
                    <a:pt x="107" y="256"/>
                  </a:lnTo>
                  <a:lnTo>
                    <a:pt x="23" y="308"/>
                  </a:lnTo>
                  <a:lnTo>
                    <a:pt x="0" y="362"/>
                  </a:lnTo>
                  <a:lnTo>
                    <a:pt x="82" y="365"/>
                  </a:lnTo>
                  <a:lnTo>
                    <a:pt x="192" y="373"/>
                  </a:lnTo>
                  <a:lnTo>
                    <a:pt x="212" y="394"/>
                  </a:lnTo>
                  <a:lnTo>
                    <a:pt x="173" y="394"/>
                  </a:lnTo>
                  <a:lnTo>
                    <a:pt x="147" y="438"/>
                  </a:lnTo>
                  <a:lnTo>
                    <a:pt x="259" y="462"/>
                  </a:lnTo>
                  <a:lnTo>
                    <a:pt x="348" y="446"/>
                  </a:lnTo>
                  <a:lnTo>
                    <a:pt x="301" y="402"/>
                  </a:lnTo>
                  <a:lnTo>
                    <a:pt x="332" y="376"/>
                  </a:lnTo>
                  <a:lnTo>
                    <a:pt x="382" y="397"/>
                  </a:lnTo>
                  <a:lnTo>
                    <a:pt x="405" y="446"/>
                  </a:lnTo>
                  <a:lnTo>
                    <a:pt x="554" y="449"/>
                  </a:lnTo>
                  <a:lnTo>
                    <a:pt x="592" y="433"/>
                  </a:lnTo>
                  <a:lnTo>
                    <a:pt x="600" y="457"/>
                  </a:lnTo>
                  <a:lnTo>
                    <a:pt x="559" y="493"/>
                  </a:lnTo>
                  <a:lnTo>
                    <a:pt x="616" y="495"/>
                  </a:lnTo>
                  <a:lnTo>
                    <a:pt x="606" y="522"/>
                  </a:lnTo>
                  <a:lnTo>
                    <a:pt x="590" y="540"/>
                  </a:lnTo>
                  <a:lnTo>
                    <a:pt x="717" y="540"/>
                  </a:lnTo>
                  <a:lnTo>
                    <a:pt x="780" y="561"/>
                  </a:lnTo>
                  <a:lnTo>
                    <a:pt x="786" y="569"/>
                  </a:lnTo>
                  <a:lnTo>
                    <a:pt x="789" y="518"/>
                  </a:lnTo>
                  <a:lnTo>
                    <a:pt x="807" y="496"/>
                  </a:lnTo>
                  <a:lnTo>
                    <a:pt x="831" y="482"/>
                  </a:lnTo>
                  <a:lnTo>
                    <a:pt x="829" y="468"/>
                  </a:lnTo>
                  <a:lnTo>
                    <a:pt x="810" y="449"/>
                  </a:lnTo>
                  <a:lnTo>
                    <a:pt x="791" y="449"/>
                  </a:lnTo>
                  <a:lnTo>
                    <a:pt x="779" y="435"/>
                  </a:lnTo>
                  <a:lnTo>
                    <a:pt x="800" y="416"/>
                  </a:lnTo>
                  <a:lnTo>
                    <a:pt x="800" y="409"/>
                  </a:lnTo>
                  <a:lnTo>
                    <a:pt x="777" y="397"/>
                  </a:lnTo>
                  <a:lnTo>
                    <a:pt x="777" y="378"/>
                  </a:lnTo>
                  <a:lnTo>
                    <a:pt x="829" y="381"/>
                  </a:lnTo>
                  <a:lnTo>
                    <a:pt x="841" y="371"/>
                  </a:lnTo>
                  <a:lnTo>
                    <a:pt x="796" y="329"/>
                  </a:lnTo>
                  <a:lnTo>
                    <a:pt x="798" y="279"/>
                  </a:lnTo>
                  <a:lnTo>
                    <a:pt x="770" y="256"/>
                  </a:lnTo>
                  <a:lnTo>
                    <a:pt x="793" y="209"/>
                  </a:lnTo>
                  <a:lnTo>
                    <a:pt x="850" y="171"/>
                  </a:lnTo>
                  <a:lnTo>
                    <a:pt x="807" y="143"/>
                  </a:lnTo>
                  <a:lnTo>
                    <a:pt x="777" y="166"/>
                  </a:lnTo>
                  <a:lnTo>
                    <a:pt x="706" y="183"/>
                  </a:lnTo>
                  <a:lnTo>
                    <a:pt x="650" y="175"/>
                  </a:lnTo>
                  <a:lnTo>
                    <a:pt x="548" y="133"/>
                  </a:lnTo>
                  <a:lnTo>
                    <a:pt x="487" y="135"/>
                  </a:lnTo>
                  <a:lnTo>
                    <a:pt x="435" y="112"/>
                  </a:lnTo>
                  <a:lnTo>
                    <a:pt x="416" y="86"/>
                  </a:lnTo>
                  <a:lnTo>
                    <a:pt x="376" y="41"/>
                  </a:lnTo>
                  <a:lnTo>
                    <a:pt x="282" y="1"/>
                  </a:lnTo>
                  <a:lnTo>
                    <a:pt x="28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13</a:t>
              </a:r>
            </a:p>
          </p:txBody>
        </p:sp>
        <p:sp>
          <p:nvSpPr>
            <p:cNvPr id="12" name="FR-84">
              <a:extLst>
                <a:ext uri="{FF2B5EF4-FFF2-40B4-BE49-F238E27FC236}">
                  <a16:creationId xmlns:a16="http://schemas.microsoft.com/office/drawing/2014/main" id="{70BC4A54-D765-42A2-9909-73666F6AADD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119472" y="5545506"/>
              <a:ext cx="290579" cy="248048"/>
            </a:xfrm>
            <a:custGeom>
              <a:avLst/>
              <a:gdLst>
                <a:gd name="T0" fmla="*/ 196 w 629"/>
                <a:gd name="T1" fmla="*/ 0 h 563"/>
                <a:gd name="T2" fmla="*/ 159 w 629"/>
                <a:gd name="T3" fmla="*/ 3 h 563"/>
                <a:gd name="T4" fmla="*/ 131 w 629"/>
                <a:gd name="T5" fmla="*/ 47 h 563"/>
                <a:gd name="T6" fmla="*/ 139 w 629"/>
                <a:gd name="T7" fmla="*/ 93 h 563"/>
                <a:gd name="T8" fmla="*/ 183 w 629"/>
                <a:gd name="T9" fmla="*/ 99 h 563"/>
                <a:gd name="T10" fmla="*/ 175 w 629"/>
                <a:gd name="T11" fmla="*/ 120 h 563"/>
                <a:gd name="T12" fmla="*/ 141 w 629"/>
                <a:gd name="T13" fmla="*/ 122 h 563"/>
                <a:gd name="T14" fmla="*/ 102 w 629"/>
                <a:gd name="T15" fmla="*/ 161 h 563"/>
                <a:gd name="T16" fmla="*/ 92 w 629"/>
                <a:gd name="T17" fmla="*/ 148 h 563"/>
                <a:gd name="T18" fmla="*/ 99 w 629"/>
                <a:gd name="T19" fmla="*/ 96 h 563"/>
                <a:gd name="T20" fmla="*/ 84 w 629"/>
                <a:gd name="T21" fmla="*/ 78 h 563"/>
                <a:gd name="T22" fmla="*/ 14 w 629"/>
                <a:gd name="T23" fmla="*/ 88 h 563"/>
                <a:gd name="T24" fmla="*/ 0 w 629"/>
                <a:gd name="T25" fmla="*/ 116 h 563"/>
                <a:gd name="T26" fmla="*/ 7 w 629"/>
                <a:gd name="T27" fmla="*/ 120 h 563"/>
                <a:gd name="T28" fmla="*/ 51 w 629"/>
                <a:gd name="T29" fmla="*/ 194 h 563"/>
                <a:gd name="T30" fmla="*/ 51 w 629"/>
                <a:gd name="T31" fmla="*/ 253 h 563"/>
                <a:gd name="T32" fmla="*/ 129 w 629"/>
                <a:gd name="T33" fmla="*/ 330 h 563"/>
                <a:gd name="T34" fmla="*/ 129 w 629"/>
                <a:gd name="T35" fmla="*/ 363 h 563"/>
                <a:gd name="T36" fmla="*/ 99 w 629"/>
                <a:gd name="T37" fmla="*/ 380 h 563"/>
                <a:gd name="T38" fmla="*/ 101 w 629"/>
                <a:gd name="T39" fmla="*/ 381 h 563"/>
                <a:gd name="T40" fmla="*/ 195 w 629"/>
                <a:gd name="T41" fmla="*/ 421 h 563"/>
                <a:gd name="T42" fmla="*/ 235 w 629"/>
                <a:gd name="T43" fmla="*/ 466 h 563"/>
                <a:gd name="T44" fmla="*/ 254 w 629"/>
                <a:gd name="T45" fmla="*/ 492 h 563"/>
                <a:gd name="T46" fmla="*/ 306 w 629"/>
                <a:gd name="T47" fmla="*/ 515 h 563"/>
                <a:gd name="T48" fmla="*/ 367 w 629"/>
                <a:gd name="T49" fmla="*/ 513 h 563"/>
                <a:gd name="T50" fmla="*/ 469 w 629"/>
                <a:gd name="T51" fmla="*/ 555 h 563"/>
                <a:gd name="T52" fmla="*/ 525 w 629"/>
                <a:gd name="T53" fmla="*/ 563 h 563"/>
                <a:gd name="T54" fmla="*/ 596 w 629"/>
                <a:gd name="T55" fmla="*/ 546 h 563"/>
                <a:gd name="T56" fmla="*/ 625 w 629"/>
                <a:gd name="T57" fmla="*/ 523 h 563"/>
                <a:gd name="T58" fmla="*/ 629 w 629"/>
                <a:gd name="T59" fmla="*/ 504 h 563"/>
                <a:gd name="T60" fmla="*/ 575 w 629"/>
                <a:gd name="T61" fmla="*/ 443 h 563"/>
                <a:gd name="T62" fmla="*/ 516 w 629"/>
                <a:gd name="T63" fmla="*/ 443 h 563"/>
                <a:gd name="T64" fmla="*/ 516 w 629"/>
                <a:gd name="T65" fmla="*/ 421 h 563"/>
                <a:gd name="T66" fmla="*/ 537 w 629"/>
                <a:gd name="T67" fmla="*/ 398 h 563"/>
                <a:gd name="T68" fmla="*/ 537 w 629"/>
                <a:gd name="T69" fmla="*/ 372 h 563"/>
                <a:gd name="T70" fmla="*/ 490 w 629"/>
                <a:gd name="T71" fmla="*/ 348 h 563"/>
                <a:gd name="T72" fmla="*/ 485 w 629"/>
                <a:gd name="T73" fmla="*/ 310 h 563"/>
                <a:gd name="T74" fmla="*/ 511 w 629"/>
                <a:gd name="T75" fmla="*/ 299 h 563"/>
                <a:gd name="T76" fmla="*/ 511 w 629"/>
                <a:gd name="T77" fmla="*/ 266 h 563"/>
                <a:gd name="T78" fmla="*/ 483 w 629"/>
                <a:gd name="T79" fmla="*/ 261 h 563"/>
                <a:gd name="T80" fmla="*/ 481 w 629"/>
                <a:gd name="T81" fmla="*/ 225 h 563"/>
                <a:gd name="T82" fmla="*/ 480 w 629"/>
                <a:gd name="T83" fmla="*/ 223 h 563"/>
                <a:gd name="T84" fmla="*/ 456 w 629"/>
                <a:gd name="T85" fmla="*/ 221 h 563"/>
                <a:gd name="T86" fmla="*/ 417 w 629"/>
                <a:gd name="T87" fmla="*/ 193 h 563"/>
                <a:gd name="T88" fmla="*/ 407 w 629"/>
                <a:gd name="T89" fmla="*/ 159 h 563"/>
                <a:gd name="T90" fmla="*/ 334 w 629"/>
                <a:gd name="T91" fmla="*/ 153 h 563"/>
                <a:gd name="T92" fmla="*/ 279 w 629"/>
                <a:gd name="T93" fmla="*/ 148 h 563"/>
                <a:gd name="T94" fmla="*/ 274 w 629"/>
                <a:gd name="T95" fmla="*/ 117 h 563"/>
                <a:gd name="T96" fmla="*/ 292 w 629"/>
                <a:gd name="T97" fmla="*/ 78 h 563"/>
                <a:gd name="T98" fmla="*/ 259 w 629"/>
                <a:gd name="T99" fmla="*/ 107 h 563"/>
                <a:gd name="T100" fmla="*/ 206 w 629"/>
                <a:gd name="T101" fmla="*/ 101 h 563"/>
                <a:gd name="T102" fmla="*/ 196 w 629"/>
                <a:gd name="T103" fmla="*/ 83 h 563"/>
                <a:gd name="T104" fmla="*/ 232 w 629"/>
                <a:gd name="T105" fmla="*/ 34 h 563"/>
                <a:gd name="T106" fmla="*/ 196 w 629"/>
                <a:gd name="T107" fmla="*/ 0 h 563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9"/>
                <a:gd name="T163" fmla="*/ 0 h 563"/>
                <a:gd name="T164" fmla="*/ 629 w 629"/>
                <a:gd name="T165" fmla="*/ 563 h 563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9" h="563">
                  <a:moveTo>
                    <a:pt x="196" y="0"/>
                  </a:moveTo>
                  <a:lnTo>
                    <a:pt x="159" y="3"/>
                  </a:lnTo>
                  <a:lnTo>
                    <a:pt x="131" y="47"/>
                  </a:lnTo>
                  <a:lnTo>
                    <a:pt x="139" y="93"/>
                  </a:lnTo>
                  <a:lnTo>
                    <a:pt x="183" y="99"/>
                  </a:lnTo>
                  <a:lnTo>
                    <a:pt x="175" y="120"/>
                  </a:lnTo>
                  <a:lnTo>
                    <a:pt x="141" y="122"/>
                  </a:lnTo>
                  <a:lnTo>
                    <a:pt x="102" y="161"/>
                  </a:lnTo>
                  <a:lnTo>
                    <a:pt x="92" y="148"/>
                  </a:lnTo>
                  <a:lnTo>
                    <a:pt x="99" y="96"/>
                  </a:lnTo>
                  <a:lnTo>
                    <a:pt x="84" y="78"/>
                  </a:lnTo>
                  <a:lnTo>
                    <a:pt x="14" y="88"/>
                  </a:lnTo>
                  <a:lnTo>
                    <a:pt x="0" y="116"/>
                  </a:lnTo>
                  <a:lnTo>
                    <a:pt x="7" y="120"/>
                  </a:lnTo>
                  <a:lnTo>
                    <a:pt x="51" y="194"/>
                  </a:lnTo>
                  <a:lnTo>
                    <a:pt x="51" y="253"/>
                  </a:lnTo>
                  <a:lnTo>
                    <a:pt x="129" y="330"/>
                  </a:lnTo>
                  <a:lnTo>
                    <a:pt x="129" y="363"/>
                  </a:lnTo>
                  <a:lnTo>
                    <a:pt x="99" y="380"/>
                  </a:lnTo>
                  <a:lnTo>
                    <a:pt x="101" y="381"/>
                  </a:lnTo>
                  <a:lnTo>
                    <a:pt x="195" y="421"/>
                  </a:lnTo>
                  <a:lnTo>
                    <a:pt x="235" y="466"/>
                  </a:lnTo>
                  <a:lnTo>
                    <a:pt x="254" y="492"/>
                  </a:lnTo>
                  <a:lnTo>
                    <a:pt x="306" y="515"/>
                  </a:lnTo>
                  <a:lnTo>
                    <a:pt x="367" y="513"/>
                  </a:lnTo>
                  <a:lnTo>
                    <a:pt x="469" y="555"/>
                  </a:lnTo>
                  <a:lnTo>
                    <a:pt x="525" y="563"/>
                  </a:lnTo>
                  <a:lnTo>
                    <a:pt x="596" y="546"/>
                  </a:lnTo>
                  <a:lnTo>
                    <a:pt x="625" y="523"/>
                  </a:lnTo>
                  <a:lnTo>
                    <a:pt x="629" y="504"/>
                  </a:lnTo>
                  <a:lnTo>
                    <a:pt x="575" y="443"/>
                  </a:lnTo>
                  <a:lnTo>
                    <a:pt x="516" y="443"/>
                  </a:lnTo>
                  <a:lnTo>
                    <a:pt x="516" y="421"/>
                  </a:lnTo>
                  <a:lnTo>
                    <a:pt x="537" y="398"/>
                  </a:lnTo>
                  <a:lnTo>
                    <a:pt x="537" y="372"/>
                  </a:lnTo>
                  <a:lnTo>
                    <a:pt x="490" y="348"/>
                  </a:lnTo>
                  <a:lnTo>
                    <a:pt x="485" y="310"/>
                  </a:lnTo>
                  <a:lnTo>
                    <a:pt x="511" y="299"/>
                  </a:lnTo>
                  <a:lnTo>
                    <a:pt x="511" y="266"/>
                  </a:lnTo>
                  <a:lnTo>
                    <a:pt x="483" y="261"/>
                  </a:lnTo>
                  <a:lnTo>
                    <a:pt x="481" y="225"/>
                  </a:lnTo>
                  <a:lnTo>
                    <a:pt x="480" y="223"/>
                  </a:lnTo>
                  <a:lnTo>
                    <a:pt x="456" y="221"/>
                  </a:lnTo>
                  <a:lnTo>
                    <a:pt x="417" y="193"/>
                  </a:lnTo>
                  <a:lnTo>
                    <a:pt x="407" y="159"/>
                  </a:lnTo>
                  <a:lnTo>
                    <a:pt x="334" y="153"/>
                  </a:lnTo>
                  <a:lnTo>
                    <a:pt x="279" y="148"/>
                  </a:lnTo>
                  <a:lnTo>
                    <a:pt x="274" y="117"/>
                  </a:lnTo>
                  <a:lnTo>
                    <a:pt x="292" y="78"/>
                  </a:lnTo>
                  <a:lnTo>
                    <a:pt x="259" y="107"/>
                  </a:lnTo>
                  <a:lnTo>
                    <a:pt x="206" y="101"/>
                  </a:lnTo>
                  <a:lnTo>
                    <a:pt x="196" y="83"/>
                  </a:lnTo>
                  <a:lnTo>
                    <a:pt x="232" y="34"/>
                  </a:lnTo>
                  <a:lnTo>
                    <a:pt x="196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84</a:t>
              </a:r>
            </a:p>
          </p:txBody>
        </p:sp>
        <p:sp>
          <p:nvSpPr>
            <p:cNvPr id="13" name="FR-83">
              <a:extLst>
                <a:ext uri="{FF2B5EF4-FFF2-40B4-BE49-F238E27FC236}">
                  <a16:creationId xmlns:a16="http://schemas.microsoft.com/office/drawing/2014/main" id="{E337A165-5D06-4C11-B62E-5F2EEC75129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391572" y="5732312"/>
              <a:ext cx="324765" cy="270077"/>
            </a:xfrm>
            <a:custGeom>
              <a:avLst/>
              <a:gdLst>
                <a:gd name="T0" fmla="*/ 511 w 703"/>
                <a:gd name="T1" fmla="*/ 2 h 613"/>
                <a:gd name="T2" fmla="*/ 422 w 703"/>
                <a:gd name="T3" fmla="*/ 19 h 613"/>
                <a:gd name="T4" fmla="*/ 318 w 703"/>
                <a:gd name="T5" fmla="*/ 35 h 613"/>
                <a:gd name="T6" fmla="*/ 240 w 703"/>
                <a:gd name="T7" fmla="*/ 80 h 613"/>
                <a:gd name="T8" fmla="*/ 108 w 703"/>
                <a:gd name="T9" fmla="*/ 59 h 613"/>
                <a:gd name="T10" fmla="*/ 36 w 703"/>
                <a:gd name="T11" fmla="*/ 99 h 613"/>
                <a:gd name="T12" fmla="*/ 80 w 703"/>
                <a:gd name="T13" fmla="*/ 127 h 613"/>
                <a:gd name="T14" fmla="*/ 0 w 703"/>
                <a:gd name="T15" fmla="*/ 212 h 613"/>
                <a:gd name="T16" fmla="*/ 26 w 703"/>
                <a:gd name="T17" fmla="*/ 285 h 613"/>
                <a:gd name="T18" fmla="*/ 59 w 703"/>
                <a:gd name="T19" fmla="*/ 337 h 613"/>
                <a:gd name="T20" fmla="*/ 7 w 703"/>
                <a:gd name="T21" fmla="*/ 353 h 613"/>
                <a:gd name="T22" fmla="*/ 30 w 703"/>
                <a:gd name="T23" fmla="*/ 372 h 613"/>
                <a:gd name="T24" fmla="*/ 21 w 703"/>
                <a:gd name="T25" fmla="*/ 405 h 613"/>
                <a:gd name="T26" fmla="*/ 59 w 703"/>
                <a:gd name="T27" fmla="*/ 424 h 613"/>
                <a:gd name="T28" fmla="*/ 37 w 703"/>
                <a:gd name="T29" fmla="*/ 452 h 613"/>
                <a:gd name="T30" fmla="*/ 16 w 703"/>
                <a:gd name="T31" fmla="*/ 525 h 613"/>
                <a:gd name="T32" fmla="*/ 70 w 703"/>
                <a:gd name="T33" fmla="*/ 556 h 613"/>
                <a:gd name="T34" fmla="*/ 112 w 703"/>
                <a:gd name="T35" fmla="*/ 613 h 613"/>
                <a:gd name="T36" fmla="*/ 185 w 703"/>
                <a:gd name="T37" fmla="*/ 566 h 613"/>
                <a:gd name="T38" fmla="*/ 263 w 703"/>
                <a:gd name="T39" fmla="*/ 595 h 613"/>
                <a:gd name="T40" fmla="*/ 299 w 703"/>
                <a:gd name="T41" fmla="*/ 611 h 613"/>
                <a:gd name="T42" fmla="*/ 278 w 703"/>
                <a:gd name="T43" fmla="*/ 561 h 613"/>
                <a:gd name="T44" fmla="*/ 351 w 703"/>
                <a:gd name="T45" fmla="*/ 551 h 613"/>
                <a:gd name="T46" fmla="*/ 380 w 703"/>
                <a:gd name="T47" fmla="*/ 571 h 613"/>
                <a:gd name="T48" fmla="*/ 403 w 703"/>
                <a:gd name="T49" fmla="*/ 524 h 613"/>
                <a:gd name="T50" fmla="*/ 479 w 703"/>
                <a:gd name="T51" fmla="*/ 506 h 613"/>
                <a:gd name="T52" fmla="*/ 531 w 703"/>
                <a:gd name="T53" fmla="*/ 493 h 613"/>
                <a:gd name="T54" fmla="*/ 572 w 703"/>
                <a:gd name="T55" fmla="*/ 407 h 613"/>
                <a:gd name="T56" fmla="*/ 560 w 703"/>
                <a:gd name="T57" fmla="*/ 384 h 613"/>
                <a:gd name="T58" fmla="*/ 586 w 703"/>
                <a:gd name="T59" fmla="*/ 314 h 613"/>
                <a:gd name="T60" fmla="*/ 703 w 703"/>
                <a:gd name="T61" fmla="*/ 256 h 613"/>
                <a:gd name="T62" fmla="*/ 674 w 703"/>
                <a:gd name="T63" fmla="*/ 209 h 613"/>
                <a:gd name="T64" fmla="*/ 679 w 703"/>
                <a:gd name="T65" fmla="*/ 179 h 613"/>
                <a:gd name="T66" fmla="*/ 643 w 703"/>
                <a:gd name="T67" fmla="*/ 141 h 613"/>
                <a:gd name="T68" fmla="*/ 599 w 703"/>
                <a:gd name="T69" fmla="*/ 113 h 613"/>
                <a:gd name="T70" fmla="*/ 563 w 703"/>
                <a:gd name="T71" fmla="*/ 49 h 613"/>
                <a:gd name="T72" fmla="*/ 521 w 703"/>
                <a:gd name="T73" fmla="*/ 19 h 613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703"/>
                <a:gd name="T112" fmla="*/ 0 h 613"/>
                <a:gd name="T113" fmla="*/ 703 w 703"/>
                <a:gd name="T114" fmla="*/ 613 h 613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703" h="613">
                  <a:moveTo>
                    <a:pt x="551" y="0"/>
                  </a:moveTo>
                  <a:lnTo>
                    <a:pt x="511" y="2"/>
                  </a:lnTo>
                  <a:lnTo>
                    <a:pt x="492" y="21"/>
                  </a:lnTo>
                  <a:lnTo>
                    <a:pt x="422" y="19"/>
                  </a:lnTo>
                  <a:lnTo>
                    <a:pt x="360" y="63"/>
                  </a:lnTo>
                  <a:lnTo>
                    <a:pt x="318" y="35"/>
                  </a:lnTo>
                  <a:lnTo>
                    <a:pt x="252" y="56"/>
                  </a:lnTo>
                  <a:lnTo>
                    <a:pt x="240" y="80"/>
                  </a:lnTo>
                  <a:lnTo>
                    <a:pt x="193" y="115"/>
                  </a:lnTo>
                  <a:lnTo>
                    <a:pt x="108" y="59"/>
                  </a:lnTo>
                  <a:lnTo>
                    <a:pt x="40" y="81"/>
                  </a:lnTo>
                  <a:lnTo>
                    <a:pt x="36" y="99"/>
                  </a:lnTo>
                  <a:lnTo>
                    <a:pt x="37" y="99"/>
                  </a:lnTo>
                  <a:lnTo>
                    <a:pt x="80" y="127"/>
                  </a:lnTo>
                  <a:lnTo>
                    <a:pt x="23" y="165"/>
                  </a:lnTo>
                  <a:lnTo>
                    <a:pt x="0" y="212"/>
                  </a:lnTo>
                  <a:lnTo>
                    <a:pt x="28" y="235"/>
                  </a:lnTo>
                  <a:lnTo>
                    <a:pt x="26" y="285"/>
                  </a:lnTo>
                  <a:lnTo>
                    <a:pt x="71" y="327"/>
                  </a:lnTo>
                  <a:lnTo>
                    <a:pt x="59" y="337"/>
                  </a:lnTo>
                  <a:lnTo>
                    <a:pt x="7" y="334"/>
                  </a:lnTo>
                  <a:lnTo>
                    <a:pt x="7" y="353"/>
                  </a:lnTo>
                  <a:lnTo>
                    <a:pt x="30" y="365"/>
                  </a:lnTo>
                  <a:lnTo>
                    <a:pt x="30" y="372"/>
                  </a:lnTo>
                  <a:lnTo>
                    <a:pt x="9" y="391"/>
                  </a:lnTo>
                  <a:lnTo>
                    <a:pt x="21" y="405"/>
                  </a:lnTo>
                  <a:lnTo>
                    <a:pt x="40" y="405"/>
                  </a:lnTo>
                  <a:lnTo>
                    <a:pt x="59" y="424"/>
                  </a:lnTo>
                  <a:lnTo>
                    <a:pt x="61" y="438"/>
                  </a:lnTo>
                  <a:lnTo>
                    <a:pt x="37" y="452"/>
                  </a:lnTo>
                  <a:lnTo>
                    <a:pt x="19" y="474"/>
                  </a:lnTo>
                  <a:lnTo>
                    <a:pt x="16" y="525"/>
                  </a:lnTo>
                  <a:lnTo>
                    <a:pt x="23" y="535"/>
                  </a:lnTo>
                  <a:lnTo>
                    <a:pt x="70" y="556"/>
                  </a:lnTo>
                  <a:lnTo>
                    <a:pt x="83" y="608"/>
                  </a:lnTo>
                  <a:lnTo>
                    <a:pt x="112" y="613"/>
                  </a:lnTo>
                  <a:lnTo>
                    <a:pt x="138" y="595"/>
                  </a:lnTo>
                  <a:lnTo>
                    <a:pt x="185" y="566"/>
                  </a:lnTo>
                  <a:lnTo>
                    <a:pt x="265" y="574"/>
                  </a:lnTo>
                  <a:lnTo>
                    <a:pt x="263" y="595"/>
                  </a:lnTo>
                  <a:lnTo>
                    <a:pt x="237" y="608"/>
                  </a:lnTo>
                  <a:lnTo>
                    <a:pt x="299" y="611"/>
                  </a:lnTo>
                  <a:lnTo>
                    <a:pt x="284" y="595"/>
                  </a:lnTo>
                  <a:lnTo>
                    <a:pt x="278" y="561"/>
                  </a:lnTo>
                  <a:lnTo>
                    <a:pt x="312" y="538"/>
                  </a:lnTo>
                  <a:lnTo>
                    <a:pt x="351" y="551"/>
                  </a:lnTo>
                  <a:lnTo>
                    <a:pt x="367" y="556"/>
                  </a:lnTo>
                  <a:lnTo>
                    <a:pt x="380" y="571"/>
                  </a:lnTo>
                  <a:lnTo>
                    <a:pt x="398" y="559"/>
                  </a:lnTo>
                  <a:lnTo>
                    <a:pt x="403" y="524"/>
                  </a:lnTo>
                  <a:lnTo>
                    <a:pt x="424" y="506"/>
                  </a:lnTo>
                  <a:lnTo>
                    <a:pt x="479" y="506"/>
                  </a:lnTo>
                  <a:lnTo>
                    <a:pt x="495" y="483"/>
                  </a:lnTo>
                  <a:lnTo>
                    <a:pt x="531" y="493"/>
                  </a:lnTo>
                  <a:lnTo>
                    <a:pt x="572" y="475"/>
                  </a:lnTo>
                  <a:lnTo>
                    <a:pt x="572" y="407"/>
                  </a:lnTo>
                  <a:lnTo>
                    <a:pt x="518" y="410"/>
                  </a:lnTo>
                  <a:lnTo>
                    <a:pt x="560" y="384"/>
                  </a:lnTo>
                  <a:lnTo>
                    <a:pt x="580" y="355"/>
                  </a:lnTo>
                  <a:lnTo>
                    <a:pt x="586" y="314"/>
                  </a:lnTo>
                  <a:lnTo>
                    <a:pt x="661" y="303"/>
                  </a:lnTo>
                  <a:lnTo>
                    <a:pt x="703" y="256"/>
                  </a:lnTo>
                  <a:lnTo>
                    <a:pt x="674" y="226"/>
                  </a:lnTo>
                  <a:lnTo>
                    <a:pt x="674" y="209"/>
                  </a:lnTo>
                  <a:lnTo>
                    <a:pt x="660" y="195"/>
                  </a:lnTo>
                  <a:lnTo>
                    <a:pt x="679" y="179"/>
                  </a:lnTo>
                  <a:lnTo>
                    <a:pt x="674" y="153"/>
                  </a:lnTo>
                  <a:lnTo>
                    <a:pt x="643" y="141"/>
                  </a:lnTo>
                  <a:lnTo>
                    <a:pt x="627" y="141"/>
                  </a:lnTo>
                  <a:lnTo>
                    <a:pt x="599" y="113"/>
                  </a:lnTo>
                  <a:lnTo>
                    <a:pt x="594" y="63"/>
                  </a:lnTo>
                  <a:lnTo>
                    <a:pt x="563" y="49"/>
                  </a:lnTo>
                  <a:lnTo>
                    <a:pt x="532" y="47"/>
                  </a:lnTo>
                  <a:lnTo>
                    <a:pt x="521" y="19"/>
                  </a:lnTo>
                  <a:lnTo>
                    <a:pt x="551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83</a:t>
              </a:r>
            </a:p>
          </p:txBody>
        </p:sp>
        <p:sp>
          <p:nvSpPr>
            <p:cNvPr id="14" name="FR-04">
              <a:extLst>
                <a:ext uri="{FF2B5EF4-FFF2-40B4-BE49-F238E27FC236}">
                  <a16:creationId xmlns:a16="http://schemas.microsoft.com/office/drawing/2014/main" id="{15F7866E-6348-4CDB-B7C2-DA927411EFA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341217" y="5445494"/>
              <a:ext cx="364032" cy="337486"/>
            </a:xfrm>
            <a:custGeom>
              <a:avLst/>
              <a:gdLst>
                <a:gd name="T0" fmla="*/ 712 w 788"/>
                <a:gd name="T1" fmla="*/ 42 h 766"/>
                <a:gd name="T2" fmla="*/ 658 w 788"/>
                <a:gd name="T3" fmla="*/ 95 h 766"/>
                <a:gd name="T4" fmla="*/ 623 w 788"/>
                <a:gd name="T5" fmla="*/ 122 h 766"/>
                <a:gd name="T6" fmla="*/ 599 w 788"/>
                <a:gd name="T7" fmla="*/ 172 h 766"/>
                <a:gd name="T8" fmla="*/ 474 w 788"/>
                <a:gd name="T9" fmla="*/ 149 h 766"/>
                <a:gd name="T10" fmla="*/ 399 w 788"/>
                <a:gd name="T11" fmla="*/ 165 h 766"/>
                <a:gd name="T12" fmla="*/ 399 w 788"/>
                <a:gd name="T13" fmla="*/ 182 h 766"/>
                <a:gd name="T14" fmla="*/ 394 w 788"/>
                <a:gd name="T15" fmla="*/ 231 h 766"/>
                <a:gd name="T16" fmla="*/ 349 w 788"/>
                <a:gd name="T17" fmla="*/ 186 h 766"/>
                <a:gd name="T18" fmla="*/ 309 w 788"/>
                <a:gd name="T19" fmla="*/ 165 h 766"/>
                <a:gd name="T20" fmla="*/ 288 w 788"/>
                <a:gd name="T21" fmla="*/ 193 h 766"/>
                <a:gd name="T22" fmla="*/ 215 w 788"/>
                <a:gd name="T23" fmla="*/ 267 h 766"/>
                <a:gd name="T24" fmla="*/ 224 w 788"/>
                <a:gd name="T25" fmla="*/ 295 h 766"/>
                <a:gd name="T26" fmla="*/ 210 w 788"/>
                <a:gd name="T27" fmla="*/ 332 h 766"/>
                <a:gd name="T28" fmla="*/ 170 w 788"/>
                <a:gd name="T29" fmla="*/ 311 h 766"/>
                <a:gd name="T30" fmla="*/ 217 w 788"/>
                <a:gd name="T31" fmla="*/ 377 h 766"/>
                <a:gd name="T32" fmla="*/ 173 w 788"/>
                <a:gd name="T33" fmla="*/ 375 h 766"/>
                <a:gd name="T34" fmla="*/ 85 w 788"/>
                <a:gd name="T35" fmla="*/ 412 h 766"/>
                <a:gd name="T36" fmla="*/ 83 w 788"/>
                <a:gd name="T37" fmla="*/ 427 h 766"/>
                <a:gd name="T38" fmla="*/ 47 w 788"/>
                <a:gd name="T39" fmla="*/ 391 h 766"/>
                <a:gd name="T40" fmla="*/ 10 w 788"/>
                <a:gd name="T41" fmla="*/ 451 h 766"/>
                <a:gd name="T42" fmla="*/ 1 w 788"/>
                <a:gd name="T43" fmla="*/ 452 h 766"/>
                <a:gd name="T44" fmla="*/ 31 w 788"/>
                <a:gd name="T45" fmla="*/ 493 h 766"/>
                <a:gd name="T46" fmla="*/ 5 w 788"/>
                <a:gd name="T47" fmla="*/ 537 h 766"/>
                <a:gd name="T48" fmla="*/ 57 w 788"/>
                <a:gd name="T49" fmla="*/ 599 h 766"/>
                <a:gd name="T50" fmla="*/ 36 w 788"/>
                <a:gd name="T51" fmla="*/ 648 h 766"/>
                <a:gd name="T52" fmla="*/ 95 w 788"/>
                <a:gd name="T53" fmla="*/ 670 h 766"/>
                <a:gd name="T54" fmla="*/ 149 w 788"/>
                <a:gd name="T55" fmla="*/ 732 h 766"/>
                <a:gd name="T56" fmla="*/ 302 w 788"/>
                <a:gd name="T57" fmla="*/ 766 h 766"/>
                <a:gd name="T58" fmla="*/ 361 w 788"/>
                <a:gd name="T59" fmla="*/ 707 h 766"/>
                <a:gd name="T60" fmla="*/ 469 w 788"/>
                <a:gd name="T61" fmla="*/ 714 h 766"/>
                <a:gd name="T62" fmla="*/ 601 w 788"/>
                <a:gd name="T63" fmla="*/ 672 h 766"/>
                <a:gd name="T64" fmla="*/ 660 w 788"/>
                <a:gd name="T65" fmla="*/ 651 h 766"/>
                <a:gd name="T66" fmla="*/ 651 w 788"/>
                <a:gd name="T67" fmla="*/ 627 h 766"/>
                <a:gd name="T68" fmla="*/ 658 w 788"/>
                <a:gd name="T69" fmla="*/ 594 h 766"/>
                <a:gd name="T70" fmla="*/ 705 w 788"/>
                <a:gd name="T71" fmla="*/ 582 h 766"/>
                <a:gd name="T72" fmla="*/ 769 w 788"/>
                <a:gd name="T73" fmla="*/ 582 h 766"/>
                <a:gd name="T74" fmla="*/ 743 w 788"/>
                <a:gd name="T75" fmla="*/ 530 h 766"/>
                <a:gd name="T76" fmla="*/ 679 w 788"/>
                <a:gd name="T77" fmla="*/ 481 h 766"/>
                <a:gd name="T78" fmla="*/ 649 w 788"/>
                <a:gd name="T79" fmla="*/ 403 h 766"/>
                <a:gd name="T80" fmla="*/ 672 w 788"/>
                <a:gd name="T81" fmla="*/ 309 h 766"/>
                <a:gd name="T82" fmla="*/ 701 w 788"/>
                <a:gd name="T83" fmla="*/ 255 h 766"/>
                <a:gd name="T84" fmla="*/ 741 w 788"/>
                <a:gd name="T85" fmla="*/ 234 h 766"/>
                <a:gd name="T86" fmla="*/ 778 w 788"/>
                <a:gd name="T87" fmla="*/ 178 h 766"/>
                <a:gd name="T88" fmla="*/ 731 w 788"/>
                <a:gd name="T89" fmla="*/ 152 h 766"/>
                <a:gd name="T90" fmla="*/ 729 w 788"/>
                <a:gd name="T91" fmla="*/ 95 h 766"/>
                <a:gd name="T92" fmla="*/ 768 w 788"/>
                <a:gd name="T93" fmla="*/ 9 h 766"/>
                <a:gd name="T94" fmla="*/ 741 w 788"/>
                <a:gd name="T95" fmla="*/ 0 h 76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88"/>
                <a:gd name="T145" fmla="*/ 0 h 766"/>
                <a:gd name="T146" fmla="*/ 788 w 788"/>
                <a:gd name="T147" fmla="*/ 766 h 76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88" h="766">
                  <a:moveTo>
                    <a:pt x="741" y="0"/>
                  </a:moveTo>
                  <a:lnTo>
                    <a:pt x="712" y="42"/>
                  </a:lnTo>
                  <a:lnTo>
                    <a:pt x="672" y="66"/>
                  </a:lnTo>
                  <a:lnTo>
                    <a:pt x="658" y="95"/>
                  </a:lnTo>
                  <a:lnTo>
                    <a:pt x="623" y="97"/>
                  </a:lnTo>
                  <a:lnTo>
                    <a:pt x="623" y="122"/>
                  </a:lnTo>
                  <a:lnTo>
                    <a:pt x="613" y="137"/>
                  </a:lnTo>
                  <a:lnTo>
                    <a:pt x="599" y="172"/>
                  </a:lnTo>
                  <a:lnTo>
                    <a:pt x="514" y="170"/>
                  </a:lnTo>
                  <a:lnTo>
                    <a:pt x="474" y="149"/>
                  </a:lnTo>
                  <a:lnTo>
                    <a:pt x="448" y="167"/>
                  </a:lnTo>
                  <a:lnTo>
                    <a:pt x="399" y="165"/>
                  </a:lnTo>
                  <a:lnTo>
                    <a:pt x="387" y="182"/>
                  </a:lnTo>
                  <a:lnTo>
                    <a:pt x="399" y="182"/>
                  </a:lnTo>
                  <a:lnTo>
                    <a:pt x="406" y="226"/>
                  </a:lnTo>
                  <a:lnTo>
                    <a:pt x="394" y="231"/>
                  </a:lnTo>
                  <a:lnTo>
                    <a:pt x="349" y="203"/>
                  </a:lnTo>
                  <a:lnTo>
                    <a:pt x="349" y="186"/>
                  </a:lnTo>
                  <a:lnTo>
                    <a:pt x="324" y="165"/>
                  </a:lnTo>
                  <a:lnTo>
                    <a:pt x="309" y="165"/>
                  </a:lnTo>
                  <a:lnTo>
                    <a:pt x="309" y="189"/>
                  </a:lnTo>
                  <a:lnTo>
                    <a:pt x="288" y="193"/>
                  </a:lnTo>
                  <a:lnTo>
                    <a:pt x="243" y="219"/>
                  </a:lnTo>
                  <a:lnTo>
                    <a:pt x="215" y="267"/>
                  </a:lnTo>
                  <a:lnTo>
                    <a:pt x="208" y="290"/>
                  </a:lnTo>
                  <a:lnTo>
                    <a:pt x="224" y="295"/>
                  </a:lnTo>
                  <a:lnTo>
                    <a:pt x="227" y="332"/>
                  </a:lnTo>
                  <a:lnTo>
                    <a:pt x="210" y="332"/>
                  </a:lnTo>
                  <a:lnTo>
                    <a:pt x="184" y="309"/>
                  </a:lnTo>
                  <a:lnTo>
                    <a:pt x="170" y="311"/>
                  </a:lnTo>
                  <a:lnTo>
                    <a:pt x="177" y="332"/>
                  </a:lnTo>
                  <a:lnTo>
                    <a:pt x="217" y="377"/>
                  </a:lnTo>
                  <a:lnTo>
                    <a:pt x="191" y="387"/>
                  </a:lnTo>
                  <a:lnTo>
                    <a:pt x="173" y="375"/>
                  </a:lnTo>
                  <a:lnTo>
                    <a:pt x="125" y="375"/>
                  </a:lnTo>
                  <a:lnTo>
                    <a:pt x="85" y="412"/>
                  </a:lnTo>
                  <a:lnTo>
                    <a:pt x="83" y="427"/>
                  </a:lnTo>
                  <a:lnTo>
                    <a:pt x="68" y="409"/>
                  </a:lnTo>
                  <a:lnTo>
                    <a:pt x="47" y="391"/>
                  </a:lnTo>
                  <a:lnTo>
                    <a:pt x="34" y="430"/>
                  </a:lnTo>
                  <a:lnTo>
                    <a:pt x="10" y="451"/>
                  </a:lnTo>
                  <a:lnTo>
                    <a:pt x="0" y="450"/>
                  </a:lnTo>
                  <a:lnTo>
                    <a:pt x="1" y="452"/>
                  </a:lnTo>
                  <a:lnTo>
                    <a:pt x="3" y="488"/>
                  </a:lnTo>
                  <a:lnTo>
                    <a:pt x="31" y="493"/>
                  </a:lnTo>
                  <a:lnTo>
                    <a:pt x="31" y="526"/>
                  </a:lnTo>
                  <a:lnTo>
                    <a:pt x="5" y="537"/>
                  </a:lnTo>
                  <a:lnTo>
                    <a:pt x="10" y="575"/>
                  </a:lnTo>
                  <a:lnTo>
                    <a:pt x="57" y="599"/>
                  </a:lnTo>
                  <a:lnTo>
                    <a:pt x="57" y="625"/>
                  </a:lnTo>
                  <a:lnTo>
                    <a:pt x="36" y="648"/>
                  </a:lnTo>
                  <a:lnTo>
                    <a:pt x="36" y="670"/>
                  </a:lnTo>
                  <a:lnTo>
                    <a:pt x="95" y="670"/>
                  </a:lnTo>
                  <a:lnTo>
                    <a:pt x="149" y="731"/>
                  </a:lnTo>
                  <a:lnTo>
                    <a:pt x="149" y="732"/>
                  </a:lnTo>
                  <a:lnTo>
                    <a:pt x="217" y="710"/>
                  </a:lnTo>
                  <a:lnTo>
                    <a:pt x="302" y="766"/>
                  </a:lnTo>
                  <a:lnTo>
                    <a:pt x="349" y="731"/>
                  </a:lnTo>
                  <a:lnTo>
                    <a:pt x="361" y="707"/>
                  </a:lnTo>
                  <a:lnTo>
                    <a:pt x="427" y="686"/>
                  </a:lnTo>
                  <a:lnTo>
                    <a:pt x="469" y="714"/>
                  </a:lnTo>
                  <a:lnTo>
                    <a:pt x="531" y="670"/>
                  </a:lnTo>
                  <a:lnTo>
                    <a:pt x="601" y="672"/>
                  </a:lnTo>
                  <a:lnTo>
                    <a:pt x="620" y="653"/>
                  </a:lnTo>
                  <a:lnTo>
                    <a:pt x="660" y="651"/>
                  </a:lnTo>
                  <a:lnTo>
                    <a:pt x="661" y="651"/>
                  </a:lnTo>
                  <a:lnTo>
                    <a:pt x="651" y="627"/>
                  </a:lnTo>
                  <a:lnTo>
                    <a:pt x="663" y="613"/>
                  </a:lnTo>
                  <a:lnTo>
                    <a:pt x="658" y="594"/>
                  </a:lnTo>
                  <a:lnTo>
                    <a:pt x="696" y="594"/>
                  </a:lnTo>
                  <a:lnTo>
                    <a:pt x="705" y="582"/>
                  </a:lnTo>
                  <a:lnTo>
                    <a:pt x="741" y="563"/>
                  </a:lnTo>
                  <a:lnTo>
                    <a:pt x="769" y="582"/>
                  </a:lnTo>
                  <a:lnTo>
                    <a:pt x="788" y="570"/>
                  </a:lnTo>
                  <a:lnTo>
                    <a:pt x="743" y="530"/>
                  </a:lnTo>
                  <a:lnTo>
                    <a:pt x="696" y="486"/>
                  </a:lnTo>
                  <a:lnTo>
                    <a:pt x="679" y="481"/>
                  </a:lnTo>
                  <a:lnTo>
                    <a:pt x="677" y="445"/>
                  </a:lnTo>
                  <a:lnTo>
                    <a:pt x="649" y="403"/>
                  </a:lnTo>
                  <a:lnTo>
                    <a:pt x="658" y="342"/>
                  </a:lnTo>
                  <a:lnTo>
                    <a:pt x="672" y="309"/>
                  </a:lnTo>
                  <a:lnTo>
                    <a:pt x="698" y="287"/>
                  </a:lnTo>
                  <a:lnTo>
                    <a:pt x="701" y="255"/>
                  </a:lnTo>
                  <a:lnTo>
                    <a:pt x="736" y="236"/>
                  </a:lnTo>
                  <a:lnTo>
                    <a:pt x="741" y="234"/>
                  </a:lnTo>
                  <a:lnTo>
                    <a:pt x="741" y="183"/>
                  </a:lnTo>
                  <a:lnTo>
                    <a:pt x="778" y="178"/>
                  </a:lnTo>
                  <a:lnTo>
                    <a:pt x="757" y="160"/>
                  </a:lnTo>
                  <a:lnTo>
                    <a:pt x="731" y="152"/>
                  </a:lnTo>
                  <a:lnTo>
                    <a:pt x="718" y="118"/>
                  </a:lnTo>
                  <a:lnTo>
                    <a:pt x="729" y="95"/>
                  </a:lnTo>
                  <a:lnTo>
                    <a:pt x="775" y="45"/>
                  </a:lnTo>
                  <a:lnTo>
                    <a:pt x="768" y="9"/>
                  </a:lnTo>
                  <a:lnTo>
                    <a:pt x="774" y="2"/>
                  </a:lnTo>
                  <a:lnTo>
                    <a:pt x="741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04</a:t>
              </a:r>
            </a:p>
          </p:txBody>
        </p:sp>
        <p:sp>
          <p:nvSpPr>
            <p:cNvPr id="15" name="FR-06">
              <a:extLst>
                <a:ext uri="{FF2B5EF4-FFF2-40B4-BE49-F238E27FC236}">
                  <a16:creationId xmlns:a16="http://schemas.microsoft.com/office/drawing/2014/main" id="{1145F230-A639-4622-89B2-B2611EFC85A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632258" y="5548590"/>
              <a:ext cx="264246" cy="296511"/>
            </a:xfrm>
            <a:custGeom>
              <a:avLst/>
              <a:gdLst>
                <a:gd name="T0" fmla="*/ 111 w 572"/>
                <a:gd name="T1" fmla="*/ 0 h 673"/>
                <a:gd name="T2" fmla="*/ 106 w 572"/>
                <a:gd name="T3" fmla="*/ 2 h 673"/>
                <a:gd name="T4" fmla="*/ 71 w 572"/>
                <a:gd name="T5" fmla="*/ 21 h 673"/>
                <a:gd name="T6" fmla="*/ 68 w 572"/>
                <a:gd name="T7" fmla="*/ 53 h 673"/>
                <a:gd name="T8" fmla="*/ 42 w 572"/>
                <a:gd name="T9" fmla="*/ 75 h 673"/>
                <a:gd name="T10" fmla="*/ 28 w 572"/>
                <a:gd name="T11" fmla="*/ 108 h 673"/>
                <a:gd name="T12" fmla="*/ 19 w 572"/>
                <a:gd name="T13" fmla="*/ 169 h 673"/>
                <a:gd name="T14" fmla="*/ 47 w 572"/>
                <a:gd name="T15" fmla="*/ 211 h 673"/>
                <a:gd name="T16" fmla="*/ 49 w 572"/>
                <a:gd name="T17" fmla="*/ 247 h 673"/>
                <a:gd name="T18" fmla="*/ 66 w 572"/>
                <a:gd name="T19" fmla="*/ 252 h 673"/>
                <a:gd name="T20" fmla="*/ 113 w 572"/>
                <a:gd name="T21" fmla="*/ 296 h 673"/>
                <a:gd name="T22" fmla="*/ 158 w 572"/>
                <a:gd name="T23" fmla="*/ 336 h 673"/>
                <a:gd name="T24" fmla="*/ 139 w 572"/>
                <a:gd name="T25" fmla="*/ 348 h 673"/>
                <a:gd name="T26" fmla="*/ 111 w 572"/>
                <a:gd name="T27" fmla="*/ 329 h 673"/>
                <a:gd name="T28" fmla="*/ 75 w 572"/>
                <a:gd name="T29" fmla="*/ 348 h 673"/>
                <a:gd name="T30" fmla="*/ 66 w 572"/>
                <a:gd name="T31" fmla="*/ 360 h 673"/>
                <a:gd name="T32" fmla="*/ 28 w 572"/>
                <a:gd name="T33" fmla="*/ 360 h 673"/>
                <a:gd name="T34" fmla="*/ 33 w 572"/>
                <a:gd name="T35" fmla="*/ 379 h 673"/>
                <a:gd name="T36" fmla="*/ 21 w 572"/>
                <a:gd name="T37" fmla="*/ 393 h 673"/>
                <a:gd name="T38" fmla="*/ 31 w 572"/>
                <a:gd name="T39" fmla="*/ 417 h 673"/>
                <a:gd name="T40" fmla="*/ 0 w 572"/>
                <a:gd name="T41" fmla="*/ 436 h 673"/>
                <a:gd name="T42" fmla="*/ 11 w 572"/>
                <a:gd name="T43" fmla="*/ 464 h 673"/>
                <a:gd name="T44" fmla="*/ 42 w 572"/>
                <a:gd name="T45" fmla="*/ 466 h 673"/>
                <a:gd name="T46" fmla="*/ 73 w 572"/>
                <a:gd name="T47" fmla="*/ 480 h 673"/>
                <a:gd name="T48" fmla="*/ 78 w 572"/>
                <a:gd name="T49" fmla="*/ 530 h 673"/>
                <a:gd name="T50" fmla="*/ 106 w 572"/>
                <a:gd name="T51" fmla="*/ 558 h 673"/>
                <a:gd name="T52" fmla="*/ 122 w 572"/>
                <a:gd name="T53" fmla="*/ 558 h 673"/>
                <a:gd name="T54" fmla="*/ 153 w 572"/>
                <a:gd name="T55" fmla="*/ 570 h 673"/>
                <a:gd name="T56" fmla="*/ 158 w 572"/>
                <a:gd name="T57" fmla="*/ 596 h 673"/>
                <a:gd name="T58" fmla="*/ 139 w 572"/>
                <a:gd name="T59" fmla="*/ 612 h 673"/>
                <a:gd name="T60" fmla="*/ 153 w 572"/>
                <a:gd name="T61" fmla="*/ 626 h 673"/>
                <a:gd name="T62" fmla="*/ 153 w 572"/>
                <a:gd name="T63" fmla="*/ 643 h 673"/>
                <a:gd name="T64" fmla="*/ 182 w 572"/>
                <a:gd name="T65" fmla="*/ 673 h 673"/>
                <a:gd name="T66" fmla="*/ 184 w 572"/>
                <a:gd name="T67" fmla="*/ 671 h 673"/>
                <a:gd name="T68" fmla="*/ 187 w 572"/>
                <a:gd name="T69" fmla="*/ 611 h 673"/>
                <a:gd name="T70" fmla="*/ 239 w 572"/>
                <a:gd name="T71" fmla="*/ 621 h 673"/>
                <a:gd name="T72" fmla="*/ 257 w 572"/>
                <a:gd name="T73" fmla="*/ 598 h 673"/>
                <a:gd name="T74" fmla="*/ 284 w 572"/>
                <a:gd name="T75" fmla="*/ 603 h 673"/>
                <a:gd name="T76" fmla="*/ 286 w 572"/>
                <a:gd name="T77" fmla="*/ 522 h 673"/>
                <a:gd name="T78" fmla="*/ 346 w 572"/>
                <a:gd name="T79" fmla="*/ 517 h 673"/>
                <a:gd name="T80" fmla="*/ 398 w 572"/>
                <a:gd name="T81" fmla="*/ 470 h 673"/>
                <a:gd name="T82" fmla="*/ 445 w 572"/>
                <a:gd name="T83" fmla="*/ 470 h 673"/>
                <a:gd name="T84" fmla="*/ 447 w 572"/>
                <a:gd name="T85" fmla="*/ 441 h 673"/>
                <a:gd name="T86" fmla="*/ 494 w 572"/>
                <a:gd name="T87" fmla="*/ 413 h 673"/>
                <a:gd name="T88" fmla="*/ 468 w 572"/>
                <a:gd name="T89" fmla="*/ 353 h 673"/>
                <a:gd name="T90" fmla="*/ 507 w 572"/>
                <a:gd name="T91" fmla="*/ 319 h 673"/>
                <a:gd name="T92" fmla="*/ 499 w 572"/>
                <a:gd name="T93" fmla="*/ 280 h 673"/>
                <a:gd name="T94" fmla="*/ 557 w 572"/>
                <a:gd name="T95" fmla="*/ 262 h 673"/>
                <a:gd name="T96" fmla="*/ 572 w 572"/>
                <a:gd name="T97" fmla="*/ 205 h 673"/>
                <a:gd name="T98" fmla="*/ 565 w 572"/>
                <a:gd name="T99" fmla="*/ 166 h 673"/>
                <a:gd name="T100" fmla="*/ 551 w 572"/>
                <a:gd name="T101" fmla="*/ 142 h 673"/>
                <a:gd name="T102" fmla="*/ 541 w 572"/>
                <a:gd name="T103" fmla="*/ 108 h 673"/>
                <a:gd name="T104" fmla="*/ 502 w 572"/>
                <a:gd name="T105" fmla="*/ 111 h 673"/>
                <a:gd name="T106" fmla="*/ 380 w 572"/>
                <a:gd name="T107" fmla="*/ 155 h 673"/>
                <a:gd name="T108" fmla="*/ 341 w 572"/>
                <a:gd name="T109" fmla="*/ 155 h 673"/>
                <a:gd name="T110" fmla="*/ 273 w 572"/>
                <a:gd name="T111" fmla="*/ 101 h 673"/>
                <a:gd name="T112" fmla="*/ 205 w 572"/>
                <a:gd name="T113" fmla="*/ 82 h 673"/>
                <a:gd name="T114" fmla="*/ 166 w 572"/>
                <a:gd name="T115" fmla="*/ 82 h 673"/>
                <a:gd name="T116" fmla="*/ 166 w 572"/>
                <a:gd name="T117" fmla="*/ 35 h 673"/>
                <a:gd name="T118" fmla="*/ 111 w 572"/>
                <a:gd name="T119" fmla="*/ 0 h 67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72"/>
                <a:gd name="T181" fmla="*/ 0 h 673"/>
                <a:gd name="T182" fmla="*/ 572 w 572"/>
                <a:gd name="T183" fmla="*/ 673 h 673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72" h="673">
                  <a:moveTo>
                    <a:pt x="111" y="0"/>
                  </a:moveTo>
                  <a:lnTo>
                    <a:pt x="106" y="2"/>
                  </a:lnTo>
                  <a:lnTo>
                    <a:pt x="71" y="21"/>
                  </a:lnTo>
                  <a:lnTo>
                    <a:pt x="68" y="53"/>
                  </a:lnTo>
                  <a:lnTo>
                    <a:pt x="42" y="75"/>
                  </a:lnTo>
                  <a:lnTo>
                    <a:pt x="28" y="108"/>
                  </a:lnTo>
                  <a:lnTo>
                    <a:pt x="19" y="169"/>
                  </a:lnTo>
                  <a:lnTo>
                    <a:pt x="47" y="211"/>
                  </a:lnTo>
                  <a:lnTo>
                    <a:pt x="49" y="247"/>
                  </a:lnTo>
                  <a:lnTo>
                    <a:pt x="66" y="252"/>
                  </a:lnTo>
                  <a:lnTo>
                    <a:pt x="113" y="296"/>
                  </a:lnTo>
                  <a:lnTo>
                    <a:pt x="158" y="336"/>
                  </a:lnTo>
                  <a:lnTo>
                    <a:pt x="139" y="348"/>
                  </a:lnTo>
                  <a:lnTo>
                    <a:pt x="111" y="329"/>
                  </a:lnTo>
                  <a:lnTo>
                    <a:pt x="75" y="348"/>
                  </a:lnTo>
                  <a:lnTo>
                    <a:pt x="66" y="360"/>
                  </a:lnTo>
                  <a:lnTo>
                    <a:pt x="28" y="360"/>
                  </a:lnTo>
                  <a:lnTo>
                    <a:pt x="33" y="379"/>
                  </a:lnTo>
                  <a:lnTo>
                    <a:pt x="21" y="393"/>
                  </a:lnTo>
                  <a:lnTo>
                    <a:pt x="31" y="417"/>
                  </a:lnTo>
                  <a:lnTo>
                    <a:pt x="0" y="436"/>
                  </a:lnTo>
                  <a:lnTo>
                    <a:pt x="11" y="464"/>
                  </a:lnTo>
                  <a:lnTo>
                    <a:pt x="42" y="466"/>
                  </a:lnTo>
                  <a:lnTo>
                    <a:pt x="73" y="480"/>
                  </a:lnTo>
                  <a:lnTo>
                    <a:pt x="78" y="530"/>
                  </a:lnTo>
                  <a:lnTo>
                    <a:pt x="106" y="558"/>
                  </a:lnTo>
                  <a:lnTo>
                    <a:pt x="122" y="558"/>
                  </a:lnTo>
                  <a:lnTo>
                    <a:pt x="153" y="570"/>
                  </a:lnTo>
                  <a:lnTo>
                    <a:pt x="158" y="596"/>
                  </a:lnTo>
                  <a:lnTo>
                    <a:pt x="139" y="612"/>
                  </a:lnTo>
                  <a:lnTo>
                    <a:pt x="153" y="626"/>
                  </a:lnTo>
                  <a:lnTo>
                    <a:pt x="153" y="643"/>
                  </a:lnTo>
                  <a:lnTo>
                    <a:pt x="182" y="673"/>
                  </a:lnTo>
                  <a:lnTo>
                    <a:pt x="184" y="671"/>
                  </a:lnTo>
                  <a:lnTo>
                    <a:pt x="187" y="611"/>
                  </a:lnTo>
                  <a:lnTo>
                    <a:pt x="239" y="621"/>
                  </a:lnTo>
                  <a:lnTo>
                    <a:pt x="257" y="598"/>
                  </a:lnTo>
                  <a:lnTo>
                    <a:pt x="284" y="603"/>
                  </a:lnTo>
                  <a:lnTo>
                    <a:pt x="286" y="522"/>
                  </a:lnTo>
                  <a:lnTo>
                    <a:pt x="346" y="517"/>
                  </a:lnTo>
                  <a:lnTo>
                    <a:pt x="398" y="470"/>
                  </a:lnTo>
                  <a:lnTo>
                    <a:pt x="445" y="470"/>
                  </a:lnTo>
                  <a:lnTo>
                    <a:pt x="447" y="441"/>
                  </a:lnTo>
                  <a:lnTo>
                    <a:pt x="494" y="413"/>
                  </a:lnTo>
                  <a:lnTo>
                    <a:pt x="468" y="353"/>
                  </a:lnTo>
                  <a:lnTo>
                    <a:pt x="507" y="319"/>
                  </a:lnTo>
                  <a:lnTo>
                    <a:pt x="499" y="280"/>
                  </a:lnTo>
                  <a:lnTo>
                    <a:pt x="557" y="262"/>
                  </a:lnTo>
                  <a:lnTo>
                    <a:pt x="572" y="205"/>
                  </a:lnTo>
                  <a:lnTo>
                    <a:pt x="565" y="166"/>
                  </a:lnTo>
                  <a:lnTo>
                    <a:pt x="551" y="142"/>
                  </a:lnTo>
                  <a:lnTo>
                    <a:pt x="541" y="108"/>
                  </a:lnTo>
                  <a:lnTo>
                    <a:pt x="502" y="111"/>
                  </a:lnTo>
                  <a:lnTo>
                    <a:pt x="380" y="155"/>
                  </a:lnTo>
                  <a:lnTo>
                    <a:pt x="341" y="155"/>
                  </a:lnTo>
                  <a:lnTo>
                    <a:pt x="273" y="101"/>
                  </a:lnTo>
                  <a:lnTo>
                    <a:pt x="205" y="82"/>
                  </a:lnTo>
                  <a:lnTo>
                    <a:pt x="166" y="82"/>
                  </a:lnTo>
                  <a:lnTo>
                    <a:pt x="166" y="35"/>
                  </a:lnTo>
                  <a:lnTo>
                    <a:pt x="111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06</a:t>
              </a:r>
            </a:p>
          </p:txBody>
        </p:sp>
        <p:sp>
          <p:nvSpPr>
            <p:cNvPr id="16" name="FR-05">
              <a:extLst>
                <a:ext uri="{FF2B5EF4-FFF2-40B4-BE49-F238E27FC236}">
                  <a16:creationId xmlns:a16="http://schemas.microsoft.com/office/drawing/2014/main" id="{895F871A-8BEE-4F07-8D3C-488A8508051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319505" y="5297458"/>
              <a:ext cx="403761" cy="329556"/>
            </a:xfrm>
            <a:custGeom>
              <a:avLst/>
              <a:gdLst>
                <a:gd name="T0" fmla="*/ 544 w 874"/>
                <a:gd name="T1" fmla="*/ 11 h 748"/>
                <a:gd name="T2" fmla="*/ 492 w 874"/>
                <a:gd name="T3" fmla="*/ 55 h 748"/>
                <a:gd name="T4" fmla="*/ 469 w 874"/>
                <a:gd name="T5" fmla="*/ 3 h 748"/>
                <a:gd name="T6" fmla="*/ 403 w 874"/>
                <a:gd name="T7" fmla="*/ 24 h 748"/>
                <a:gd name="T8" fmla="*/ 401 w 874"/>
                <a:gd name="T9" fmla="*/ 91 h 748"/>
                <a:gd name="T10" fmla="*/ 466 w 874"/>
                <a:gd name="T11" fmla="*/ 131 h 748"/>
                <a:gd name="T12" fmla="*/ 487 w 874"/>
                <a:gd name="T13" fmla="*/ 198 h 748"/>
                <a:gd name="T14" fmla="*/ 416 w 874"/>
                <a:gd name="T15" fmla="*/ 219 h 748"/>
                <a:gd name="T16" fmla="*/ 323 w 874"/>
                <a:gd name="T17" fmla="*/ 237 h 748"/>
                <a:gd name="T18" fmla="*/ 266 w 874"/>
                <a:gd name="T19" fmla="*/ 253 h 748"/>
                <a:gd name="T20" fmla="*/ 258 w 874"/>
                <a:gd name="T21" fmla="*/ 297 h 748"/>
                <a:gd name="T22" fmla="*/ 193 w 874"/>
                <a:gd name="T23" fmla="*/ 328 h 748"/>
                <a:gd name="T24" fmla="*/ 206 w 874"/>
                <a:gd name="T25" fmla="*/ 357 h 748"/>
                <a:gd name="T26" fmla="*/ 107 w 874"/>
                <a:gd name="T27" fmla="*/ 381 h 748"/>
                <a:gd name="T28" fmla="*/ 88 w 874"/>
                <a:gd name="T29" fmla="*/ 461 h 748"/>
                <a:gd name="T30" fmla="*/ 88 w 874"/>
                <a:gd name="T31" fmla="*/ 518 h 748"/>
                <a:gd name="T32" fmla="*/ 11 w 874"/>
                <a:gd name="T33" fmla="*/ 498 h 748"/>
                <a:gd name="T34" fmla="*/ 31 w 874"/>
                <a:gd name="T35" fmla="*/ 539 h 748"/>
                <a:gd name="T36" fmla="*/ 11 w 874"/>
                <a:gd name="T37" fmla="*/ 604 h 748"/>
                <a:gd name="T38" fmla="*/ 115 w 874"/>
                <a:gd name="T39" fmla="*/ 662 h 748"/>
                <a:gd name="T40" fmla="*/ 132 w 874"/>
                <a:gd name="T41" fmla="*/ 748 h 748"/>
                <a:gd name="T42" fmla="*/ 172 w 874"/>
                <a:gd name="T43" fmla="*/ 711 h 748"/>
                <a:gd name="T44" fmla="*/ 238 w 874"/>
                <a:gd name="T45" fmla="*/ 723 h 748"/>
                <a:gd name="T46" fmla="*/ 224 w 874"/>
                <a:gd name="T47" fmla="*/ 668 h 748"/>
                <a:gd name="T48" fmla="*/ 231 w 874"/>
                <a:gd name="T49" fmla="*/ 645 h 748"/>
                <a:gd name="T50" fmla="*/ 274 w 874"/>
                <a:gd name="T51" fmla="*/ 668 h 748"/>
                <a:gd name="T52" fmla="*/ 255 w 874"/>
                <a:gd name="T53" fmla="*/ 626 h 748"/>
                <a:gd name="T54" fmla="*/ 290 w 874"/>
                <a:gd name="T55" fmla="*/ 555 h 748"/>
                <a:gd name="T56" fmla="*/ 356 w 874"/>
                <a:gd name="T57" fmla="*/ 525 h 748"/>
                <a:gd name="T58" fmla="*/ 371 w 874"/>
                <a:gd name="T59" fmla="*/ 501 h 748"/>
                <a:gd name="T60" fmla="*/ 396 w 874"/>
                <a:gd name="T61" fmla="*/ 539 h 748"/>
                <a:gd name="T62" fmla="*/ 453 w 874"/>
                <a:gd name="T63" fmla="*/ 562 h 748"/>
                <a:gd name="T64" fmla="*/ 434 w 874"/>
                <a:gd name="T65" fmla="*/ 518 h 748"/>
                <a:gd name="T66" fmla="*/ 495 w 874"/>
                <a:gd name="T67" fmla="*/ 503 h 748"/>
                <a:gd name="T68" fmla="*/ 561 w 874"/>
                <a:gd name="T69" fmla="*/ 506 h 748"/>
                <a:gd name="T70" fmla="*/ 660 w 874"/>
                <a:gd name="T71" fmla="*/ 473 h 748"/>
                <a:gd name="T72" fmla="*/ 670 w 874"/>
                <a:gd name="T73" fmla="*/ 433 h 748"/>
                <a:gd name="T74" fmla="*/ 719 w 874"/>
                <a:gd name="T75" fmla="*/ 402 h 748"/>
                <a:gd name="T76" fmla="*/ 788 w 874"/>
                <a:gd name="T77" fmla="*/ 336 h 748"/>
                <a:gd name="T78" fmla="*/ 846 w 874"/>
                <a:gd name="T79" fmla="*/ 311 h 748"/>
                <a:gd name="T80" fmla="*/ 874 w 874"/>
                <a:gd name="T81" fmla="*/ 290 h 748"/>
                <a:gd name="T82" fmla="*/ 830 w 874"/>
                <a:gd name="T83" fmla="*/ 196 h 748"/>
                <a:gd name="T84" fmla="*/ 765 w 874"/>
                <a:gd name="T85" fmla="*/ 191 h 748"/>
                <a:gd name="T86" fmla="*/ 687 w 874"/>
                <a:gd name="T87" fmla="*/ 79 h 748"/>
                <a:gd name="T88" fmla="*/ 635 w 874"/>
                <a:gd name="T89" fmla="*/ 40 h 748"/>
                <a:gd name="T90" fmla="*/ 568 w 874"/>
                <a:gd name="T91" fmla="*/ 0 h 74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874"/>
                <a:gd name="T139" fmla="*/ 0 h 748"/>
                <a:gd name="T140" fmla="*/ 874 w 874"/>
                <a:gd name="T141" fmla="*/ 748 h 748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874" h="748">
                  <a:moveTo>
                    <a:pt x="568" y="0"/>
                  </a:moveTo>
                  <a:lnTo>
                    <a:pt x="544" y="11"/>
                  </a:lnTo>
                  <a:lnTo>
                    <a:pt x="539" y="50"/>
                  </a:lnTo>
                  <a:lnTo>
                    <a:pt x="492" y="55"/>
                  </a:lnTo>
                  <a:lnTo>
                    <a:pt x="484" y="18"/>
                  </a:lnTo>
                  <a:lnTo>
                    <a:pt x="469" y="3"/>
                  </a:lnTo>
                  <a:lnTo>
                    <a:pt x="422" y="8"/>
                  </a:lnTo>
                  <a:lnTo>
                    <a:pt x="403" y="24"/>
                  </a:lnTo>
                  <a:lnTo>
                    <a:pt x="393" y="78"/>
                  </a:lnTo>
                  <a:lnTo>
                    <a:pt x="401" y="91"/>
                  </a:lnTo>
                  <a:lnTo>
                    <a:pt x="456" y="97"/>
                  </a:lnTo>
                  <a:lnTo>
                    <a:pt x="466" y="131"/>
                  </a:lnTo>
                  <a:lnTo>
                    <a:pt x="487" y="141"/>
                  </a:lnTo>
                  <a:lnTo>
                    <a:pt x="487" y="198"/>
                  </a:lnTo>
                  <a:lnTo>
                    <a:pt x="437" y="196"/>
                  </a:lnTo>
                  <a:lnTo>
                    <a:pt x="416" y="219"/>
                  </a:lnTo>
                  <a:lnTo>
                    <a:pt x="357" y="208"/>
                  </a:lnTo>
                  <a:lnTo>
                    <a:pt x="323" y="237"/>
                  </a:lnTo>
                  <a:lnTo>
                    <a:pt x="299" y="227"/>
                  </a:lnTo>
                  <a:lnTo>
                    <a:pt x="266" y="253"/>
                  </a:lnTo>
                  <a:lnTo>
                    <a:pt x="278" y="276"/>
                  </a:lnTo>
                  <a:lnTo>
                    <a:pt x="258" y="297"/>
                  </a:lnTo>
                  <a:lnTo>
                    <a:pt x="193" y="297"/>
                  </a:lnTo>
                  <a:lnTo>
                    <a:pt x="193" y="328"/>
                  </a:lnTo>
                  <a:lnTo>
                    <a:pt x="213" y="339"/>
                  </a:lnTo>
                  <a:lnTo>
                    <a:pt x="206" y="357"/>
                  </a:lnTo>
                  <a:lnTo>
                    <a:pt x="161" y="375"/>
                  </a:lnTo>
                  <a:lnTo>
                    <a:pt x="107" y="381"/>
                  </a:lnTo>
                  <a:lnTo>
                    <a:pt x="91" y="430"/>
                  </a:lnTo>
                  <a:lnTo>
                    <a:pt x="88" y="461"/>
                  </a:lnTo>
                  <a:lnTo>
                    <a:pt x="117" y="485"/>
                  </a:lnTo>
                  <a:lnTo>
                    <a:pt x="88" y="518"/>
                  </a:lnTo>
                  <a:lnTo>
                    <a:pt x="52" y="500"/>
                  </a:lnTo>
                  <a:lnTo>
                    <a:pt x="11" y="498"/>
                  </a:lnTo>
                  <a:lnTo>
                    <a:pt x="5" y="521"/>
                  </a:lnTo>
                  <a:lnTo>
                    <a:pt x="31" y="539"/>
                  </a:lnTo>
                  <a:lnTo>
                    <a:pt x="0" y="560"/>
                  </a:lnTo>
                  <a:lnTo>
                    <a:pt x="11" y="604"/>
                  </a:lnTo>
                  <a:lnTo>
                    <a:pt x="99" y="628"/>
                  </a:lnTo>
                  <a:lnTo>
                    <a:pt x="115" y="662"/>
                  </a:lnTo>
                  <a:lnTo>
                    <a:pt x="141" y="667"/>
                  </a:lnTo>
                  <a:lnTo>
                    <a:pt x="132" y="748"/>
                  </a:lnTo>
                  <a:lnTo>
                    <a:pt x="172" y="711"/>
                  </a:lnTo>
                  <a:lnTo>
                    <a:pt x="220" y="711"/>
                  </a:lnTo>
                  <a:lnTo>
                    <a:pt x="238" y="723"/>
                  </a:lnTo>
                  <a:lnTo>
                    <a:pt x="264" y="713"/>
                  </a:lnTo>
                  <a:lnTo>
                    <a:pt x="224" y="668"/>
                  </a:lnTo>
                  <a:lnTo>
                    <a:pt x="217" y="647"/>
                  </a:lnTo>
                  <a:lnTo>
                    <a:pt x="231" y="645"/>
                  </a:lnTo>
                  <a:lnTo>
                    <a:pt x="257" y="668"/>
                  </a:lnTo>
                  <a:lnTo>
                    <a:pt x="274" y="668"/>
                  </a:lnTo>
                  <a:lnTo>
                    <a:pt x="271" y="631"/>
                  </a:lnTo>
                  <a:lnTo>
                    <a:pt x="255" y="626"/>
                  </a:lnTo>
                  <a:lnTo>
                    <a:pt x="262" y="603"/>
                  </a:lnTo>
                  <a:lnTo>
                    <a:pt x="290" y="555"/>
                  </a:lnTo>
                  <a:lnTo>
                    <a:pt x="335" y="529"/>
                  </a:lnTo>
                  <a:lnTo>
                    <a:pt x="356" y="525"/>
                  </a:lnTo>
                  <a:lnTo>
                    <a:pt x="356" y="501"/>
                  </a:lnTo>
                  <a:lnTo>
                    <a:pt x="371" y="501"/>
                  </a:lnTo>
                  <a:lnTo>
                    <a:pt x="396" y="522"/>
                  </a:lnTo>
                  <a:lnTo>
                    <a:pt x="396" y="539"/>
                  </a:lnTo>
                  <a:lnTo>
                    <a:pt x="441" y="567"/>
                  </a:lnTo>
                  <a:lnTo>
                    <a:pt x="453" y="562"/>
                  </a:lnTo>
                  <a:lnTo>
                    <a:pt x="446" y="518"/>
                  </a:lnTo>
                  <a:lnTo>
                    <a:pt x="434" y="518"/>
                  </a:lnTo>
                  <a:lnTo>
                    <a:pt x="446" y="501"/>
                  </a:lnTo>
                  <a:lnTo>
                    <a:pt x="495" y="503"/>
                  </a:lnTo>
                  <a:lnTo>
                    <a:pt x="521" y="485"/>
                  </a:lnTo>
                  <a:lnTo>
                    <a:pt x="561" y="506"/>
                  </a:lnTo>
                  <a:lnTo>
                    <a:pt x="646" y="508"/>
                  </a:lnTo>
                  <a:lnTo>
                    <a:pt x="660" y="473"/>
                  </a:lnTo>
                  <a:lnTo>
                    <a:pt x="670" y="458"/>
                  </a:lnTo>
                  <a:lnTo>
                    <a:pt x="670" y="433"/>
                  </a:lnTo>
                  <a:lnTo>
                    <a:pt x="705" y="431"/>
                  </a:lnTo>
                  <a:lnTo>
                    <a:pt x="719" y="402"/>
                  </a:lnTo>
                  <a:lnTo>
                    <a:pt x="759" y="378"/>
                  </a:lnTo>
                  <a:lnTo>
                    <a:pt x="788" y="336"/>
                  </a:lnTo>
                  <a:lnTo>
                    <a:pt x="821" y="338"/>
                  </a:lnTo>
                  <a:lnTo>
                    <a:pt x="846" y="311"/>
                  </a:lnTo>
                  <a:lnTo>
                    <a:pt x="874" y="313"/>
                  </a:lnTo>
                  <a:lnTo>
                    <a:pt x="874" y="290"/>
                  </a:lnTo>
                  <a:lnTo>
                    <a:pt x="838" y="272"/>
                  </a:lnTo>
                  <a:lnTo>
                    <a:pt x="830" y="196"/>
                  </a:lnTo>
                  <a:lnTo>
                    <a:pt x="801" y="186"/>
                  </a:lnTo>
                  <a:lnTo>
                    <a:pt x="765" y="191"/>
                  </a:lnTo>
                  <a:lnTo>
                    <a:pt x="697" y="157"/>
                  </a:lnTo>
                  <a:lnTo>
                    <a:pt x="687" y="79"/>
                  </a:lnTo>
                  <a:lnTo>
                    <a:pt x="648" y="66"/>
                  </a:lnTo>
                  <a:lnTo>
                    <a:pt x="635" y="40"/>
                  </a:lnTo>
                  <a:lnTo>
                    <a:pt x="618" y="3"/>
                  </a:lnTo>
                  <a:lnTo>
                    <a:pt x="56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05</a:t>
              </a:r>
            </a:p>
          </p:txBody>
        </p:sp>
        <p:sp>
          <p:nvSpPr>
            <p:cNvPr id="17" name="FR-48">
              <a:extLst>
                <a:ext uri="{FF2B5EF4-FFF2-40B4-BE49-F238E27FC236}">
                  <a16:creationId xmlns:a16="http://schemas.microsoft.com/office/drawing/2014/main" id="{47F9EBC2-9BB6-4EDE-8A06-353A87EADFC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703238" y="5374560"/>
              <a:ext cx="255469" cy="286819"/>
            </a:xfrm>
            <a:custGeom>
              <a:avLst/>
              <a:gdLst>
                <a:gd name="T0" fmla="*/ 214 w 553"/>
                <a:gd name="T1" fmla="*/ 0 h 651"/>
                <a:gd name="T2" fmla="*/ 141 w 553"/>
                <a:gd name="T3" fmla="*/ 26 h 651"/>
                <a:gd name="T4" fmla="*/ 120 w 553"/>
                <a:gd name="T5" fmla="*/ 73 h 651"/>
                <a:gd name="T6" fmla="*/ 74 w 553"/>
                <a:gd name="T7" fmla="*/ 41 h 651"/>
                <a:gd name="T8" fmla="*/ 37 w 553"/>
                <a:gd name="T9" fmla="*/ 156 h 651"/>
                <a:gd name="T10" fmla="*/ 0 w 553"/>
                <a:gd name="T11" fmla="*/ 242 h 651"/>
                <a:gd name="T12" fmla="*/ 54 w 553"/>
                <a:gd name="T13" fmla="*/ 309 h 651"/>
                <a:gd name="T14" fmla="*/ 50 w 553"/>
                <a:gd name="T15" fmla="*/ 361 h 651"/>
                <a:gd name="T16" fmla="*/ 87 w 553"/>
                <a:gd name="T17" fmla="*/ 387 h 651"/>
                <a:gd name="T18" fmla="*/ 87 w 553"/>
                <a:gd name="T19" fmla="*/ 449 h 651"/>
                <a:gd name="T20" fmla="*/ 98 w 553"/>
                <a:gd name="T21" fmla="*/ 538 h 651"/>
                <a:gd name="T22" fmla="*/ 142 w 553"/>
                <a:gd name="T23" fmla="*/ 556 h 651"/>
                <a:gd name="T24" fmla="*/ 139 w 553"/>
                <a:gd name="T25" fmla="*/ 586 h 651"/>
                <a:gd name="T26" fmla="*/ 201 w 553"/>
                <a:gd name="T27" fmla="*/ 575 h 651"/>
                <a:gd name="T28" fmla="*/ 223 w 553"/>
                <a:gd name="T29" fmla="*/ 586 h 651"/>
                <a:gd name="T30" fmla="*/ 210 w 553"/>
                <a:gd name="T31" fmla="*/ 598 h 651"/>
                <a:gd name="T32" fmla="*/ 290 w 553"/>
                <a:gd name="T33" fmla="*/ 651 h 651"/>
                <a:gd name="T34" fmla="*/ 359 w 553"/>
                <a:gd name="T35" fmla="*/ 637 h 651"/>
                <a:gd name="T36" fmla="*/ 370 w 553"/>
                <a:gd name="T37" fmla="*/ 621 h 651"/>
                <a:gd name="T38" fmla="*/ 361 w 553"/>
                <a:gd name="T39" fmla="*/ 597 h 651"/>
                <a:gd name="T40" fmla="*/ 389 w 553"/>
                <a:gd name="T41" fmla="*/ 590 h 651"/>
                <a:gd name="T42" fmla="*/ 429 w 553"/>
                <a:gd name="T43" fmla="*/ 628 h 651"/>
                <a:gd name="T44" fmla="*/ 497 w 553"/>
                <a:gd name="T45" fmla="*/ 635 h 651"/>
                <a:gd name="T46" fmla="*/ 528 w 553"/>
                <a:gd name="T47" fmla="*/ 588 h 651"/>
                <a:gd name="T48" fmla="*/ 528 w 553"/>
                <a:gd name="T49" fmla="*/ 548 h 651"/>
                <a:gd name="T50" fmla="*/ 547 w 553"/>
                <a:gd name="T51" fmla="*/ 526 h 651"/>
                <a:gd name="T52" fmla="*/ 530 w 553"/>
                <a:gd name="T53" fmla="*/ 522 h 651"/>
                <a:gd name="T54" fmla="*/ 530 w 553"/>
                <a:gd name="T55" fmla="*/ 468 h 651"/>
                <a:gd name="T56" fmla="*/ 493 w 553"/>
                <a:gd name="T57" fmla="*/ 428 h 651"/>
                <a:gd name="T58" fmla="*/ 524 w 553"/>
                <a:gd name="T59" fmla="*/ 423 h 651"/>
                <a:gd name="T60" fmla="*/ 540 w 553"/>
                <a:gd name="T61" fmla="*/ 408 h 651"/>
                <a:gd name="T62" fmla="*/ 553 w 553"/>
                <a:gd name="T63" fmla="*/ 383 h 651"/>
                <a:gd name="T64" fmla="*/ 540 w 553"/>
                <a:gd name="T65" fmla="*/ 376 h 651"/>
                <a:gd name="T66" fmla="*/ 547 w 553"/>
                <a:gd name="T67" fmla="*/ 321 h 651"/>
                <a:gd name="T68" fmla="*/ 503 w 553"/>
                <a:gd name="T69" fmla="*/ 273 h 651"/>
                <a:gd name="T70" fmla="*/ 485 w 553"/>
                <a:gd name="T71" fmla="*/ 177 h 651"/>
                <a:gd name="T72" fmla="*/ 419 w 553"/>
                <a:gd name="T73" fmla="*/ 92 h 651"/>
                <a:gd name="T74" fmla="*/ 370 w 553"/>
                <a:gd name="T75" fmla="*/ 104 h 651"/>
                <a:gd name="T76" fmla="*/ 360 w 553"/>
                <a:gd name="T77" fmla="*/ 68 h 651"/>
                <a:gd name="T78" fmla="*/ 334 w 553"/>
                <a:gd name="T79" fmla="*/ 68 h 651"/>
                <a:gd name="T80" fmla="*/ 329 w 553"/>
                <a:gd name="T81" fmla="*/ 99 h 651"/>
                <a:gd name="T82" fmla="*/ 261 w 553"/>
                <a:gd name="T83" fmla="*/ 120 h 651"/>
                <a:gd name="T84" fmla="*/ 214 w 553"/>
                <a:gd name="T85" fmla="*/ 0 h 65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53"/>
                <a:gd name="T130" fmla="*/ 0 h 651"/>
                <a:gd name="T131" fmla="*/ 553 w 553"/>
                <a:gd name="T132" fmla="*/ 651 h 65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53" h="651">
                  <a:moveTo>
                    <a:pt x="214" y="0"/>
                  </a:moveTo>
                  <a:lnTo>
                    <a:pt x="141" y="26"/>
                  </a:lnTo>
                  <a:lnTo>
                    <a:pt x="120" y="73"/>
                  </a:lnTo>
                  <a:lnTo>
                    <a:pt x="74" y="41"/>
                  </a:lnTo>
                  <a:lnTo>
                    <a:pt x="37" y="156"/>
                  </a:lnTo>
                  <a:lnTo>
                    <a:pt x="0" y="242"/>
                  </a:lnTo>
                  <a:lnTo>
                    <a:pt x="54" y="309"/>
                  </a:lnTo>
                  <a:lnTo>
                    <a:pt x="50" y="361"/>
                  </a:lnTo>
                  <a:lnTo>
                    <a:pt x="87" y="387"/>
                  </a:lnTo>
                  <a:lnTo>
                    <a:pt x="87" y="449"/>
                  </a:lnTo>
                  <a:lnTo>
                    <a:pt x="98" y="538"/>
                  </a:lnTo>
                  <a:lnTo>
                    <a:pt x="142" y="556"/>
                  </a:lnTo>
                  <a:lnTo>
                    <a:pt x="139" y="586"/>
                  </a:lnTo>
                  <a:lnTo>
                    <a:pt x="201" y="575"/>
                  </a:lnTo>
                  <a:lnTo>
                    <a:pt x="223" y="586"/>
                  </a:lnTo>
                  <a:lnTo>
                    <a:pt x="210" y="598"/>
                  </a:lnTo>
                  <a:lnTo>
                    <a:pt x="290" y="651"/>
                  </a:lnTo>
                  <a:lnTo>
                    <a:pt x="359" y="637"/>
                  </a:lnTo>
                  <a:lnTo>
                    <a:pt x="370" y="621"/>
                  </a:lnTo>
                  <a:lnTo>
                    <a:pt x="361" y="597"/>
                  </a:lnTo>
                  <a:lnTo>
                    <a:pt x="389" y="590"/>
                  </a:lnTo>
                  <a:lnTo>
                    <a:pt x="429" y="628"/>
                  </a:lnTo>
                  <a:lnTo>
                    <a:pt x="497" y="635"/>
                  </a:lnTo>
                  <a:lnTo>
                    <a:pt x="528" y="588"/>
                  </a:lnTo>
                  <a:lnTo>
                    <a:pt x="528" y="548"/>
                  </a:lnTo>
                  <a:lnTo>
                    <a:pt x="547" y="526"/>
                  </a:lnTo>
                  <a:lnTo>
                    <a:pt x="530" y="522"/>
                  </a:lnTo>
                  <a:lnTo>
                    <a:pt x="530" y="468"/>
                  </a:lnTo>
                  <a:lnTo>
                    <a:pt x="493" y="428"/>
                  </a:lnTo>
                  <a:lnTo>
                    <a:pt x="524" y="423"/>
                  </a:lnTo>
                  <a:lnTo>
                    <a:pt x="540" y="408"/>
                  </a:lnTo>
                  <a:lnTo>
                    <a:pt x="553" y="383"/>
                  </a:lnTo>
                  <a:lnTo>
                    <a:pt x="540" y="376"/>
                  </a:lnTo>
                  <a:lnTo>
                    <a:pt x="547" y="321"/>
                  </a:lnTo>
                  <a:lnTo>
                    <a:pt x="503" y="273"/>
                  </a:lnTo>
                  <a:lnTo>
                    <a:pt x="485" y="177"/>
                  </a:lnTo>
                  <a:lnTo>
                    <a:pt x="419" y="92"/>
                  </a:lnTo>
                  <a:lnTo>
                    <a:pt x="370" y="104"/>
                  </a:lnTo>
                  <a:lnTo>
                    <a:pt x="360" y="68"/>
                  </a:lnTo>
                  <a:lnTo>
                    <a:pt x="334" y="68"/>
                  </a:lnTo>
                  <a:lnTo>
                    <a:pt x="329" y="99"/>
                  </a:lnTo>
                  <a:lnTo>
                    <a:pt x="261" y="120"/>
                  </a:lnTo>
                  <a:lnTo>
                    <a:pt x="214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48</a:t>
              </a:r>
            </a:p>
          </p:txBody>
        </p:sp>
        <p:sp>
          <p:nvSpPr>
            <p:cNvPr id="18" name="FR-03">
              <a:extLst>
                <a:ext uri="{FF2B5EF4-FFF2-40B4-BE49-F238E27FC236}">
                  <a16:creationId xmlns:a16="http://schemas.microsoft.com/office/drawing/2014/main" id="{5E3944BE-6CC6-490F-B087-D202B5242FF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525841" y="4761710"/>
              <a:ext cx="417159" cy="281091"/>
            </a:xfrm>
            <a:custGeom>
              <a:avLst/>
              <a:gdLst>
                <a:gd name="T0" fmla="*/ 306 w 903"/>
                <a:gd name="T1" fmla="*/ 47 h 638"/>
                <a:gd name="T2" fmla="*/ 262 w 903"/>
                <a:gd name="T3" fmla="*/ 73 h 638"/>
                <a:gd name="T4" fmla="*/ 166 w 903"/>
                <a:gd name="T5" fmla="*/ 115 h 638"/>
                <a:gd name="T6" fmla="*/ 179 w 903"/>
                <a:gd name="T7" fmla="*/ 167 h 638"/>
                <a:gd name="T8" fmla="*/ 145 w 903"/>
                <a:gd name="T9" fmla="*/ 216 h 638"/>
                <a:gd name="T10" fmla="*/ 46 w 903"/>
                <a:gd name="T11" fmla="*/ 219 h 638"/>
                <a:gd name="T12" fmla="*/ 0 w 903"/>
                <a:gd name="T13" fmla="*/ 284 h 638"/>
                <a:gd name="T14" fmla="*/ 33 w 903"/>
                <a:gd name="T15" fmla="*/ 328 h 638"/>
                <a:gd name="T16" fmla="*/ 51 w 903"/>
                <a:gd name="T17" fmla="*/ 383 h 638"/>
                <a:gd name="T18" fmla="*/ 90 w 903"/>
                <a:gd name="T19" fmla="*/ 396 h 638"/>
                <a:gd name="T20" fmla="*/ 148 w 903"/>
                <a:gd name="T21" fmla="*/ 474 h 638"/>
                <a:gd name="T22" fmla="*/ 189 w 903"/>
                <a:gd name="T23" fmla="*/ 524 h 638"/>
                <a:gd name="T24" fmla="*/ 226 w 903"/>
                <a:gd name="T25" fmla="*/ 475 h 638"/>
                <a:gd name="T26" fmla="*/ 243 w 903"/>
                <a:gd name="T27" fmla="*/ 449 h 638"/>
                <a:gd name="T28" fmla="*/ 274 w 903"/>
                <a:gd name="T29" fmla="*/ 461 h 638"/>
                <a:gd name="T30" fmla="*/ 349 w 903"/>
                <a:gd name="T31" fmla="*/ 421 h 638"/>
                <a:gd name="T32" fmla="*/ 337 w 903"/>
                <a:gd name="T33" fmla="*/ 461 h 638"/>
                <a:gd name="T34" fmla="*/ 370 w 903"/>
                <a:gd name="T35" fmla="*/ 510 h 638"/>
                <a:gd name="T36" fmla="*/ 516 w 903"/>
                <a:gd name="T37" fmla="*/ 560 h 638"/>
                <a:gd name="T38" fmla="*/ 575 w 903"/>
                <a:gd name="T39" fmla="*/ 564 h 638"/>
                <a:gd name="T40" fmla="*/ 629 w 903"/>
                <a:gd name="T41" fmla="*/ 557 h 638"/>
                <a:gd name="T42" fmla="*/ 665 w 903"/>
                <a:gd name="T43" fmla="*/ 597 h 638"/>
                <a:gd name="T44" fmla="*/ 716 w 903"/>
                <a:gd name="T45" fmla="*/ 624 h 638"/>
                <a:gd name="T46" fmla="*/ 754 w 903"/>
                <a:gd name="T47" fmla="*/ 625 h 638"/>
                <a:gd name="T48" fmla="*/ 812 w 903"/>
                <a:gd name="T49" fmla="*/ 474 h 638"/>
                <a:gd name="T50" fmla="*/ 801 w 903"/>
                <a:gd name="T51" fmla="*/ 409 h 638"/>
                <a:gd name="T52" fmla="*/ 846 w 903"/>
                <a:gd name="T53" fmla="*/ 399 h 638"/>
                <a:gd name="T54" fmla="*/ 903 w 903"/>
                <a:gd name="T55" fmla="*/ 255 h 638"/>
                <a:gd name="T56" fmla="*/ 843 w 903"/>
                <a:gd name="T57" fmla="*/ 229 h 638"/>
                <a:gd name="T58" fmla="*/ 783 w 903"/>
                <a:gd name="T59" fmla="*/ 209 h 638"/>
                <a:gd name="T60" fmla="*/ 770 w 903"/>
                <a:gd name="T61" fmla="*/ 154 h 638"/>
                <a:gd name="T62" fmla="*/ 692 w 903"/>
                <a:gd name="T63" fmla="*/ 37 h 638"/>
                <a:gd name="T64" fmla="*/ 621 w 903"/>
                <a:gd name="T65" fmla="*/ 109 h 638"/>
                <a:gd name="T66" fmla="*/ 590 w 903"/>
                <a:gd name="T67" fmla="*/ 65 h 638"/>
                <a:gd name="T68" fmla="*/ 541 w 903"/>
                <a:gd name="T69" fmla="*/ 86 h 638"/>
                <a:gd name="T70" fmla="*/ 509 w 903"/>
                <a:gd name="T71" fmla="*/ 78 h 638"/>
                <a:gd name="T72" fmla="*/ 450 w 903"/>
                <a:gd name="T73" fmla="*/ 60 h 638"/>
                <a:gd name="T74" fmla="*/ 403 w 903"/>
                <a:gd name="T75" fmla="*/ 5 h 63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903"/>
                <a:gd name="T115" fmla="*/ 0 h 638"/>
                <a:gd name="T116" fmla="*/ 903 w 903"/>
                <a:gd name="T117" fmla="*/ 638 h 63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903" h="638">
                  <a:moveTo>
                    <a:pt x="343" y="0"/>
                  </a:moveTo>
                  <a:lnTo>
                    <a:pt x="306" y="47"/>
                  </a:lnTo>
                  <a:lnTo>
                    <a:pt x="286" y="49"/>
                  </a:lnTo>
                  <a:lnTo>
                    <a:pt x="262" y="73"/>
                  </a:lnTo>
                  <a:lnTo>
                    <a:pt x="236" y="44"/>
                  </a:lnTo>
                  <a:lnTo>
                    <a:pt x="166" y="115"/>
                  </a:lnTo>
                  <a:lnTo>
                    <a:pt x="166" y="157"/>
                  </a:lnTo>
                  <a:lnTo>
                    <a:pt x="179" y="167"/>
                  </a:lnTo>
                  <a:lnTo>
                    <a:pt x="181" y="188"/>
                  </a:lnTo>
                  <a:lnTo>
                    <a:pt x="145" y="216"/>
                  </a:lnTo>
                  <a:lnTo>
                    <a:pt x="111" y="206"/>
                  </a:lnTo>
                  <a:lnTo>
                    <a:pt x="46" y="219"/>
                  </a:lnTo>
                  <a:lnTo>
                    <a:pt x="12" y="258"/>
                  </a:lnTo>
                  <a:lnTo>
                    <a:pt x="0" y="284"/>
                  </a:lnTo>
                  <a:lnTo>
                    <a:pt x="2" y="284"/>
                  </a:lnTo>
                  <a:lnTo>
                    <a:pt x="33" y="328"/>
                  </a:lnTo>
                  <a:lnTo>
                    <a:pt x="33" y="359"/>
                  </a:lnTo>
                  <a:lnTo>
                    <a:pt x="51" y="383"/>
                  </a:lnTo>
                  <a:lnTo>
                    <a:pt x="69" y="359"/>
                  </a:lnTo>
                  <a:lnTo>
                    <a:pt x="90" y="396"/>
                  </a:lnTo>
                  <a:lnTo>
                    <a:pt x="119" y="407"/>
                  </a:lnTo>
                  <a:lnTo>
                    <a:pt x="148" y="474"/>
                  </a:lnTo>
                  <a:lnTo>
                    <a:pt x="149" y="494"/>
                  </a:lnTo>
                  <a:lnTo>
                    <a:pt x="189" y="524"/>
                  </a:lnTo>
                  <a:lnTo>
                    <a:pt x="210" y="515"/>
                  </a:lnTo>
                  <a:lnTo>
                    <a:pt x="226" y="475"/>
                  </a:lnTo>
                  <a:lnTo>
                    <a:pt x="243" y="470"/>
                  </a:lnTo>
                  <a:lnTo>
                    <a:pt x="243" y="449"/>
                  </a:lnTo>
                  <a:lnTo>
                    <a:pt x="271" y="447"/>
                  </a:lnTo>
                  <a:lnTo>
                    <a:pt x="274" y="461"/>
                  </a:lnTo>
                  <a:lnTo>
                    <a:pt x="309" y="421"/>
                  </a:lnTo>
                  <a:lnTo>
                    <a:pt x="349" y="421"/>
                  </a:lnTo>
                  <a:lnTo>
                    <a:pt x="356" y="435"/>
                  </a:lnTo>
                  <a:lnTo>
                    <a:pt x="337" y="461"/>
                  </a:lnTo>
                  <a:lnTo>
                    <a:pt x="365" y="492"/>
                  </a:lnTo>
                  <a:lnTo>
                    <a:pt x="370" y="510"/>
                  </a:lnTo>
                  <a:lnTo>
                    <a:pt x="436" y="548"/>
                  </a:lnTo>
                  <a:lnTo>
                    <a:pt x="516" y="560"/>
                  </a:lnTo>
                  <a:lnTo>
                    <a:pt x="540" y="557"/>
                  </a:lnTo>
                  <a:lnTo>
                    <a:pt x="575" y="564"/>
                  </a:lnTo>
                  <a:lnTo>
                    <a:pt x="606" y="546"/>
                  </a:lnTo>
                  <a:lnTo>
                    <a:pt x="629" y="557"/>
                  </a:lnTo>
                  <a:lnTo>
                    <a:pt x="634" y="590"/>
                  </a:lnTo>
                  <a:lnTo>
                    <a:pt x="665" y="597"/>
                  </a:lnTo>
                  <a:lnTo>
                    <a:pt x="705" y="595"/>
                  </a:lnTo>
                  <a:lnTo>
                    <a:pt x="716" y="624"/>
                  </a:lnTo>
                  <a:lnTo>
                    <a:pt x="753" y="638"/>
                  </a:lnTo>
                  <a:lnTo>
                    <a:pt x="754" y="625"/>
                  </a:lnTo>
                  <a:lnTo>
                    <a:pt x="817" y="622"/>
                  </a:lnTo>
                  <a:lnTo>
                    <a:pt x="812" y="474"/>
                  </a:lnTo>
                  <a:lnTo>
                    <a:pt x="794" y="438"/>
                  </a:lnTo>
                  <a:lnTo>
                    <a:pt x="801" y="409"/>
                  </a:lnTo>
                  <a:lnTo>
                    <a:pt x="844" y="402"/>
                  </a:lnTo>
                  <a:lnTo>
                    <a:pt x="846" y="399"/>
                  </a:lnTo>
                  <a:lnTo>
                    <a:pt x="900" y="357"/>
                  </a:lnTo>
                  <a:lnTo>
                    <a:pt x="903" y="255"/>
                  </a:lnTo>
                  <a:lnTo>
                    <a:pt x="884" y="229"/>
                  </a:lnTo>
                  <a:lnTo>
                    <a:pt x="843" y="229"/>
                  </a:lnTo>
                  <a:lnTo>
                    <a:pt x="827" y="209"/>
                  </a:lnTo>
                  <a:lnTo>
                    <a:pt x="783" y="209"/>
                  </a:lnTo>
                  <a:lnTo>
                    <a:pt x="770" y="193"/>
                  </a:lnTo>
                  <a:lnTo>
                    <a:pt x="770" y="154"/>
                  </a:lnTo>
                  <a:lnTo>
                    <a:pt x="718" y="55"/>
                  </a:lnTo>
                  <a:lnTo>
                    <a:pt x="692" y="37"/>
                  </a:lnTo>
                  <a:lnTo>
                    <a:pt x="642" y="104"/>
                  </a:lnTo>
                  <a:lnTo>
                    <a:pt x="621" y="109"/>
                  </a:lnTo>
                  <a:lnTo>
                    <a:pt x="614" y="76"/>
                  </a:lnTo>
                  <a:lnTo>
                    <a:pt x="590" y="65"/>
                  </a:lnTo>
                  <a:lnTo>
                    <a:pt x="580" y="86"/>
                  </a:lnTo>
                  <a:lnTo>
                    <a:pt x="541" y="86"/>
                  </a:lnTo>
                  <a:lnTo>
                    <a:pt x="536" y="63"/>
                  </a:lnTo>
                  <a:lnTo>
                    <a:pt x="509" y="78"/>
                  </a:lnTo>
                  <a:lnTo>
                    <a:pt x="481" y="94"/>
                  </a:lnTo>
                  <a:lnTo>
                    <a:pt x="450" y="60"/>
                  </a:lnTo>
                  <a:lnTo>
                    <a:pt x="405" y="39"/>
                  </a:lnTo>
                  <a:lnTo>
                    <a:pt x="403" y="5"/>
                  </a:lnTo>
                  <a:lnTo>
                    <a:pt x="343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03</a:t>
              </a:r>
            </a:p>
          </p:txBody>
        </p:sp>
        <p:sp>
          <p:nvSpPr>
            <p:cNvPr id="19" name="FR-30">
              <a:extLst>
                <a:ext uri="{FF2B5EF4-FFF2-40B4-BE49-F238E27FC236}">
                  <a16:creationId xmlns:a16="http://schemas.microsoft.com/office/drawing/2014/main" id="{4B1606B8-0F4A-4B17-98F5-B4C099878F1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779463" y="5543303"/>
              <a:ext cx="399604" cy="329556"/>
            </a:xfrm>
            <a:custGeom>
              <a:avLst/>
              <a:gdLst>
                <a:gd name="T0" fmla="*/ 375 w 865"/>
                <a:gd name="T1" fmla="*/ 25 h 748"/>
                <a:gd name="T2" fmla="*/ 328 w 865"/>
                <a:gd name="T3" fmla="*/ 45 h 748"/>
                <a:gd name="T4" fmla="*/ 365 w 865"/>
                <a:gd name="T5" fmla="*/ 139 h 748"/>
                <a:gd name="T6" fmla="*/ 363 w 865"/>
                <a:gd name="T7" fmla="*/ 165 h 748"/>
                <a:gd name="T8" fmla="*/ 332 w 865"/>
                <a:gd name="T9" fmla="*/ 252 h 748"/>
                <a:gd name="T10" fmla="*/ 224 w 865"/>
                <a:gd name="T11" fmla="*/ 207 h 748"/>
                <a:gd name="T12" fmla="*/ 205 w 865"/>
                <a:gd name="T13" fmla="*/ 238 h 748"/>
                <a:gd name="T14" fmla="*/ 125 w 865"/>
                <a:gd name="T15" fmla="*/ 268 h 748"/>
                <a:gd name="T16" fmla="*/ 29 w 865"/>
                <a:gd name="T17" fmla="*/ 228 h 748"/>
                <a:gd name="T18" fmla="*/ 0 w 865"/>
                <a:gd name="T19" fmla="*/ 273 h 748"/>
                <a:gd name="T20" fmla="*/ 44 w 865"/>
                <a:gd name="T21" fmla="*/ 310 h 748"/>
                <a:gd name="T22" fmla="*/ 95 w 865"/>
                <a:gd name="T23" fmla="*/ 361 h 748"/>
                <a:gd name="T24" fmla="*/ 47 w 865"/>
                <a:gd name="T25" fmla="*/ 406 h 748"/>
                <a:gd name="T26" fmla="*/ 85 w 865"/>
                <a:gd name="T27" fmla="*/ 440 h 748"/>
                <a:gd name="T28" fmla="*/ 116 w 865"/>
                <a:gd name="T29" fmla="*/ 438 h 748"/>
                <a:gd name="T30" fmla="*/ 144 w 865"/>
                <a:gd name="T31" fmla="*/ 459 h 748"/>
                <a:gd name="T32" fmla="*/ 187 w 865"/>
                <a:gd name="T33" fmla="*/ 410 h 748"/>
                <a:gd name="T34" fmla="*/ 245 w 865"/>
                <a:gd name="T35" fmla="*/ 365 h 748"/>
                <a:gd name="T36" fmla="*/ 295 w 865"/>
                <a:gd name="T37" fmla="*/ 431 h 748"/>
                <a:gd name="T38" fmla="*/ 337 w 865"/>
                <a:gd name="T39" fmla="*/ 436 h 748"/>
                <a:gd name="T40" fmla="*/ 399 w 865"/>
                <a:gd name="T41" fmla="*/ 488 h 748"/>
                <a:gd name="T42" fmla="*/ 505 w 865"/>
                <a:gd name="T43" fmla="*/ 601 h 748"/>
                <a:gd name="T44" fmla="*/ 455 w 865"/>
                <a:gd name="T45" fmla="*/ 664 h 748"/>
                <a:gd name="T46" fmla="*/ 463 w 865"/>
                <a:gd name="T47" fmla="*/ 696 h 748"/>
                <a:gd name="T48" fmla="*/ 522 w 865"/>
                <a:gd name="T49" fmla="*/ 745 h 748"/>
                <a:gd name="T50" fmla="*/ 578 w 865"/>
                <a:gd name="T51" fmla="*/ 693 h 748"/>
                <a:gd name="T52" fmla="*/ 644 w 865"/>
                <a:gd name="T53" fmla="*/ 615 h 748"/>
                <a:gd name="T54" fmla="*/ 743 w 865"/>
                <a:gd name="T55" fmla="*/ 567 h 748"/>
                <a:gd name="T56" fmla="*/ 865 w 865"/>
                <a:gd name="T57" fmla="*/ 368 h 748"/>
                <a:gd name="T58" fmla="*/ 787 w 865"/>
                <a:gd name="T59" fmla="*/ 258 h 748"/>
                <a:gd name="T60" fmla="*/ 743 w 865"/>
                <a:gd name="T61" fmla="*/ 125 h 748"/>
                <a:gd name="T62" fmla="*/ 644 w 865"/>
                <a:gd name="T63" fmla="*/ 114 h 748"/>
                <a:gd name="T64" fmla="*/ 596 w 865"/>
                <a:gd name="T65" fmla="*/ 78 h 748"/>
                <a:gd name="T66" fmla="*/ 552 w 865"/>
                <a:gd name="T67" fmla="*/ 136 h 748"/>
                <a:gd name="T68" fmla="*/ 460 w 865"/>
                <a:gd name="T69" fmla="*/ 85 h 748"/>
                <a:gd name="T70" fmla="*/ 430 w 865"/>
                <a:gd name="T71" fmla="*/ 26 h 74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865"/>
                <a:gd name="T109" fmla="*/ 0 h 748"/>
                <a:gd name="T110" fmla="*/ 865 w 865"/>
                <a:gd name="T111" fmla="*/ 748 h 74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865" h="748">
                  <a:moveTo>
                    <a:pt x="388" y="0"/>
                  </a:moveTo>
                  <a:lnTo>
                    <a:pt x="375" y="25"/>
                  </a:lnTo>
                  <a:lnTo>
                    <a:pt x="359" y="40"/>
                  </a:lnTo>
                  <a:lnTo>
                    <a:pt x="328" y="45"/>
                  </a:lnTo>
                  <a:lnTo>
                    <a:pt x="365" y="85"/>
                  </a:lnTo>
                  <a:lnTo>
                    <a:pt x="365" y="139"/>
                  </a:lnTo>
                  <a:lnTo>
                    <a:pt x="382" y="143"/>
                  </a:lnTo>
                  <a:lnTo>
                    <a:pt x="363" y="165"/>
                  </a:lnTo>
                  <a:lnTo>
                    <a:pt x="363" y="205"/>
                  </a:lnTo>
                  <a:lnTo>
                    <a:pt x="332" y="252"/>
                  </a:lnTo>
                  <a:lnTo>
                    <a:pt x="264" y="245"/>
                  </a:lnTo>
                  <a:lnTo>
                    <a:pt x="224" y="207"/>
                  </a:lnTo>
                  <a:lnTo>
                    <a:pt x="196" y="214"/>
                  </a:lnTo>
                  <a:lnTo>
                    <a:pt x="205" y="238"/>
                  </a:lnTo>
                  <a:lnTo>
                    <a:pt x="194" y="254"/>
                  </a:lnTo>
                  <a:lnTo>
                    <a:pt x="125" y="268"/>
                  </a:lnTo>
                  <a:lnTo>
                    <a:pt x="45" y="215"/>
                  </a:lnTo>
                  <a:lnTo>
                    <a:pt x="29" y="228"/>
                  </a:lnTo>
                  <a:lnTo>
                    <a:pt x="29" y="265"/>
                  </a:lnTo>
                  <a:lnTo>
                    <a:pt x="0" y="273"/>
                  </a:lnTo>
                  <a:lnTo>
                    <a:pt x="7" y="302"/>
                  </a:lnTo>
                  <a:lnTo>
                    <a:pt x="44" y="310"/>
                  </a:lnTo>
                  <a:lnTo>
                    <a:pt x="84" y="310"/>
                  </a:lnTo>
                  <a:lnTo>
                    <a:pt x="95" y="361"/>
                  </a:lnTo>
                  <a:lnTo>
                    <a:pt x="47" y="383"/>
                  </a:lnTo>
                  <a:lnTo>
                    <a:pt x="47" y="406"/>
                  </a:lnTo>
                  <a:lnTo>
                    <a:pt x="85" y="419"/>
                  </a:lnTo>
                  <a:lnTo>
                    <a:pt x="85" y="440"/>
                  </a:lnTo>
                  <a:lnTo>
                    <a:pt x="102" y="450"/>
                  </a:lnTo>
                  <a:lnTo>
                    <a:pt x="116" y="438"/>
                  </a:lnTo>
                  <a:lnTo>
                    <a:pt x="135" y="438"/>
                  </a:lnTo>
                  <a:lnTo>
                    <a:pt x="144" y="459"/>
                  </a:lnTo>
                  <a:lnTo>
                    <a:pt x="172" y="459"/>
                  </a:lnTo>
                  <a:lnTo>
                    <a:pt x="187" y="410"/>
                  </a:lnTo>
                  <a:lnTo>
                    <a:pt x="210" y="410"/>
                  </a:lnTo>
                  <a:lnTo>
                    <a:pt x="245" y="365"/>
                  </a:lnTo>
                  <a:lnTo>
                    <a:pt x="288" y="370"/>
                  </a:lnTo>
                  <a:lnTo>
                    <a:pt x="295" y="431"/>
                  </a:lnTo>
                  <a:lnTo>
                    <a:pt x="311" y="450"/>
                  </a:lnTo>
                  <a:lnTo>
                    <a:pt x="337" y="436"/>
                  </a:lnTo>
                  <a:lnTo>
                    <a:pt x="382" y="459"/>
                  </a:lnTo>
                  <a:lnTo>
                    <a:pt x="399" y="488"/>
                  </a:lnTo>
                  <a:lnTo>
                    <a:pt x="476" y="535"/>
                  </a:lnTo>
                  <a:lnTo>
                    <a:pt x="505" y="601"/>
                  </a:lnTo>
                  <a:lnTo>
                    <a:pt x="505" y="636"/>
                  </a:lnTo>
                  <a:lnTo>
                    <a:pt x="455" y="664"/>
                  </a:lnTo>
                  <a:lnTo>
                    <a:pt x="423" y="693"/>
                  </a:lnTo>
                  <a:lnTo>
                    <a:pt x="463" y="696"/>
                  </a:lnTo>
                  <a:lnTo>
                    <a:pt x="463" y="748"/>
                  </a:lnTo>
                  <a:lnTo>
                    <a:pt x="522" y="745"/>
                  </a:lnTo>
                  <a:lnTo>
                    <a:pt x="555" y="747"/>
                  </a:lnTo>
                  <a:lnTo>
                    <a:pt x="578" y="693"/>
                  </a:lnTo>
                  <a:lnTo>
                    <a:pt x="662" y="641"/>
                  </a:lnTo>
                  <a:lnTo>
                    <a:pt x="644" y="615"/>
                  </a:lnTo>
                  <a:lnTo>
                    <a:pt x="666" y="556"/>
                  </a:lnTo>
                  <a:lnTo>
                    <a:pt x="743" y="567"/>
                  </a:lnTo>
                  <a:lnTo>
                    <a:pt x="762" y="427"/>
                  </a:lnTo>
                  <a:lnTo>
                    <a:pt x="865" y="368"/>
                  </a:lnTo>
                  <a:lnTo>
                    <a:pt x="865" y="335"/>
                  </a:lnTo>
                  <a:lnTo>
                    <a:pt x="787" y="258"/>
                  </a:lnTo>
                  <a:lnTo>
                    <a:pt x="787" y="199"/>
                  </a:lnTo>
                  <a:lnTo>
                    <a:pt x="743" y="125"/>
                  </a:lnTo>
                  <a:lnTo>
                    <a:pt x="651" y="74"/>
                  </a:lnTo>
                  <a:lnTo>
                    <a:pt x="644" y="114"/>
                  </a:lnTo>
                  <a:lnTo>
                    <a:pt x="607" y="118"/>
                  </a:lnTo>
                  <a:lnTo>
                    <a:pt x="596" y="78"/>
                  </a:lnTo>
                  <a:lnTo>
                    <a:pt x="559" y="85"/>
                  </a:lnTo>
                  <a:lnTo>
                    <a:pt x="552" y="136"/>
                  </a:lnTo>
                  <a:lnTo>
                    <a:pt x="522" y="125"/>
                  </a:lnTo>
                  <a:lnTo>
                    <a:pt x="460" y="85"/>
                  </a:lnTo>
                  <a:lnTo>
                    <a:pt x="430" y="100"/>
                  </a:lnTo>
                  <a:lnTo>
                    <a:pt x="430" y="26"/>
                  </a:lnTo>
                  <a:lnTo>
                    <a:pt x="38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30</a:t>
              </a:r>
            </a:p>
          </p:txBody>
        </p:sp>
        <p:sp>
          <p:nvSpPr>
            <p:cNvPr id="20" name="FR-11">
              <a:extLst>
                <a:ext uri="{FF2B5EF4-FFF2-40B4-BE49-F238E27FC236}">
                  <a16:creationId xmlns:a16="http://schemas.microsoft.com/office/drawing/2014/main" id="{2E6F3C35-FDF4-4055-B9D0-619EF7D7DB6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4316" y="5880789"/>
              <a:ext cx="384820" cy="264790"/>
            </a:xfrm>
            <a:custGeom>
              <a:avLst/>
              <a:gdLst>
                <a:gd name="T0" fmla="*/ 302 w 833"/>
                <a:gd name="T1" fmla="*/ 48 h 601"/>
                <a:gd name="T2" fmla="*/ 202 w 833"/>
                <a:gd name="T3" fmla="*/ 33 h 601"/>
                <a:gd name="T4" fmla="*/ 180 w 833"/>
                <a:gd name="T5" fmla="*/ 19 h 601"/>
                <a:gd name="T6" fmla="*/ 107 w 833"/>
                <a:gd name="T7" fmla="*/ 4 h 601"/>
                <a:gd name="T8" fmla="*/ 81 w 833"/>
                <a:gd name="T9" fmla="*/ 63 h 601"/>
                <a:gd name="T10" fmla="*/ 33 w 833"/>
                <a:gd name="T11" fmla="*/ 122 h 601"/>
                <a:gd name="T12" fmla="*/ 29 w 833"/>
                <a:gd name="T13" fmla="*/ 169 h 601"/>
                <a:gd name="T14" fmla="*/ 151 w 833"/>
                <a:gd name="T15" fmla="*/ 254 h 601"/>
                <a:gd name="T16" fmla="*/ 162 w 833"/>
                <a:gd name="T17" fmla="*/ 391 h 601"/>
                <a:gd name="T18" fmla="*/ 103 w 833"/>
                <a:gd name="T19" fmla="*/ 453 h 601"/>
                <a:gd name="T20" fmla="*/ 169 w 833"/>
                <a:gd name="T21" fmla="*/ 549 h 601"/>
                <a:gd name="T22" fmla="*/ 276 w 833"/>
                <a:gd name="T23" fmla="*/ 593 h 601"/>
                <a:gd name="T24" fmla="*/ 279 w 833"/>
                <a:gd name="T25" fmla="*/ 601 h 601"/>
                <a:gd name="T26" fmla="*/ 359 w 833"/>
                <a:gd name="T27" fmla="*/ 511 h 601"/>
                <a:gd name="T28" fmla="*/ 604 w 833"/>
                <a:gd name="T29" fmla="*/ 467 h 601"/>
                <a:gd name="T30" fmla="*/ 656 w 833"/>
                <a:gd name="T31" fmla="*/ 403 h 601"/>
                <a:gd name="T32" fmla="*/ 756 w 833"/>
                <a:gd name="T33" fmla="*/ 470 h 601"/>
                <a:gd name="T34" fmla="*/ 757 w 833"/>
                <a:gd name="T35" fmla="*/ 310 h 601"/>
                <a:gd name="T36" fmla="*/ 699 w 833"/>
                <a:gd name="T37" fmla="*/ 274 h 601"/>
                <a:gd name="T38" fmla="*/ 764 w 833"/>
                <a:gd name="T39" fmla="*/ 281 h 601"/>
                <a:gd name="T40" fmla="*/ 829 w 833"/>
                <a:gd name="T41" fmla="*/ 224 h 601"/>
                <a:gd name="T42" fmla="*/ 799 w 833"/>
                <a:gd name="T43" fmla="*/ 195 h 601"/>
                <a:gd name="T44" fmla="*/ 755 w 833"/>
                <a:gd name="T45" fmla="*/ 155 h 601"/>
                <a:gd name="T46" fmla="*/ 700 w 833"/>
                <a:gd name="T47" fmla="*/ 113 h 601"/>
                <a:gd name="T48" fmla="*/ 667 w 833"/>
                <a:gd name="T49" fmla="*/ 56 h 601"/>
                <a:gd name="T50" fmla="*/ 660 w 833"/>
                <a:gd name="T51" fmla="*/ 92 h 601"/>
                <a:gd name="T52" fmla="*/ 625 w 833"/>
                <a:gd name="T53" fmla="*/ 139 h 601"/>
                <a:gd name="T54" fmla="*/ 552 w 833"/>
                <a:gd name="T55" fmla="*/ 106 h 601"/>
                <a:gd name="T56" fmla="*/ 491 w 833"/>
                <a:gd name="T57" fmla="*/ 106 h 601"/>
                <a:gd name="T58" fmla="*/ 500 w 833"/>
                <a:gd name="T59" fmla="*/ 44 h 601"/>
                <a:gd name="T60" fmla="*/ 486 w 833"/>
                <a:gd name="T61" fmla="*/ 15 h 601"/>
                <a:gd name="T62" fmla="*/ 328 w 833"/>
                <a:gd name="T63" fmla="*/ 0 h 60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833"/>
                <a:gd name="T97" fmla="*/ 0 h 601"/>
                <a:gd name="T98" fmla="*/ 833 w 833"/>
                <a:gd name="T99" fmla="*/ 601 h 60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833" h="601">
                  <a:moveTo>
                    <a:pt x="306" y="0"/>
                  </a:moveTo>
                  <a:lnTo>
                    <a:pt x="302" y="48"/>
                  </a:lnTo>
                  <a:lnTo>
                    <a:pt x="254" y="33"/>
                  </a:lnTo>
                  <a:lnTo>
                    <a:pt x="202" y="33"/>
                  </a:lnTo>
                  <a:lnTo>
                    <a:pt x="206" y="15"/>
                  </a:lnTo>
                  <a:lnTo>
                    <a:pt x="180" y="19"/>
                  </a:lnTo>
                  <a:lnTo>
                    <a:pt x="125" y="37"/>
                  </a:lnTo>
                  <a:lnTo>
                    <a:pt x="107" y="4"/>
                  </a:lnTo>
                  <a:lnTo>
                    <a:pt x="70" y="37"/>
                  </a:lnTo>
                  <a:lnTo>
                    <a:pt x="81" y="63"/>
                  </a:lnTo>
                  <a:lnTo>
                    <a:pt x="40" y="81"/>
                  </a:lnTo>
                  <a:lnTo>
                    <a:pt x="33" y="122"/>
                  </a:lnTo>
                  <a:lnTo>
                    <a:pt x="0" y="137"/>
                  </a:lnTo>
                  <a:lnTo>
                    <a:pt x="29" y="169"/>
                  </a:lnTo>
                  <a:lnTo>
                    <a:pt x="22" y="192"/>
                  </a:lnTo>
                  <a:lnTo>
                    <a:pt x="151" y="254"/>
                  </a:lnTo>
                  <a:lnTo>
                    <a:pt x="162" y="343"/>
                  </a:lnTo>
                  <a:lnTo>
                    <a:pt x="162" y="391"/>
                  </a:lnTo>
                  <a:lnTo>
                    <a:pt x="169" y="453"/>
                  </a:lnTo>
                  <a:lnTo>
                    <a:pt x="103" y="453"/>
                  </a:lnTo>
                  <a:lnTo>
                    <a:pt x="85" y="479"/>
                  </a:lnTo>
                  <a:lnTo>
                    <a:pt x="169" y="549"/>
                  </a:lnTo>
                  <a:lnTo>
                    <a:pt x="217" y="523"/>
                  </a:lnTo>
                  <a:lnTo>
                    <a:pt x="276" y="593"/>
                  </a:lnTo>
                  <a:lnTo>
                    <a:pt x="267" y="594"/>
                  </a:lnTo>
                  <a:lnTo>
                    <a:pt x="279" y="601"/>
                  </a:lnTo>
                  <a:lnTo>
                    <a:pt x="384" y="549"/>
                  </a:lnTo>
                  <a:lnTo>
                    <a:pt x="359" y="511"/>
                  </a:lnTo>
                  <a:lnTo>
                    <a:pt x="357" y="467"/>
                  </a:lnTo>
                  <a:lnTo>
                    <a:pt x="604" y="467"/>
                  </a:lnTo>
                  <a:lnTo>
                    <a:pt x="599" y="433"/>
                  </a:lnTo>
                  <a:lnTo>
                    <a:pt x="656" y="403"/>
                  </a:lnTo>
                  <a:lnTo>
                    <a:pt x="722" y="454"/>
                  </a:lnTo>
                  <a:lnTo>
                    <a:pt x="756" y="470"/>
                  </a:lnTo>
                  <a:lnTo>
                    <a:pt x="754" y="396"/>
                  </a:lnTo>
                  <a:lnTo>
                    <a:pt x="757" y="310"/>
                  </a:lnTo>
                  <a:lnTo>
                    <a:pt x="725" y="312"/>
                  </a:lnTo>
                  <a:lnTo>
                    <a:pt x="699" y="274"/>
                  </a:lnTo>
                  <a:lnTo>
                    <a:pt x="720" y="239"/>
                  </a:lnTo>
                  <a:lnTo>
                    <a:pt x="764" y="281"/>
                  </a:lnTo>
                  <a:lnTo>
                    <a:pt x="803" y="250"/>
                  </a:lnTo>
                  <a:lnTo>
                    <a:pt x="829" y="224"/>
                  </a:lnTo>
                  <a:lnTo>
                    <a:pt x="833" y="197"/>
                  </a:lnTo>
                  <a:lnTo>
                    <a:pt x="799" y="195"/>
                  </a:lnTo>
                  <a:lnTo>
                    <a:pt x="788" y="158"/>
                  </a:lnTo>
                  <a:lnTo>
                    <a:pt x="755" y="155"/>
                  </a:lnTo>
                  <a:lnTo>
                    <a:pt x="724" y="110"/>
                  </a:lnTo>
                  <a:lnTo>
                    <a:pt x="700" y="113"/>
                  </a:lnTo>
                  <a:lnTo>
                    <a:pt x="672" y="96"/>
                  </a:lnTo>
                  <a:lnTo>
                    <a:pt x="667" y="56"/>
                  </a:lnTo>
                  <a:lnTo>
                    <a:pt x="653" y="63"/>
                  </a:lnTo>
                  <a:lnTo>
                    <a:pt x="660" y="92"/>
                  </a:lnTo>
                  <a:lnTo>
                    <a:pt x="627" y="92"/>
                  </a:lnTo>
                  <a:lnTo>
                    <a:pt x="625" y="139"/>
                  </a:lnTo>
                  <a:lnTo>
                    <a:pt x="576" y="155"/>
                  </a:lnTo>
                  <a:lnTo>
                    <a:pt x="552" y="106"/>
                  </a:lnTo>
                  <a:lnTo>
                    <a:pt x="519" y="127"/>
                  </a:lnTo>
                  <a:lnTo>
                    <a:pt x="491" y="106"/>
                  </a:lnTo>
                  <a:lnTo>
                    <a:pt x="477" y="73"/>
                  </a:lnTo>
                  <a:lnTo>
                    <a:pt x="500" y="44"/>
                  </a:lnTo>
                  <a:lnTo>
                    <a:pt x="489" y="14"/>
                  </a:lnTo>
                  <a:lnTo>
                    <a:pt x="486" y="15"/>
                  </a:lnTo>
                  <a:lnTo>
                    <a:pt x="409" y="15"/>
                  </a:lnTo>
                  <a:lnTo>
                    <a:pt x="328" y="0"/>
                  </a:ln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11</a:t>
              </a:r>
            </a:p>
          </p:txBody>
        </p:sp>
        <p:sp>
          <p:nvSpPr>
            <p:cNvPr id="21" name="FR-34">
              <a:extLst>
                <a:ext uri="{FF2B5EF4-FFF2-40B4-BE49-F238E27FC236}">
                  <a16:creationId xmlns:a16="http://schemas.microsoft.com/office/drawing/2014/main" id="{BC918ECE-6F05-493D-8DD9-45D4AF7EBDB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594675" y="5704115"/>
              <a:ext cx="418082" cy="263468"/>
            </a:xfrm>
            <a:custGeom>
              <a:avLst/>
              <a:gdLst>
                <a:gd name="T0" fmla="*/ 610 w 905"/>
                <a:gd name="T1" fmla="*/ 45 h 598"/>
                <a:gd name="T2" fmla="*/ 572 w 905"/>
                <a:gd name="T3" fmla="*/ 94 h 598"/>
                <a:gd name="T4" fmla="*/ 535 w 905"/>
                <a:gd name="T5" fmla="*/ 73 h 598"/>
                <a:gd name="T6" fmla="*/ 502 w 905"/>
                <a:gd name="T7" fmla="*/ 85 h 598"/>
                <a:gd name="T8" fmla="*/ 485 w 905"/>
                <a:gd name="T9" fmla="*/ 54 h 598"/>
                <a:gd name="T10" fmla="*/ 447 w 905"/>
                <a:gd name="T11" fmla="*/ 55 h 598"/>
                <a:gd name="T12" fmla="*/ 381 w 905"/>
                <a:gd name="T13" fmla="*/ 81 h 598"/>
                <a:gd name="T14" fmla="*/ 348 w 905"/>
                <a:gd name="T15" fmla="*/ 125 h 598"/>
                <a:gd name="T16" fmla="*/ 285 w 905"/>
                <a:gd name="T17" fmla="*/ 103 h 598"/>
                <a:gd name="T18" fmla="*/ 289 w 905"/>
                <a:gd name="T19" fmla="*/ 206 h 598"/>
                <a:gd name="T20" fmla="*/ 223 w 905"/>
                <a:gd name="T21" fmla="*/ 206 h 598"/>
                <a:gd name="T22" fmla="*/ 112 w 905"/>
                <a:gd name="T23" fmla="*/ 268 h 598"/>
                <a:gd name="T24" fmla="*/ 53 w 905"/>
                <a:gd name="T25" fmla="*/ 276 h 598"/>
                <a:gd name="T26" fmla="*/ 83 w 905"/>
                <a:gd name="T27" fmla="*/ 350 h 598"/>
                <a:gd name="T28" fmla="*/ 12 w 905"/>
                <a:gd name="T29" fmla="*/ 415 h 598"/>
                <a:gd name="T30" fmla="*/ 0 w 905"/>
                <a:gd name="T31" fmla="*/ 474 h 598"/>
                <a:gd name="T32" fmla="*/ 42 w 905"/>
                <a:gd name="T33" fmla="*/ 528 h 598"/>
                <a:gd name="T34" fmla="*/ 99 w 905"/>
                <a:gd name="T35" fmla="*/ 556 h 598"/>
                <a:gd name="T36" fmla="*/ 150 w 905"/>
                <a:gd name="T37" fmla="*/ 493 h 598"/>
                <a:gd name="T38" fmla="*/ 176 w 905"/>
                <a:gd name="T39" fmla="*/ 464 h 598"/>
                <a:gd name="T40" fmla="*/ 195 w 905"/>
                <a:gd name="T41" fmla="*/ 497 h 598"/>
                <a:gd name="T42" fmla="*/ 247 w 905"/>
                <a:gd name="T43" fmla="*/ 511 h 598"/>
                <a:gd name="T44" fmla="*/ 311 w 905"/>
                <a:gd name="T45" fmla="*/ 559 h 598"/>
                <a:gd name="T46" fmla="*/ 356 w 905"/>
                <a:gd name="T47" fmla="*/ 598 h 598"/>
                <a:gd name="T48" fmla="*/ 451 w 905"/>
                <a:gd name="T49" fmla="*/ 555 h 598"/>
                <a:gd name="T50" fmla="*/ 535 w 905"/>
                <a:gd name="T51" fmla="*/ 529 h 598"/>
                <a:gd name="T52" fmla="*/ 699 w 905"/>
                <a:gd name="T53" fmla="*/ 388 h 598"/>
                <a:gd name="T54" fmla="*/ 823 w 905"/>
                <a:gd name="T55" fmla="*/ 328 h 598"/>
                <a:gd name="T56" fmla="*/ 905 w 905"/>
                <a:gd name="T57" fmla="*/ 271 h 598"/>
                <a:gd name="T58" fmla="*/ 876 w 905"/>
                <a:gd name="T59" fmla="*/ 170 h 598"/>
                <a:gd name="T60" fmla="*/ 782 w 905"/>
                <a:gd name="T61" fmla="*/ 94 h 598"/>
                <a:gd name="T62" fmla="*/ 711 w 905"/>
                <a:gd name="T63" fmla="*/ 85 h 598"/>
                <a:gd name="T64" fmla="*/ 688 w 905"/>
                <a:gd name="T65" fmla="*/ 5 h 59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905"/>
                <a:gd name="T100" fmla="*/ 0 h 598"/>
                <a:gd name="T101" fmla="*/ 905 w 905"/>
                <a:gd name="T102" fmla="*/ 598 h 59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905" h="598">
                  <a:moveTo>
                    <a:pt x="645" y="0"/>
                  </a:moveTo>
                  <a:lnTo>
                    <a:pt x="610" y="45"/>
                  </a:lnTo>
                  <a:lnTo>
                    <a:pt x="587" y="45"/>
                  </a:lnTo>
                  <a:lnTo>
                    <a:pt x="572" y="94"/>
                  </a:lnTo>
                  <a:lnTo>
                    <a:pt x="544" y="94"/>
                  </a:lnTo>
                  <a:lnTo>
                    <a:pt x="535" y="73"/>
                  </a:lnTo>
                  <a:lnTo>
                    <a:pt x="516" y="73"/>
                  </a:lnTo>
                  <a:lnTo>
                    <a:pt x="502" y="85"/>
                  </a:lnTo>
                  <a:lnTo>
                    <a:pt x="485" y="75"/>
                  </a:lnTo>
                  <a:lnTo>
                    <a:pt x="485" y="54"/>
                  </a:lnTo>
                  <a:lnTo>
                    <a:pt x="447" y="41"/>
                  </a:lnTo>
                  <a:lnTo>
                    <a:pt x="447" y="55"/>
                  </a:lnTo>
                  <a:lnTo>
                    <a:pt x="403" y="62"/>
                  </a:lnTo>
                  <a:lnTo>
                    <a:pt x="381" y="81"/>
                  </a:lnTo>
                  <a:lnTo>
                    <a:pt x="388" y="125"/>
                  </a:lnTo>
                  <a:lnTo>
                    <a:pt x="348" y="125"/>
                  </a:lnTo>
                  <a:lnTo>
                    <a:pt x="307" y="103"/>
                  </a:lnTo>
                  <a:lnTo>
                    <a:pt x="285" y="103"/>
                  </a:lnTo>
                  <a:lnTo>
                    <a:pt x="285" y="129"/>
                  </a:lnTo>
                  <a:lnTo>
                    <a:pt x="289" y="206"/>
                  </a:lnTo>
                  <a:lnTo>
                    <a:pt x="245" y="206"/>
                  </a:lnTo>
                  <a:lnTo>
                    <a:pt x="223" y="206"/>
                  </a:lnTo>
                  <a:lnTo>
                    <a:pt x="208" y="235"/>
                  </a:lnTo>
                  <a:lnTo>
                    <a:pt x="112" y="268"/>
                  </a:lnTo>
                  <a:lnTo>
                    <a:pt x="75" y="243"/>
                  </a:lnTo>
                  <a:lnTo>
                    <a:pt x="53" y="276"/>
                  </a:lnTo>
                  <a:lnTo>
                    <a:pt x="42" y="313"/>
                  </a:lnTo>
                  <a:lnTo>
                    <a:pt x="83" y="350"/>
                  </a:lnTo>
                  <a:lnTo>
                    <a:pt x="68" y="398"/>
                  </a:lnTo>
                  <a:lnTo>
                    <a:pt x="12" y="415"/>
                  </a:lnTo>
                  <a:lnTo>
                    <a:pt x="23" y="445"/>
                  </a:lnTo>
                  <a:lnTo>
                    <a:pt x="0" y="474"/>
                  </a:lnTo>
                  <a:lnTo>
                    <a:pt x="14" y="507"/>
                  </a:lnTo>
                  <a:lnTo>
                    <a:pt x="42" y="528"/>
                  </a:lnTo>
                  <a:lnTo>
                    <a:pt x="75" y="507"/>
                  </a:lnTo>
                  <a:lnTo>
                    <a:pt x="99" y="556"/>
                  </a:lnTo>
                  <a:lnTo>
                    <a:pt x="148" y="540"/>
                  </a:lnTo>
                  <a:lnTo>
                    <a:pt x="150" y="493"/>
                  </a:lnTo>
                  <a:lnTo>
                    <a:pt x="183" y="493"/>
                  </a:lnTo>
                  <a:lnTo>
                    <a:pt x="176" y="464"/>
                  </a:lnTo>
                  <a:lnTo>
                    <a:pt x="190" y="457"/>
                  </a:lnTo>
                  <a:lnTo>
                    <a:pt x="195" y="497"/>
                  </a:lnTo>
                  <a:lnTo>
                    <a:pt x="223" y="514"/>
                  </a:lnTo>
                  <a:lnTo>
                    <a:pt x="247" y="511"/>
                  </a:lnTo>
                  <a:lnTo>
                    <a:pt x="278" y="556"/>
                  </a:lnTo>
                  <a:lnTo>
                    <a:pt x="311" y="559"/>
                  </a:lnTo>
                  <a:lnTo>
                    <a:pt x="322" y="596"/>
                  </a:lnTo>
                  <a:lnTo>
                    <a:pt x="356" y="598"/>
                  </a:lnTo>
                  <a:lnTo>
                    <a:pt x="357" y="583"/>
                  </a:lnTo>
                  <a:lnTo>
                    <a:pt x="451" y="555"/>
                  </a:lnTo>
                  <a:lnTo>
                    <a:pt x="462" y="531"/>
                  </a:lnTo>
                  <a:lnTo>
                    <a:pt x="535" y="529"/>
                  </a:lnTo>
                  <a:lnTo>
                    <a:pt x="558" y="500"/>
                  </a:lnTo>
                  <a:lnTo>
                    <a:pt x="699" y="388"/>
                  </a:lnTo>
                  <a:lnTo>
                    <a:pt x="787" y="325"/>
                  </a:lnTo>
                  <a:lnTo>
                    <a:pt x="823" y="328"/>
                  </a:lnTo>
                  <a:lnTo>
                    <a:pt x="855" y="299"/>
                  </a:lnTo>
                  <a:lnTo>
                    <a:pt x="905" y="271"/>
                  </a:lnTo>
                  <a:lnTo>
                    <a:pt x="905" y="236"/>
                  </a:lnTo>
                  <a:lnTo>
                    <a:pt x="876" y="170"/>
                  </a:lnTo>
                  <a:lnTo>
                    <a:pt x="799" y="123"/>
                  </a:lnTo>
                  <a:lnTo>
                    <a:pt x="782" y="94"/>
                  </a:lnTo>
                  <a:lnTo>
                    <a:pt x="737" y="71"/>
                  </a:lnTo>
                  <a:lnTo>
                    <a:pt x="711" y="85"/>
                  </a:lnTo>
                  <a:lnTo>
                    <a:pt x="695" y="66"/>
                  </a:lnTo>
                  <a:lnTo>
                    <a:pt x="688" y="5"/>
                  </a:lnTo>
                  <a:lnTo>
                    <a:pt x="645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34</a:t>
              </a:r>
            </a:p>
          </p:txBody>
        </p:sp>
        <p:sp>
          <p:nvSpPr>
            <p:cNvPr id="22" name="FR-66">
              <a:extLst>
                <a:ext uri="{FF2B5EF4-FFF2-40B4-BE49-F238E27FC236}">
                  <a16:creationId xmlns:a16="http://schemas.microsoft.com/office/drawing/2014/main" id="{84DF5F14-5EA3-467D-9681-2EDBA0707D1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81245" y="6058343"/>
              <a:ext cx="371423" cy="204430"/>
            </a:xfrm>
            <a:custGeom>
              <a:avLst/>
              <a:gdLst>
                <a:gd name="T0" fmla="*/ 641 w 804"/>
                <a:gd name="T1" fmla="*/ 0 h 464"/>
                <a:gd name="T2" fmla="*/ 584 w 804"/>
                <a:gd name="T3" fmla="*/ 30 h 464"/>
                <a:gd name="T4" fmla="*/ 589 w 804"/>
                <a:gd name="T5" fmla="*/ 64 h 464"/>
                <a:gd name="T6" fmla="*/ 342 w 804"/>
                <a:gd name="T7" fmla="*/ 64 h 464"/>
                <a:gd name="T8" fmla="*/ 344 w 804"/>
                <a:gd name="T9" fmla="*/ 108 h 464"/>
                <a:gd name="T10" fmla="*/ 369 w 804"/>
                <a:gd name="T11" fmla="*/ 146 h 464"/>
                <a:gd name="T12" fmla="*/ 264 w 804"/>
                <a:gd name="T13" fmla="*/ 198 h 464"/>
                <a:gd name="T14" fmla="*/ 252 w 804"/>
                <a:gd name="T15" fmla="*/ 191 h 464"/>
                <a:gd name="T16" fmla="*/ 165 w 804"/>
                <a:gd name="T17" fmla="*/ 197 h 464"/>
                <a:gd name="T18" fmla="*/ 154 w 804"/>
                <a:gd name="T19" fmla="*/ 219 h 464"/>
                <a:gd name="T20" fmla="*/ 110 w 804"/>
                <a:gd name="T21" fmla="*/ 231 h 464"/>
                <a:gd name="T22" fmla="*/ 81 w 804"/>
                <a:gd name="T23" fmla="*/ 256 h 464"/>
                <a:gd name="T24" fmla="*/ 0 w 804"/>
                <a:gd name="T25" fmla="*/ 275 h 464"/>
                <a:gd name="T26" fmla="*/ 4 w 804"/>
                <a:gd name="T27" fmla="*/ 303 h 464"/>
                <a:gd name="T28" fmla="*/ 44 w 804"/>
                <a:gd name="T29" fmla="*/ 339 h 464"/>
                <a:gd name="T30" fmla="*/ 122 w 804"/>
                <a:gd name="T31" fmla="*/ 360 h 464"/>
                <a:gd name="T32" fmla="*/ 124 w 804"/>
                <a:gd name="T33" fmla="*/ 407 h 464"/>
                <a:gd name="T34" fmla="*/ 166 w 804"/>
                <a:gd name="T35" fmla="*/ 444 h 464"/>
                <a:gd name="T36" fmla="*/ 197 w 804"/>
                <a:gd name="T37" fmla="*/ 438 h 464"/>
                <a:gd name="T38" fmla="*/ 242 w 804"/>
                <a:gd name="T39" fmla="*/ 384 h 464"/>
                <a:gd name="T40" fmla="*/ 296 w 804"/>
                <a:gd name="T41" fmla="*/ 373 h 464"/>
                <a:gd name="T42" fmla="*/ 382 w 804"/>
                <a:gd name="T43" fmla="*/ 402 h 464"/>
                <a:gd name="T44" fmla="*/ 455 w 804"/>
                <a:gd name="T45" fmla="*/ 464 h 464"/>
                <a:gd name="T46" fmla="*/ 476 w 804"/>
                <a:gd name="T47" fmla="*/ 438 h 464"/>
                <a:gd name="T48" fmla="*/ 494 w 804"/>
                <a:gd name="T49" fmla="*/ 438 h 464"/>
                <a:gd name="T50" fmla="*/ 512 w 804"/>
                <a:gd name="T51" fmla="*/ 451 h 464"/>
                <a:gd name="T52" fmla="*/ 528 w 804"/>
                <a:gd name="T53" fmla="*/ 444 h 464"/>
                <a:gd name="T54" fmla="*/ 530 w 804"/>
                <a:gd name="T55" fmla="*/ 407 h 464"/>
                <a:gd name="T56" fmla="*/ 609 w 804"/>
                <a:gd name="T57" fmla="*/ 389 h 464"/>
                <a:gd name="T58" fmla="*/ 634 w 804"/>
                <a:gd name="T59" fmla="*/ 355 h 464"/>
                <a:gd name="T60" fmla="*/ 674 w 804"/>
                <a:gd name="T61" fmla="*/ 342 h 464"/>
                <a:gd name="T62" fmla="*/ 728 w 804"/>
                <a:gd name="T63" fmla="*/ 342 h 464"/>
                <a:gd name="T64" fmla="*/ 762 w 804"/>
                <a:gd name="T65" fmla="*/ 378 h 464"/>
                <a:gd name="T66" fmla="*/ 804 w 804"/>
                <a:gd name="T67" fmla="*/ 381 h 464"/>
                <a:gd name="T68" fmla="*/ 804 w 804"/>
                <a:gd name="T69" fmla="*/ 339 h 464"/>
                <a:gd name="T70" fmla="*/ 783 w 804"/>
                <a:gd name="T71" fmla="*/ 311 h 464"/>
                <a:gd name="T72" fmla="*/ 747 w 804"/>
                <a:gd name="T73" fmla="*/ 295 h 464"/>
                <a:gd name="T74" fmla="*/ 741 w 804"/>
                <a:gd name="T75" fmla="*/ 67 h 464"/>
                <a:gd name="T76" fmla="*/ 707 w 804"/>
                <a:gd name="T77" fmla="*/ 51 h 464"/>
                <a:gd name="T78" fmla="*/ 641 w 804"/>
                <a:gd name="T79" fmla="*/ 0 h 46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804"/>
                <a:gd name="T121" fmla="*/ 0 h 464"/>
                <a:gd name="T122" fmla="*/ 804 w 804"/>
                <a:gd name="T123" fmla="*/ 464 h 46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804" h="464">
                  <a:moveTo>
                    <a:pt x="641" y="0"/>
                  </a:moveTo>
                  <a:lnTo>
                    <a:pt x="584" y="30"/>
                  </a:lnTo>
                  <a:lnTo>
                    <a:pt x="589" y="64"/>
                  </a:lnTo>
                  <a:lnTo>
                    <a:pt x="342" y="64"/>
                  </a:lnTo>
                  <a:lnTo>
                    <a:pt x="344" y="108"/>
                  </a:lnTo>
                  <a:lnTo>
                    <a:pt x="369" y="146"/>
                  </a:lnTo>
                  <a:lnTo>
                    <a:pt x="264" y="198"/>
                  </a:lnTo>
                  <a:lnTo>
                    <a:pt x="252" y="191"/>
                  </a:lnTo>
                  <a:lnTo>
                    <a:pt x="165" y="197"/>
                  </a:lnTo>
                  <a:lnTo>
                    <a:pt x="154" y="219"/>
                  </a:lnTo>
                  <a:lnTo>
                    <a:pt x="110" y="231"/>
                  </a:lnTo>
                  <a:lnTo>
                    <a:pt x="81" y="256"/>
                  </a:lnTo>
                  <a:lnTo>
                    <a:pt x="0" y="275"/>
                  </a:lnTo>
                  <a:lnTo>
                    <a:pt x="4" y="303"/>
                  </a:lnTo>
                  <a:lnTo>
                    <a:pt x="44" y="339"/>
                  </a:lnTo>
                  <a:lnTo>
                    <a:pt x="122" y="360"/>
                  </a:lnTo>
                  <a:lnTo>
                    <a:pt x="124" y="407"/>
                  </a:lnTo>
                  <a:lnTo>
                    <a:pt x="166" y="444"/>
                  </a:lnTo>
                  <a:lnTo>
                    <a:pt x="197" y="438"/>
                  </a:lnTo>
                  <a:lnTo>
                    <a:pt x="242" y="384"/>
                  </a:lnTo>
                  <a:lnTo>
                    <a:pt x="296" y="373"/>
                  </a:lnTo>
                  <a:lnTo>
                    <a:pt x="382" y="402"/>
                  </a:lnTo>
                  <a:lnTo>
                    <a:pt x="455" y="464"/>
                  </a:lnTo>
                  <a:lnTo>
                    <a:pt x="476" y="438"/>
                  </a:lnTo>
                  <a:lnTo>
                    <a:pt x="494" y="438"/>
                  </a:lnTo>
                  <a:lnTo>
                    <a:pt x="512" y="451"/>
                  </a:lnTo>
                  <a:lnTo>
                    <a:pt x="528" y="444"/>
                  </a:lnTo>
                  <a:lnTo>
                    <a:pt x="530" y="407"/>
                  </a:lnTo>
                  <a:lnTo>
                    <a:pt x="609" y="389"/>
                  </a:lnTo>
                  <a:lnTo>
                    <a:pt x="634" y="355"/>
                  </a:lnTo>
                  <a:lnTo>
                    <a:pt x="674" y="342"/>
                  </a:lnTo>
                  <a:lnTo>
                    <a:pt x="728" y="342"/>
                  </a:lnTo>
                  <a:lnTo>
                    <a:pt x="762" y="378"/>
                  </a:lnTo>
                  <a:lnTo>
                    <a:pt x="804" y="381"/>
                  </a:lnTo>
                  <a:lnTo>
                    <a:pt x="804" y="339"/>
                  </a:lnTo>
                  <a:lnTo>
                    <a:pt x="783" y="311"/>
                  </a:lnTo>
                  <a:lnTo>
                    <a:pt x="747" y="295"/>
                  </a:lnTo>
                  <a:lnTo>
                    <a:pt x="741" y="67"/>
                  </a:lnTo>
                  <a:lnTo>
                    <a:pt x="707" y="51"/>
                  </a:lnTo>
                  <a:lnTo>
                    <a:pt x="641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66</a:t>
              </a:r>
            </a:p>
          </p:txBody>
        </p:sp>
        <p:sp>
          <p:nvSpPr>
            <p:cNvPr id="23" name="FR-15">
              <a:extLst>
                <a:ext uri="{FF2B5EF4-FFF2-40B4-BE49-F238E27FC236}">
                  <a16:creationId xmlns:a16="http://schemas.microsoft.com/office/drawing/2014/main" id="{3092C1F6-B2AC-4ADA-87E3-69A4BD62A4F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478720" y="5206698"/>
              <a:ext cx="320607" cy="284616"/>
            </a:xfrm>
            <a:custGeom>
              <a:avLst/>
              <a:gdLst>
                <a:gd name="T0" fmla="*/ 226 w 694"/>
                <a:gd name="T1" fmla="*/ 29 h 646"/>
                <a:gd name="T2" fmla="*/ 223 w 694"/>
                <a:gd name="T3" fmla="*/ 79 h 646"/>
                <a:gd name="T4" fmla="*/ 171 w 694"/>
                <a:gd name="T5" fmla="*/ 50 h 646"/>
                <a:gd name="T6" fmla="*/ 146 w 694"/>
                <a:gd name="T7" fmla="*/ 110 h 646"/>
                <a:gd name="T8" fmla="*/ 65 w 694"/>
                <a:gd name="T9" fmla="*/ 185 h 646"/>
                <a:gd name="T10" fmla="*/ 62 w 694"/>
                <a:gd name="T11" fmla="*/ 253 h 646"/>
                <a:gd name="T12" fmla="*/ 28 w 694"/>
                <a:gd name="T13" fmla="*/ 295 h 646"/>
                <a:gd name="T14" fmla="*/ 23 w 694"/>
                <a:gd name="T15" fmla="*/ 337 h 646"/>
                <a:gd name="T16" fmla="*/ 0 w 694"/>
                <a:gd name="T17" fmla="*/ 386 h 646"/>
                <a:gd name="T18" fmla="*/ 58 w 694"/>
                <a:gd name="T19" fmla="*/ 506 h 646"/>
                <a:gd name="T20" fmla="*/ 58 w 694"/>
                <a:gd name="T21" fmla="*/ 598 h 646"/>
                <a:gd name="T22" fmla="*/ 72 w 694"/>
                <a:gd name="T23" fmla="*/ 646 h 646"/>
                <a:gd name="T24" fmla="*/ 131 w 694"/>
                <a:gd name="T25" fmla="*/ 609 h 646"/>
                <a:gd name="T26" fmla="*/ 220 w 694"/>
                <a:gd name="T27" fmla="*/ 620 h 646"/>
                <a:gd name="T28" fmla="*/ 253 w 694"/>
                <a:gd name="T29" fmla="*/ 580 h 646"/>
                <a:gd name="T30" fmla="*/ 278 w 694"/>
                <a:gd name="T31" fmla="*/ 521 h 646"/>
                <a:gd name="T32" fmla="*/ 352 w 694"/>
                <a:gd name="T33" fmla="*/ 396 h 646"/>
                <a:gd name="T34" fmla="*/ 367 w 694"/>
                <a:gd name="T35" fmla="*/ 455 h 646"/>
                <a:gd name="T36" fmla="*/ 430 w 694"/>
                <a:gd name="T37" fmla="*/ 521 h 646"/>
                <a:gd name="T38" fmla="*/ 463 w 694"/>
                <a:gd name="T39" fmla="*/ 595 h 646"/>
                <a:gd name="T40" fmla="*/ 523 w 694"/>
                <a:gd name="T41" fmla="*/ 537 h 646"/>
                <a:gd name="T42" fmla="*/ 606 w 694"/>
                <a:gd name="T43" fmla="*/ 454 h 646"/>
                <a:gd name="T44" fmla="*/ 694 w 694"/>
                <a:gd name="T45" fmla="*/ 383 h 646"/>
                <a:gd name="T46" fmla="*/ 680 w 694"/>
                <a:gd name="T47" fmla="*/ 339 h 646"/>
                <a:gd name="T48" fmla="*/ 666 w 694"/>
                <a:gd name="T49" fmla="*/ 302 h 646"/>
                <a:gd name="T50" fmla="*/ 668 w 694"/>
                <a:gd name="T51" fmla="*/ 285 h 646"/>
                <a:gd name="T52" fmla="*/ 656 w 694"/>
                <a:gd name="T53" fmla="*/ 269 h 646"/>
                <a:gd name="T54" fmla="*/ 637 w 694"/>
                <a:gd name="T55" fmla="*/ 200 h 646"/>
                <a:gd name="T56" fmla="*/ 609 w 694"/>
                <a:gd name="T57" fmla="*/ 142 h 646"/>
                <a:gd name="T58" fmla="*/ 538 w 694"/>
                <a:gd name="T59" fmla="*/ 108 h 646"/>
                <a:gd name="T60" fmla="*/ 510 w 694"/>
                <a:gd name="T61" fmla="*/ 125 h 646"/>
                <a:gd name="T62" fmla="*/ 437 w 694"/>
                <a:gd name="T63" fmla="*/ 68 h 646"/>
                <a:gd name="T64" fmla="*/ 394 w 694"/>
                <a:gd name="T65" fmla="*/ 52 h 646"/>
                <a:gd name="T66" fmla="*/ 336 w 694"/>
                <a:gd name="T67" fmla="*/ 68 h 646"/>
                <a:gd name="T68" fmla="*/ 234 w 694"/>
                <a:gd name="T69" fmla="*/ 0 h 64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694"/>
                <a:gd name="T106" fmla="*/ 0 h 646"/>
                <a:gd name="T107" fmla="*/ 694 w 694"/>
                <a:gd name="T108" fmla="*/ 646 h 64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694" h="646">
                  <a:moveTo>
                    <a:pt x="234" y="0"/>
                  </a:moveTo>
                  <a:lnTo>
                    <a:pt x="226" y="29"/>
                  </a:lnTo>
                  <a:lnTo>
                    <a:pt x="239" y="60"/>
                  </a:lnTo>
                  <a:lnTo>
                    <a:pt x="223" y="79"/>
                  </a:lnTo>
                  <a:lnTo>
                    <a:pt x="198" y="79"/>
                  </a:lnTo>
                  <a:lnTo>
                    <a:pt x="171" y="50"/>
                  </a:lnTo>
                  <a:lnTo>
                    <a:pt x="148" y="37"/>
                  </a:lnTo>
                  <a:lnTo>
                    <a:pt x="146" y="110"/>
                  </a:lnTo>
                  <a:lnTo>
                    <a:pt x="98" y="139"/>
                  </a:lnTo>
                  <a:lnTo>
                    <a:pt x="65" y="185"/>
                  </a:lnTo>
                  <a:lnTo>
                    <a:pt x="73" y="232"/>
                  </a:lnTo>
                  <a:lnTo>
                    <a:pt x="62" y="253"/>
                  </a:lnTo>
                  <a:lnTo>
                    <a:pt x="49" y="295"/>
                  </a:lnTo>
                  <a:lnTo>
                    <a:pt x="28" y="295"/>
                  </a:lnTo>
                  <a:lnTo>
                    <a:pt x="7" y="321"/>
                  </a:lnTo>
                  <a:lnTo>
                    <a:pt x="23" y="337"/>
                  </a:lnTo>
                  <a:lnTo>
                    <a:pt x="33" y="362"/>
                  </a:lnTo>
                  <a:lnTo>
                    <a:pt x="0" y="386"/>
                  </a:lnTo>
                  <a:lnTo>
                    <a:pt x="13" y="473"/>
                  </a:lnTo>
                  <a:lnTo>
                    <a:pt x="58" y="506"/>
                  </a:lnTo>
                  <a:lnTo>
                    <a:pt x="24" y="584"/>
                  </a:lnTo>
                  <a:lnTo>
                    <a:pt x="58" y="598"/>
                  </a:lnTo>
                  <a:lnTo>
                    <a:pt x="43" y="642"/>
                  </a:lnTo>
                  <a:lnTo>
                    <a:pt x="72" y="646"/>
                  </a:lnTo>
                  <a:lnTo>
                    <a:pt x="94" y="609"/>
                  </a:lnTo>
                  <a:lnTo>
                    <a:pt x="131" y="609"/>
                  </a:lnTo>
                  <a:lnTo>
                    <a:pt x="138" y="620"/>
                  </a:lnTo>
                  <a:lnTo>
                    <a:pt x="220" y="620"/>
                  </a:lnTo>
                  <a:lnTo>
                    <a:pt x="234" y="587"/>
                  </a:lnTo>
                  <a:lnTo>
                    <a:pt x="253" y="580"/>
                  </a:lnTo>
                  <a:lnTo>
                    <a:pt x="260" y="521"/>
                  </a:lnTo>
                  <a:lnTo>
                    <a:pt x="278" y="521"/>
                  </a:lnTo>
                  <a:lnTo>
                    <a:pt x="278" y="459"/>
                  </a:lnTo>
                  <a:lnTo>
                    <a:pt x="352" y="396"/>
                  </a:lnTo>
                  <a:lnTo>
                    <a:pt x="360" y="407"/>
                  </a:lnTo>
                  <a:lnTo>
                    <a:pt x="367" y="455"/>
                  </a:lnTo>
                  <a:lnTo>
                    <a:pt x="418" y="447"/>
                  </a:lnTo>
                  <a:lnTo>
                    <a:pt x="430" y="521"/>
                  </a:lnTo>
                  <a:lnTo>
                    <a:pt x="455" y="521"/>
                  </a:lnTo>
                  <a:lnTo>
                    <a:pt x="463" y="595"/>
                  </a:lnTo>
                  <a:lnTo>
                    <a:pt x="486" y="623"/>
                  </a:lnTo>
                  <a:lnTo>
                    <a:pt x="523" y="537"/>
                  </a:lnTo>
                  <a:lnTo>
                    <a:pt x="560" y="422"/>
                  </a:lnTo>
                  <a:lnTo>
                    <a:pt x="606" y="454"/>
                  </a:lnTo>
                  <a:lnTo>
                    <a:pt x="627" y="407"/>
                  </a:lnTo>
                  <a:lnTo>
                    <a:pt x="694" y="383"/>
                  </a:lnTo>
                  <a:lnTo>
                    <a:pt x="694" y="361"/>
                  </a:lnTo>
                  <a:lnTo>
                    <a:pt x="680" y="339"/>
                  </a:lnTo>
                  <a:lnTo>
                    <a:pt x="651" y="323"/>
                  </a:lnTo>
                  <a:lnTo>
                    <a:pt x="666" y="302"/>
                  </a:lnTo>
                  <a:lnTo>
                    <a:pt x="653" y="290"/>
                  </a:lnTo>
                  <a:lnTo>
                    <a:pt x="668" y="285"/>
                  </a:lnTo>
                  <a:lnTo>
                    <a:pt x="684" y="271"/>
                  </a:lnTo>
                  <a:lnTo>
                    <a:pt x="656" y="269"/>
                  </a:lnTo>
                  <a:lnTo>
                    <a:pt x="642" y="250"/>
                  </a:lnTo>
                  <a:lnTo>
                    <a:pt x="637" y="200"/>
                  </a:lnTo>
                  <a:lnTo>
                    <a:pt x="621" y="184"/>
                  </a:lnTo>
                  <a:lnTo>
                    <a:pt x="609" y="142"/>
                  </a:lnTo>
                  <a:lnTo>
                    <a:pt x="550" y="142"/>
                  </a:lnTo>
                  <a:lnTo>
                    <a:pt x="538" y="108"/>
                  </a:lnTo>
                  <a:lnTo>
                    <a:pt x="519" y="106"/>
                  </a:lnTo>
                  <a:lnTo>
                    <a:pt x="510" y="125"/>
                  </a:lnTo>
                  <a:lnTo>
                    <a:pt x="472" y="122"/>
                  </a:lnTo>
                  <a:lnTo>
                    <a:pt x="437" y="68"/>
                  </a:lnTo>
                  <a:lnTo>
                    <a:pt x="423" y="66"/>
                  </a:lnTo>
                  <a:lnTo>
                    <a:pt x="394" y="52"/>
                  </a:lnTo>
                  <a:lnTo>
                    <a:pt x="378" y="68"/>
                  </a:lnTo>
                  <a:lnTo>
                    <a:pt x="336" y="68"/>
                  </a:lnTo>
                  <a:lnTo>
                    <a:pt x="314" y="24"/>
                  </a:lnTo>
                  <a:lnTo>
                    <a:pt x="234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15</a:t>
              </a:r>
            </a:p>
          </p:txBody>
        </p:sp>
        <p:sp>
          <p:nvSpPr>
            <p:cNvPr id="24" name="FR-43">
              <a:extLst>
                <a:ext uri="{FF2B5EF4-FFF2-40B4-BE49-F238E27FC236}">
                  <a16:creationId xmlns:a16="http://schemas.microsoft.com/office/drawing/2014/main" id="{65ECB96D-6123-4158-8485-8BCD81080A1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723564" y="5222119"/>
              <a:ext cx="349249" cy="226900"/>
            </a:xfrm>
            <a:custGeom>
              <a:avLst/>
              <a:gdLst>
                <a:gd name="T0" fmla="*/ 112 w 756"/>
                <a:gd name="T1" fmla="*/ 10 h 515"/>
                <a:gd name="T2" fmla="*/ 83 w 756"/>
                <a:gd name="T3" fmla="*/ 29 h 515"/>
                <a:gd name="T4" fmla="*/ 11 w 756"/>
                <a:gd name="T5" fmla="*/ 57 h 515"/>
                <a:gd name="T6" fmla="*/ 8 w 756"/>
                <a:gd name="T7" fmla="*/ 73 h 515"/>
                <a:gd name="T8" fmla="*/ 79 w 756"/>
                <a:gd name="T9" fmla="*/ 107 h 515"/>
                <a:gd name="T10" fmla="*/ 107 w 756"/>
                <a:gd name="T11" fmla="*/ 165 h 515"/>
                <a:gd name="T12" fmla="*/ 126 w 756"/>
                <a:gd name="T13" fmla="*/ 234 h 515"/>
                <a:gd name="T14" fmla="*/ 138 w 756"/>
                <a:gd name="T15" fmla="*/ 250 h 515"/>
                <a:gd name="T16" fmla="*/ 136 w 756"/>
                <a:gd name="T17" fmla="*/ 267 h 515"/>
                <a:gd name="T18" fmla="*/ 150 w 756"/>
                <a:gd name="T19" fmla="*/ 304 h 515"/>
                <a:gd name="T20" fmla="*/ 164 w 756"/>
                <a:gd name="T21" fmla="*/ 348 h 515"/>
                <a:gd name="T22" fmla="*/ 217 w 756"/>
                <a:gd name="T23" fmla="*/ 466 h 515"/>
                <a:gd name="T24" fmla="*/ 290 w 756"/>
                <a:gd name="T25" fmla="*/ 414 h 515"/>
                <a:gd name="T26" fmla="*/ 326 w 756"/>
                <a:gd name="T27" fmla="*/ 450 h 515"/>
                <a:gd name="T28" fmla="*/ 435 w 756"/>
                <a:gd name="T29" fmla="*/ 515 h 515"/>
                <a:gd name="T30" fmla="*/ 540 w 756"/>
                <a:gd name="T31" fmla="*/ 406 h 515"/>
                <a:gd name="T32" fmla="*/ 623 w 756"/>
                <a:gd name="T33" fmla="*/ 341 h 515"/>
                <a:gd name="T34" fmla="*/ 668 w 756"/>
                <a:gd name="T35" fmla="*/ 289 h 515"/>
                <a:gd name="T36" fmla="*/ 699 w 756"/>
                <a:gd name="T37" fmla="*/ 270 h 515"/>
                <a:gd name="T38" fmla="*/ 704 w 756"/>
                <a:gd name="T39" fmla="*/ 210 h 515"/>
                <a:gd name="T40" fmla="*/ 756 w 756"/>
                <a:gd name="T41" fmla="*/ 132 h 515"/>
                <a:gd name="T42" fmla="*/ 681 w 756"/>
                <a:gd name="T43" fmla="*/ 96 h 515"/>
                <a:gd name="T44" fmla="*/ 602 w 756"/>
                <a:gd name="T45" fmla="*/ 10 h 515"/>
                <a:gd name="T46" fmla="*/ 516 w 756"/>
                <a:gd name="T47" fmla="*/ 59 h 515"/>
                <a:gd name="T48" fmla="*/ 453 w 756"/>
                <a:gd name="T49" fmla="*/ 52 h 515"/>
                <a:gd name="T50" fmla="*/ 397 w 756"/>
                <a:gd name="T51" fmla="*/ 19 h 515"/>
                <a:gd name="T52" fmla="*/ 343 w 756"/>
                <a:gd name="T53" fmla="*/ 45 h 515"/>
                <a:gd name="T54" fmla="*/ 310 w 756"/>
                <a:gd name="T55" fmla="*/ 62 h 515"/>
                <a:gd name="T56" fmla="*/ 267 w 756"/>
                <a:gd name="T57" fmla="*/ 19 h 515"/>
                <a:gd name="T58" fmla="*/ 227 w 756"/>
                <a:gd name="T59" fmla="*/ 3 h 515"/>
                <a:gd name="T60" fmla="*/ 166 w 756"/>
                <a:gd name="T61" fmla="*/ 17 h 515"/>
                <a:gd name="T62" fmla="*/ 136 w 756"/>
                <a:gd name="T63" fmla="*/ 12 h 515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756"/>
                <a:gd name="T97" fmla="*/ 0 h 515"/>
                <a:gd name="T98" fmla="*/ 756 w 756"/>
                <a:gd name="T99" fmla="*/ 515 h 515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756" h="515">
                  <a:moveTo>
                    <a:pt x="131" y="0"/>
                  </a:moveTo>
                  <a:lnTo>
                    <a:pt x="112" y="10"/>
                  </a:lnTo>
                  <a:lnTo>
                    <a:pt x="112" y="26"/>
                  </a:lnTo>
                  <a:lnTo>
                    <a:pt x="83" y="29"/>
                  </a:lnTo>
                  <a:lnTo>
                    <a:pt x="58" y="50"/>
                  </a:lnTo>
                  <a:lnTo>
                    <a:pt x="11" y="57"/>
                  </a:lnTo>
                  <a:lnTo>
                    <a:pt x="0" y="72"/>
                  </a:lnTo>
                  <a:lnTo>
                    <a:pt x="8" y="73"/>
                  </a:lnTo>
                  <a:lnTo>
                    <a:pt x="20" y="107"/>
                  </a:lnTo>
                  <a:lnTo>
                    <a:pt x="79" y="107"/>
                  </a:lnTo>
                  <a:lnTo>
                    <a:pt x="91" y="149"/>
                  </a:lnTo>
                  <a:lnTo>
                    <a:pt x="107" y="165"/>
                  </a:lnTo>
                  <a:lnTo>
                    <a:pt x="112" y="215"/>
                  </a:lnTo>
                  <a:lnTo>
                    <a:pt x="126" y="234"/>
                  </a:lnTo>
                  <a:lnTo>
                    <a:pt x="154" y="236"/>
                  </a:lnTo>
                  <a:lnTo>
                    <a:pt x="138" y="250"/>
                  </a:lnTo>
                  <a:lnTo>
                    <a:pt x="123" y="255"/>
                  </a:lnTo>
                  <a:lnTo>
                    <a:pt x="136" y="267"/>
                  </a:lnTo>
                  <a:lnTo>
                    <a:pt x="121" y="288"/>
                  </a:lnTo>
                  <a:lnTo>
                    <a:pt x="150" y="304"/>
                  </a:lnTo>
                  <a:lnTo>
                    <a:pt x="164" y="326"/>
                  </a:lnTo>
                  <a:lnTo>
                    <a:pt x="164" y="348"/>
                  </a:lnTo>
                  <a:lnTo>
                    <a:pt x="170" y="346"/>
                  </a:lnTo>
                  <a:lnTo>
                    <a:pt x="217" y="466"/>
                  </a:lnTo>
                  <a:lnTo>
                    <a:pt x="285" y="445"/>
                  </a:lnTo>
                  <a:lnTo>
                    <a:pt x="290" y="414"/>
                  </a:lnTo>
                  <a:lnTo>
                    <a:pt x="316" y="414"/>
                  </a:lnTo>
                  <a:lnTo>
                    <a:pt x="326" y="450"/>
                  </a:lnTo>
                  <a:lnTo>
                    <a:pt x="375" y="438"/>
                  </a:lnTo>
                  <a:lnTo>
                    <a:pt x="435" y="515"/>
                  </a:lnTo>
                  <a:lnTo>
                    <a:pt x="472" y="455"/>
                  </a:lnTo>
                  <a:lnTo>
                    <a:pt x="540" y="406"/>
                  </a:lnTo>
                  <a:lnTo>
                    <a:pt x="602" y="406"/>
                  </a:lnTo>
                  <a:lnTo>
                    <a:pt x="623" y="341"/>
                  </a:lnTo>
                  <a:lnTo>
                    <a:pt x="665" y="338"/>
                  </a:lnTo>
                  <a:lnTo>
                    <a:pt x="668" y="289"/>
                  </a:lnTo>
                  <a:lnTo>
                    <a:pt x="706" y="289"/>
                  </a:lnTo>
                  <a:lnTo>
                    <a:pt x="699" y="270"/>
                  </a:lnTo>
                  <a:lnTo>
                    <a:pt x="688" y="237"/>
                  </a:lnTo>
                  <a:lnTo>
                    <a:pt x="704" y="210"/>
                  </a:lnTo>
                  <a:lnTo>
                    <a:pt x="741" y="195"/>
                  </a:lnTo>
                  <a:lnTo>
                    <a:pt x="756" y="132"/>
                  </a:lnTo>
                  <a:lnTo>
                    <a:pt x="722" y="93"/>
                  </a:lnTo>
                  <a:lnTo>
                    <a:pt x="681" y="96"/>
                  </a:lnTo>
                  <a:lnTo>
                    <a:pt x="686" y="46"/>
                  </a:lnTo>
                  <a:lnTo>
                    <a:pt x="602" y="10"/>
                  </a:lnTo>
                  <a:lnTo>
                    <a:pt x="574" y="12"/>
                  </a:lnTo>
                  <a:lnTo>
                    <a:pt x="516" y="59"/>
                  </a:lnTo>
                  <a:lnTo>
                    <a:pt x="464" y="42"/>
                  </a:lnTo>
                  <a:lnTo>
                    <a:pt x="453" y="52"/>
                  </a:lnTo>
                  <a:lnTo>
                    <a:pt x="421" y="43"/>
                  </a:lnTo>
                  <a:lnTo>
                    <a:pt x="397" y="19"/>
                  </a:lnTo>
                  <a:lnTo>
                    <a:pt x="383" y="47"/>
                  </a:lnTo>
                  <a:lnTo>
                    <a:pt x="343" y="45"/>
                  </a:lnTo>
                  <a:lnTo>
                    <a:pt x="324" y="29"/>
                  </a:lnTo>
                  <a:lnTo>
                    <a:pt x="310" y="62"/>
                  </a:lnTo>
                  <a:lnTo>
                    <a:pt x="284" y="50"/>
                  </a:lnTo>
                  <a:lnTo>
                    <a:pt x="267" y="19"/>
                  </a:lnTo>
                  <a:lnTo>
                    <a:pt x="246" y="19"/>
                  </a:lnTo>
                  <a:lnTo>
                    <a:pt x="227" y="3"/>
                  </a:lnTo>
                  <a:lnTo>
                    <a:pt x="199" y="14"/>
                  </a:lnTo>
                  <a:lnTo>
                    <a:pt x="166" y="17"/>
                  </a:lnTo>
                  <a:lnTo>
                    <a:pt x="147" y="5"/>
                  </a:lnTo>
                  <a:lnTo>
                    <a:pt x="136" y="12"/>
                  </a:lnTo>
                  <a:lnTo>
                    <a:pt x="131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43</a:t>
              </a:r>
            </a:p>
          </p:txBody>
        </p:sp>
        <p:sp>
          <p:nvSpPr>
            <p:cNvPr id="25" name="FR-63">
              <a:extLst>
                <a:ext uri="{FF2B5EF4-FFF2-40B4-BE49-F238E27FC236}">
                  <a16:creationId xmlns:a16="http://schemas.microsoft.com/office/drawing/2014/main" id="{81F8DBAB-DC62-4474-AAD3-3B37C023AD1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556793" y="4947195"/>
              <a:ext cx="390826" cy="314575"/>
            </a:xfrm>
            <a:custGeom>
              <a:avLst/>
              <a:gdLst>
                <a:gd name="T0" fmla="*/ 207 w 846"/>
                <a:gd name="T1" fmla="*/ 40 h 714"/>
                <a:gd name="T2" fmla="*/ 176 w 846"/>
                <a:gd name="T3" fmla="*/ 28 h 714"/>
                <a:gd name="T4" fmla="*/ 159 w 846"/>
                <a:gd name="T5" fmla="*/ 54 h 714"/>
                <a:gd name="T6" fmla="*/ 122 w 846"/>
                <a:gd name="T7" fmla="*/ 103 h 714"/>
                <a:gd name="T8" fmla="*/ 86 w 846"/>
                <a:gd name="T9" fmla="*/ 134 h 714"/>
                <a:gd name="T10" fmla="*/ 117 w 846"/>
                <a:gd name="T11" fmla="*/ 209 h 714"/>
                <a:gd name="T12" fmla="*/ 78 w 846"/>
                <a:gd name="T13" fmla="*/ 269 h 714"/>
                <a:gd name="T14" fmla="*/ 0 w 846"/>
                <a:gd name="T15" fmla="*/ 313 h 714"/>
                <a:gd name="T16" fmla="*/ 65 w 846"/>
                <a:gd name="T17" fmla="*/ 397 h 714"/>
                <a:gd name="T18" fmla="*/ 47 w 846"/>
                <a:gd name="T19" fmla="*/ 472 h 714"/>
                <a:gd name="T20" fmla="*/ 62 w 846"/>
                <a:gd name="T21" fmla="*/ 527 h 714"/>
                <a:gd name="T22" fmla="*/ 65 w 846"/>
                <a:gd name="T23" fmla="*/ 589 h 714"/>
                <a:gd name="T24" fmla="*/ 167 w 846"/>
                <a:gd name="T25" fmla="*/ 657 h 714"/>
                <a:gd name="T26" fmla="*/ 225 w 846"/>
                <a:gd name="T27" fmla="*/ 641 h 714"/>
                <a:gd name="T28" fmla="*/ 268 w 846"/>
                <a:gd name="T29" fmla="*/ 657 h 714"/>
                <a:gd name="T30" fmla="*/ 341 w 846"/>
                <a:gd name="T31" fmla="*/ 714 h 714"/>
                <a:gd name="T32" fmla="*/ 361 w 846"/>
                <a:gd name="T33" fmla="*/ 696 h 714"/>
                <a:gd name="T34" fmla="*/ 419 w 846"/>
                <a:gd name="T35" fmla="*/ 674 h 714"/>
                <a:gd name="T36" fmla="*/ 473 w 846"/>
                <a:gd name="T37" fmla="*/ 650 h 714"/>
                <a:gd name="T38" fmla="*/ 492 w 846"/>
                <a:gd name="T39" fmla="*/ 624 h 714"/>
                <a:gd name="T40" fmla="*/ 508 w 846"/>
                <a:gd name="T41" fmla="*/ 629 h 714"/>
                <a:gd name="T42" fmla="*/ 560 w 846"/>
                <a:gd name="T43" fmla="*/ 638 h 714"/>
                <a:gd name="T44" fmla="*/ 607 w 846"/>
                <a:gd name="T45" fmla="*/ 643 h 714"/>
                <a:gd name="T46" fmla="*/ 645 w 846"/>
                <a:gd name="T47" fmla="*/ 674 h 714"/>
                <a:gd name="T48" fmla="*/ 685 w 846"/>
                <a:gd name="T49" fmla="*/ 653 h 714"/>
                <a:gd name="T50" fmla="*/ 744 w 846"/>
                <a:gd name="T51" fmla="*/ 671 h 714"/>
                <a:gd name="T52" fmla="*/ 782 w 846"/>
                <a:gd name="T53" fmla="*/ 667 h 714"/>
                <a:gd name="T54" fmla="*/ 825 w 846"/>
                <a:gd name="T55" fmla="*/ 666 h 714"/>
                <a:gd name="T56" fmla="*/ 797 w 846"/>
                <a:gd name="T57" fmla="*/ 628 h 714"/>
                <a:gd name="T58" fmla="*/ 823 w 846"/>
                <a:gd name="T59" fmla="*/ 496 h 714"/>
                <a:gd name="T60" fmla="*/ 727 w 846"/>
                <a:gd name="T61" fmla="*/ 384 h 714"/>
                <a:gd name="T62" fmla="*/ 703 w 846"/>
                <a:gd name="T63" fmla="*/ 285 h 714"/>
                <a:gd name="T64" fmla="*/ 685 w 846"/>
                <a:gd name="T65" fmla="*/ 228 h 714"/>
                <a:gd name="T66" fmla="*/ 649 w 846"/>
                <a:gd name="T67" fmla="*/ 203 h 714"/>
                <a:gd name="T68" fmla="*/ 598 w 846"/>
                <a:gd name="T69" fmla="*/ 176 h 714"/>
                <a:gd name="T70" fmla="*/ 562 w 846"/>
                <a:gd name="T71" fmla="*/ 136 h 714"/>
                <a:gd name="T72" fmla="*/ 508 w 846"/>
                <a:gd name="T73" fmla="*/ 143 h 714"/>
                <a:gd name="T74" fmla="*/ 449 w 846"/>
                <a:gd name="T75" fmla="*/ 139 h 714"/>
                <a:gd name="T76" fmla="*/ 303 w 846"/>
                <a:gd name="T77" fmla="*/ 89 h 714"/>
                <a:gd name="T78" fmla="*/ 270 w 846"/>
                <a:gd name="T79" fmla="*/ 40 h 714"/>
                <a:gd name="T80" fmla="*/ 282 w 846"/>
                <a:gd name="T81" fmla="*/ 0 h 714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846"/>
                <a:gd name="T124" fmla="*/ 0 h 714"/>
                <a:gd name="T125" fmla="*/ 846 w 846"/>
                <a:gd name="T126" fmla="*/ 714 h 714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846" h="714">
                  <a:moveTo>
                    <a:pt x="242" y="0"/>
                  </a:moveTo>
                  <a:lnTo>
                    <a:pt x="207" y="40"/>
                  </a:lnTo>
                  <a:lnTo>
                    <a:pt x="204" y="26"/>
                  </a:lnTo>
                  <a:lnTo>
                    <a:pt x="176" y="28"/>
                  </a:lnTo>
                  <a:lnTo>
                    <a:pt x="176" y="49"/>
                  </a:lnTo>
                  <a:lnTo>
                    <a:pt x="159" y="54"/>
                  </a:lnTo>
                  <a:lnTo>
                    <a:pt x="143" y="94"/>
                  </a:lnTo>
                  <a:lnTo>
                    <a:pt x="122" y="103"/>
                  </a:lnTo>
                  <a:lnTo>
                    <a:pt x="82" y="73"/>
                  </a:lnTo>
                  <a:lnTo>
                    <a:pt x="86" y="134"/>
                  </a:lnTo>
                  <a:lnTo>
                    <a:pt x="107" y="160"/>
                  </a:lnTo>
                  <a:lnTo>
                    <a:pt x="117" y="209"/>
                  </a:lnTo>
                  <a:lnTo>
                    <a:pt x="86" y="233"/>
                  </a:lnTo>
                  <a:lnTo>
                    <a:pt x="78" y="269"/>
                  </a:lnTo>
                  <a:lnTo>
                    <a:pt x="49" y="285"/>
                  </a:lnTo>
                  <a:lnTo>
                    <a:pt x="0" y="313"/>
                  </a:lnTo>
                  <a:lnTo>
                    <a:pt x="5" y="337"/>
                  </a:lnTo>
                  <a:lnTo>
                    <a:pt x="65" y="397"/>
                  </a:lnTo>
                  <a:lnTo>
                    <a:pt x="70" y="433"/>
                  </a:lnTo>
                  <a:lnTo>
                    <a:pt x="47" y="472"/>
                  </a:lnTo>
                  <a:lnTo>
                    <a:pt x="47" y="509"/>
                  </a:lnTo>
                  <a:lnTo>
                    <a:pt x="62" y="527"/>
                  </a:lnTo>
                  <a:lnTo>
                    <a:pt x="70" y="571"/>
                  </a:lnTo>
                  <a:lnTo>
                    <a:pt x="65" y="589"/>
                  </a:lnTo>
                  <a:lnTo>
                    <a:pt x="145" y="613"/>
                  </a:lnTo>
                  <a:lnTo>
                    <a:pt x="167" y="657"/>
                  </a:lnTo>
                  <a:lnTo>
                    <a:pt x="209" y="657"/>
                  </a:lnTo>
                  <a:lnTo>
                    <a:pt x="225" y="641"/>
                  </a:lnTo>
                  <a:lnTo>
                    <a:pt x="254" y="655"/>
                  </a:lnTo>
                  <a:lnTo>
                    <a:pt x="268" y="657"/>
                  </a:lnTo>
                  <a:lnTo>
                    <a:pt x="303" y="711"/>
                  </a:lnTo>
                  <a:lnTo>
                    <a:pt x="341" y="714"/>
                  </a:lnTo>
                  <a:lnTo>
                    <a:pt x="350" y="695"/>
                  </a:lnTo>
                  <a:lnTo>
                    <a:pt x="361" y="696"/>
                  </a:lnTo>
                  <a:lnTo>
                    <a:pt x="372" y="681"/>
                  </a:lnTo>
                  <a:lnTo>
                    <a:pt x="419" y="674"/>
                  </a:lnTo>
                  <a:lnTo>
                    <a:pt x="444" y="653"/>
                  </a:lnTo>
                  <a:lnTo>
                    <a:pt x="473" y="650"/>
                  </a:lnTo>
                  <a:lnTo>
                    <a:pt x="473" y="634"/>
                  </a:lnTo>
                  <a:lnTo>
                    <a:pt x="492" y="624"/>
                  </a:lnTo>
                  <a:lnTo>
                    <a:pt x="497" y="636"/>
                  </a:lnTo>
                  <a:lnTo>
                    <a:pt x="508" y="629"/>
                  </a:lnTo>
                  <a:lnTo>
                    <a:pt x="527" y="641"/>
                  </a:lnTo>
                  <a:lnTo>
                    <a:pt x="560" y="638"/>
                  </a:lnTo>
                  <a:lnTo>
                    <a:pt x="588" y="627"/>
                  </a:lnTo>
                  <a:lnTo>
                    <a:pt x="607" y="643"/>
                  </a:lnTo>
                  <a:lnTo>
                    <a:pt x="628" y="643"/>
                  </a:lnTo>
                  <a:lnTo>
                    <a:pt x="645" y="674"/>
                  </a:lnTo>
                  <a:lnTo>
                    <a:pt x="671" y="686"/>
                  </a:lnTo>
                  <a:lnTo>
                    <a:pt x="685" y="653"/>
                  </a:lnTo>
                  <a:lnTo>
                    <a:pt x="704" y="669"/>
                  </a:lnTo>
                  <a:lnTo>
                    <a:pt x="744" y="671"/>
                  </a:lnTo>
                  <a:lnTo>
                    <a:pt x="758" y="643"/>
                  </a:lnTo>
                  <a:lnTo>
                    <a:pt x="782" y="667"/>
                  </a:lnTo>
                  <a:lnTo>
                    <a:pt x="814" y="676"/>
                  </a:lnTo>
                  <a:lnTo>
                    <a:pt x="825" y="666"/>
                  </a:lnTo>
                  <a:lnTo>
                    <a:pt x="804" y="660"/>
                  </a:lnTo>
                  <a:lnTo>
                    <a:pt x="797" y="628"/>
                  </a:lnTo>
                  <a:lnTo>
                    <a:pt x="846" y="582"/>
                  </a:lnTo>
                  <a:lnTo>
                    <a:pt x="823" y="496"/>
                  </a:lnTo>
                  <a:lnTo>
                    <a:pt x="755" y="451"/>
                  </a:lnTo>
                  <a:lnTo>
                    <a:pt x="727" y="384"/>
                  </a:lnTo>
                  <a:lnTo>
                    <a:pt x="695" y="342"/>
                  </a:lnTo>
                  <a:lnTo>
                    <a:pt x="703" y="285"/>
                  </a:lnTo>
                  <a:lnTo>
                    <a:pt x="727" y="261"/>
                  </a:lnTo>
                  <a:lnTo>
                    <a:pt x="685" y="228"/>
                  </a:lnTo>
                  <a:lnTo>
                    <a:pt x="686" y="217"/>
                  </a:lnTo>
                  <a:lnTo>
                    <a:pt x="649" y="203"/>
                  </a:lnTo>
                  <a:lnTo>
                    <a:pt x="638" y="174"/>
                  </a:lnTo>
                  <a:lnTo>
                    <a:pt x="598" y="176"/>
                  </a:lnTo>
                  <a:lnTo>
                    <a:pt x="567" y="169"/>
                  </a:lnTo>
                  <a:lnTo>
                    <a:pt x="562" y="136"/>
                  </a:lnTo>
                  <a:lnTo>
                    <a:pt x="539" y="125"/>
                  </a:lnTo>
                  <a:lnTo>
                    <a:pt x="508" y="143"/>
                  </a:lnTo>
                  <a:lnTo>
                    <a:pt x="473" y="136"/>
                  </a:lnTo>
                  <a:lnTo>
                    <a:pt x="449" y="139"/>
                  </a:lnTo>
                  <a:lnTo>
                    <a:pt x="369" y="127"/>
                  </a:lnTo>
                  <a:lnTo>
                    <a:pt x="303" y="89"/>
                  </a:lnTo>
                  <a:lnTo>
                    <a:pt x="298" y="71"/>
                  </a:lnTo>
                  <a:lnTo>
                    <a:pt x="270" y="40"/>
                  </a:lnTo>
                  <a:lnTo>
                    <a:pt x="289" y="14"/>
                  </a:lnTo>
                  <a:lnTo>
                    <a:pt x="282" y="0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63</a:t>
              </a:r>
            </a:p>
          </p:txBody>
        </p:sp>
        <p:sp>
          <p:nvSpPr>
            <p:cNvPr id="26" name="FR-65">
              <a:extLst>
                <a:ext uri="{FF2B5EF4-FFF2-40B4-BE49-F238E27FC236}">
                  <a16:creationId xmlns:a16="http://schemas.microsoft.com/office/drawing/2014/main" id="{8054086B-623D-4B59-8B81-E44B0A044D9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854600" y="5822632"/>
              <a:ext cx="249925" cy="316338"/>
            </a:xfrm>
            <a:custGeom>
              <a:avLst/>
              <a:gdLst>
                <a:gd name="T0" fmla="*/ 138 w 541"/>
                <a:gd name="T1" fmla="*/ 14 h 718"/>
                <a:gd name="T2" fmla="*/ 187 w 541"/>
                <a:gd name="T3" fmla="*/ 87 h 718"/>
                <a:gd name="T4" fmla="*/ 179 w 541"/>
                <a:gd name="T5" fmla="*/ 144 h 718"/>
                <a:gd name="T6" fmla="*/ 184 w 541"/>
                <a:gd name="T7" fmla="*/ 225 h 718"/>
                <a:gd name="T8" fmla="*/ 72 w 541"/>
                <a:gd name="T9" fmla="*/ 379 h 718"/>
                <a:gd name="T10" fmla="*/ 74 w 541"/>
                <a:gd name="T11" fmla="*/ 426 h 718"/>
                <a:gd name="T12" fmla="*/ 25 w 541"/>
                <a:gd name="T13" fmla="*/ 504 h 718"/>
                <a:gd name="T14" fmla="*/ 0 w 541"/>
                <a:gd name="T15" fmla="*/ 573 h 718"/>
                <a:gd name="T16" fmla="*/ 51 w 541"/>
                <a:gd name="T17" fmla="*/ 596 h 718"/>
                <a:gd name="T18" fmla="*/ 108 w 541"/>
                <a:gd name="T19" fmla="*/ 666 h 718"/>
                <a:gd name="T20" fmla="*/ 184 w 541"/>
                <a:gd name="T21" fmla="*/ 700 h 718"/>
                <a:gd name="T22" fmla="*/ 306 w 541"/>
                <a:gd name="T23" fmla="*/ 705 h 718"/>
                <a:gd name="T24" fmla="*/ 374 w 541"/>
                <a:gd name="T25" fmla="*/ 687 h 718"/>
                <a:gd name="T26" fmla="*/ 447 w 541"/>
                <a:gd name="T27" fmla="*/ 701 h 718"/>
                <a:gd name="T28" fmla="*/ 470 w 541"/>
                <a:gd name="T29" fmla="*/ 561 h 718"/>
                <a:gd name="T30" fmla="*/ 510 w 541"/>
                <a:gd name="T31" fmla="*/ 556 h 718"/>
                <a:gd name="T32" fmla="*/ 541 w 541"/>
                <a:gd name="T33" fmla="*/ 511 h 718"/>
                <a:gd name="T34" fmla="*/ 515 w 541"/>
                <a:gd name="T35" fmla="*/ 450 h 718"/>
                <a:gd name="T36" fmla="*/ 501 w 541"/>
                <a:gd name="T37" fmla="*/ 436 h 718"/>
                <a:gd name="T38" fmla="*/ 451 w 541"/>
                <a:gd name="T39" fmla="*/ 374 h 718"/>
                <a:gd name="T40" fmla="*/ 477 w 541"/>
                <a:gd name="T41" fmla="*/ 313 h 718"/>
                <a:gd name="T42" fmla="*/ 508 w 541"/>
                <a:gd name="T43" fmla="*/ 285 h 718"/>
                <a:gd name="T44" fmla="*/ 539 w 541"/>
                <a:gd name="T45" fmla="*/ 239 h 718"/>
                <a:gd name="T46" fmla="*/ 428 w 541"/>
                <a:gd name="T47" fmla="*/ 214 h 718"/>
                <a:gd name="T48" fmla="*/ 385 w 541"/>
                <a:gd name="T49" fmla="*/ 195 h 718"/>
                <a:gd name="T50" fmla="*/ 345 w 541"/>
                <a:gd name="T51" fmla="*/ 174 h 718"/>
                <a:gd name="T52" fmla="*/ 300 w 541"/>
                <a:gd name="T53" fmla="*/ 184 h 718"/>
                <a:gd name="T54" fmla="*/ 270 w 541"/>
                <a:gd name="T55" fmla="*/ 144 h 718"/>
                <a:gd name="T56" fmla="*/ 284 w 541"/>
                <a:gd name="T57" fmla="*/ 111 h 718"/>
                <a:gd name="T58" fmla="*/ 263 w 541"/>
                <a:gd name="T59" fmla="*/ 66 h 718"/>
                <a:gd name="T60" fmla="*/ 202 w 541"/>
                <a:gd name="T61" fmla="*/ 44 h 718"/>
                <a:gd name="T62" fmla="*/ 164 w 541"/>
                <a:gd name="T63" fmla="*/ 0 h 71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541"/>
                <a:gd name="T97" fmla="*/ 0 h 718"/>
                <a:gd name="T98" fmla="*/ 541 w 541"/>
                <a:gd name="T99" fmla="*/ 718 h 71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541" h="718">
                  <a:moveTo>
                    <a:pt x="164" y="0"/>
                  </a:moveTo>
                  <a:lnTo>
                    <a:pt x="138" y="14"/>
                  </a:lnTo>
                  <a:lnTo>
                    <a:pt x="142" y="14"/>
                  </a:lnTo>
                  <a:lnTo>
                    <a:pt x="187" y="87"/>
                  </a:lnTo>
                  <a:lnTo>
                    <a:pt x="158" y="113"/>
                  </a:lnTo>
                  <a:lnTo>
                    <a:pt x="179" y="144"/>
                  </a:lnTo>
                  <a:lnTo>
                    <a:pt x="210" y="191"/>
                  </a:lnTo>
                  <a:lnTo>
                    <a:pt x="184" y="225"/>
                  </a:lnTo>
                  <a:lnTo>
                    <a:pt x="142" y="319"/>
                  </a:lnTo>
                  <a:lnTo>
                    <a:pt x="72" y="379"/>
                  </a:lnTo>
                  <a:lnTo>
                    <a:pt x="90" y="415"/>
                  </a:lnTo>
                  <a:lnTo>
                    <a:pt x="74" y="426"/>
                  </a:lnTo>
                  <a:lnTo>
                    <a:pt x="36" y="418"/>
                  </a:lnTo>
                  <a:lnTo>
                    <a:pt x="25" y="504"/>
                  </a:lnTo>
                  <a:lnTo>
                    <a:pt x="4" y="519"/>
                  </a:lnTo>
                  <a:lnTo>
                    <a:pt x="0" y="573"/>
                  </a:lnTo>
                  <a:lnTo>
                    <a:pt x="7" y="569"/>
                  </a:lnTo>
                  <a:lnTo>
                    <a:pt x="51" y="596"/>
                  </a:lnTo>
                  <a:lnTo>
                    <a:pt x="103" y="635"/>
                  </a:lnTo>
                  <a:lnTo>
                    <a:pt x="108" y="666"/>
                  </a:lnTo>
                  <a:lnTo>
                    <a:pt x="149" y="700"/>
                  </a:lnTo>
                  <a:lnTo>
                    <a:pt x="184" y="700"/>
                  </a:lnTo>
                  <a:lnTo>
                    <a:pt x="269" y="663"/>
                  </a:lnTo>
                  <a:lnTo>
                    <a:pt x="306" y="705"/>
                  </a:lnTo>
                  <a:lnTo>
                    <a:pt x="355" y="718"/>
                  </a:lnTo>
                  <a:lnTo>
                    <a:pt x="374" y="687"/>
                  </a:lnTo>
                  <a:lnTo>
                    <a:pt x="397" y="697"/>
                  </a:lnTo>
                  <a:lnTo>
                    <a:pt x="447" y="701"/>
                  </a:lnTo>
                  <a:lnTo>
                    <a:pt x="444" y="561"/>
                  </a:lnTo>
                  <a:lnTo>
                    <a:pt x="470" y="561"/>
                  </a:lnTo>
                  <a:lnTo>
                    <a:pt x="494" y="572"/>
                  </a:lnTo>
                  <a:lnTo>
                    <a:pt x="510" y="556"/>
                  </a:lnTo>
                  <a:lnTo>
                    <a:pt x="508" y="530"/>
                  </a:lnTo>
                  <a:lnTo>
                    <a:pt x="541" y="511"/>
                  </a:lnTo>
                  <a:lnTo>
                    <a:pt x="529" y="462"/>
                  </a:lnTo>
                  <a:lnTo>
                    <a:pt x="515" y="450"/>
                  </a:lnTo>
                  <a:lnTo>
                    <a:pt x="487" y="459"/>
                  </a:lnTo>
                  <a:lnTo>
                    <a:pt x="501" y="436"/>
                  </a:lnTo>
                  <a:lnTo>
                    <a:pt x="494" y="405"/>
                  </a:lnTo>
                  <a:lnTo>
                    <a:pt x="451" y="374"/>
                  </a:lnTo>
                  <a:lnTo>
                    <a:pt x="454" y="353"/>
                  </a:lnTo>
                  <a:lnTo>
                    <a:pt x="477" y="313"/>
                  </a:lnTo>
                  <a:lnTo>
                    <a:pt x="508" y="301"/>
                  </a:lnTo>
                  <a:lnTo>
                    <a:pt x="508" y="285"/>
                  </a:lnTo>
                  <a:lnTo>
                    <a:pt x="527" y="256"/>
                  </a:lnTo>
                  <a:lnTo>
                    <a:pt x="539" y="239"/>
                  </a:lnTo>
                  <a:lnTo>
                    <a:pt x="492" y="214"/>
                  </a:lnTo>
                  <a:lnTo>
                    <a:pt x="428" y="214"/>
                  </a:lnTo>
                  <a:lnTo>
                    <a:pt x="418" y="195"/>
                  </a:lnTo>
                  <a:lnTo>
                    <a:pt x="385" y="195"/>
                  </a:lnTo>
                  <a:lnTo>
                    <a:pt x="376" y="174"/>
                  </a:lnTo>
                  <a:lnTo>
                    <a:pt x="345" y="174"/>
                  </a:lnTo>
                  <a:lnTo>
                    <a:pt x="336" y="184"/>
                  </a:lnTo>
                  <a:lnTo>
                    <a:pt x="300" y="184"/>
                  </a:lnTo>
                  <a:lnTo>
                    <a:pt x="298" y="162"/>
                  </a:lnTo>
                  <a:lnTo>
                    <a:pt x="270" y="144"/>
                  </a:lnTo>
                  <a:lnTo>
                    <a:pt x="279" y="134"/>
                  </a:lnTo>
                  <a:lnTo>
                    <a:pt x="284" y="111"/>
                  </a:lnTo>
                  <a:lnTo>
                    <a:pt x="277" y="104"/>
                  </a:lnTo>
                  <a:lnTo>
                    <a:pt x="263" y="66"/>
                  </a:lnTo>
                  <a:lnTo>
                    <a:pt x="232" y="61"/>
                  </a:lnTo>
                  <a:lnTo>
                    <a:pt x="202" y="44"/>
                  </a:lnTo>
                  <a:lnTo>
                    <a:pt x="204" y="0"/>
                  </a:lnTo>
                  <a:lnTo>
                    <a:pt x="164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65</a:t>
              </a:r>
            </a:p>
          </p:txBody>
        </p:sp>
        <p:sp>
          <p:nvSpPr>
            <p:cNvPr id="27" name="FR-64">
              <a:extLst>
                <a:ext uri="{FF2B5EF4-FFF2-40B4-BE49-F238E27FC236}">
                  <a16:creationId xmlns:a16="http://schemas.microsoft.com/office/drawing/2014/main" id="{78429899-B57F-4264-AB26-CBD5B3BDAB8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486873" y="5824394"/>
              <a:ext cx="464741" cy="270958"/>
            </a:xfrm>
            <a:custGeom>
              <a:avLst/>
              <a:gdLst>
                <a:gd name="T0" fmla="*/ 828 w 1006"/>
                <a:gd name="T1" fmla="*/ 22 h 615"/>
                <a:gd name="T2" fmla="*/ 745 w 1006"/>
                <a:gd name="T3" fmla="*/ 7 h 615"/>
                <a:gd name="T4" fmla="*/ 658 w 1006"/>
                <a:gd name="T5" fmla="*/ 36 h 615"/>
                <a:gd name="T6" fmla="*/ 599 w 1006"/>
                <a:gd name="T7" fmla="*/ 24 h 615"/>
                <a:gd name="T8" fmla="*/ 552 w 1006"/>
                <a:gd name="T9" fmla="*/ 12 h 615"/>
                <a:gd name="T10" fmla="*/ 467 w 1006"/>
                <a:gd name="T11" fmla="*/ 22 h 615"/>
                <a:gd name="T12" fmla="*/ 375 w 1006"/>
                <a:gd name="T13" fmla="*/ 43 h 615"/>
                <a:gd name="T14" fmla="*/ 349 w 1006"/>
                <a:gd name="T15" fmla="*/ 55 h 615"/>
                <a:gd name="T16" fmla="*/ 335 w 1006"/>
                <a:gd name="T17" fmla="*/ 10 h 615"/>
                <a:gd name="T18" fmla="*/ 227 w 1006"/>
                <a:gd name="T19" fmla="*/ 50 h 615"/>
                <a:gd name="T20" fmla="*/ 141 w 1006"/>
                <a:gd name="T21" fmla="*/ 32 h 615"/>
                <a:gd name="T22" fmla="*/ 34 w 1006"/>
                <a:gd name="T23" fmla="*/ 123 h 615"/>
                <a:gd name="T24" fmla="*/ 0 w 1006"/>
                <a:gd name="T25" fmla="*/ 157 h 615"/>
                <a:gd name="T26" fmla="*/ 78 w 1006"/>
                <a:gd name="T27" fmla="*/ 188 h 615"/>
                <a:gd name="T28" fmla="*/ 118 w 1006"/>
                <a:gd name="T29" fmla="*/ 225 h 615"/>
                <a:gd name="T30" fmla="*/ 178 w 1006"/>
                <a:gd name="T31" fmla="*/ 222 h 615"/>
                <a:gd name="T32" fmla="*/ 216 w 1006"/>
                <a:gd name="T33" fmla="*/ 261 h 615"/>
                <a:gd name="T34" fmla="*/ 198 w 1006"/>
                <a:gd name="T35" fmla="*/ 326 h 615"/>
                <a:gd name="T36" fmla="*/ 159 w 1006"/>
                <a:gd name="T37" fmla="*/ 367 h 615"/>
                <a:gd name="T38" fmla="*/ 224 w 1006"/>
                <a:gd name="T39" fmla="*/ 407 h 615"/>
                <a:gd name="T40" fmla="*/ 255 w 1006"/>
                <a:gd name="T41" fmla="*/ 342 h 615"/>
                <a:gd name="T42" fmla="*/ 271 w 1006"/>
                <a:gd name="T43" fmla="*/ 402 h 615"/>
                <a:gd name="T44" fmla="*/ 339 w 1006"/>
                <a:gd name="T45" fmla="*/ 430 h 615"/>
                <a:gd name="T46" fmla="*/ 461 w 1006"/>
                <a:gd name="T47" fmla="*/ 477 h 615"/>
                <a:gd name="T48" fmla="*/ 565 w 1006"/>
                <a:gd name="T49" fmla="*/ 532 h 615"/>
                <a:gd name="T50" fmla="*/ 659 w 1006"/>
                <a:gd name="T51" fmla="*/ 615 h 615"/>
                <a:gd name="T52" fmla="*/ 714 w 1006"/>
                <a:gd name="T53" fmla="*/ 594 h 615"/>
                <a:gd name="T54" fmla="*/ 750 w 1006"/>
                <a:gd name="T55" fmla="*/ 594 h 615"/>
                <a:gd name="T56" fmla="*/ 800 w 1006"/>
                <a:gd name="T57" fmla="*/ 515 h 615"/>
                <a:gd name="T58" fmla="*/ 832 w 1006"/>
                <a:gd name="T59" fmla="*/ 414 h 615"/>
                <a:gd name="T60" fmla="*/ 886 w 1006"/>
                <a:gd name="T61" fmla="*/ 411 h 615"/>
                <a:gd name="T62" fmla="*/ 938 w 1006"/>
                <a:gd name="T63" fmla="*/ 315 h 615"/>
                <a:gd name="T64" fmla="*/ 1006 w 1006"/>
                <a:gd name="T65" fmla="*/ 187 h 615"/>
                <a:gd name="T66" fmla="*/ 954 w 1006"/>
                <a:gd name="T67" fmla="*/ 109 h 615"/>
                <a:gd name="T68" fmla="*/ 938 w 1006"/>
                <a:gd name="T69" fmla="*/ 10 h 615"/>
                <a:gd name="T70" fmla="*/ 865 w 1006"/>
                <a:gd name="T71" fmla="*/ 0 h 61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006"/>
                <a:gd name="T109" fmla="*/ 0 h 615"/>
                <a:gd name="T110" fmla="*/ 1006 w 1006"/>
                <a:gd name="T111" fmla="*/ 615 h 615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006" h="615">
                  <a:moveTo>
                    <a:pt x="865" y="0"/>
                  </a:moveTo>
                  <a:lnTo>
                    <a:pt x="828" y="22"/>
                  </a:lnTo>
                  <a:lnTo>
                    <a:pt x="753" y="19"/>
                  </a:lnTo>
                  <a:lnTo>
                    <a:pt x="745" y="7"/>
                  </a:lnTo>
                  <a:lnTo>
                    <a:pt x="696" y="24"/>
                  </a:lnTo>
                  <a:lnTo>
                    <a:pt x="658" y="36"/>
                  </a:lnTo>
                  <a:lnTo>
                    <a:pt x="630" y="15"/>
                  </a:lnTo>
                  <a:lnTo>
                    <a:pt x="599" y="24"/>
                  </a:lnTo>
                  <a:lnTo>
                    <a:pt x="590" y="12"/>
                  </a:lnTo>
                  <a:lnTo>
                    <a:pt x="552" y="12"/>
                  </a:lnTo>
                  <a:lnTo>
                    <a:pt x="528" y="24"/>
                  </a:lnTo>
                  <a:lnTo>
                    <a:pt x="467" y="22"/>
                  </a:lnTo>
                  <a:lnTo>
                    <a:pt x="434" y="47"/>
                  </a:lnTo>
                  <a:lnTo>
                    <a:pt x="375" y="43"/>
                  </a:lnTo>
                  <a:lnTo>
                    <a:pt x="363" y="60"/>
                  </a:lnTo>
                  <a:lnTo>
                    <a:pt x="349" y="55"/>
                  </a:lnTo>
                  <a:lnTo>
                    <a:pt x="368" y="36"/>
                  </a:lnTo>
                  <a:lnTo>
                    <a:pt x="335" y="10"/>
                  </a:lnTo>
                  <a:lnTo>
                    <a:pt x="295" y="45"/>
                  </a:lnTo>
                  <a:lnTo>
                    <a:pt x="227" y="50"/>
                  </a:lnTo>
                  <a:lnTo>
                    <a:pt x="152" y="12"/>
                  </a:lnTo>
                  <a:lnTo>
                    <a:pt x="141" y="32"/>
                  </a:lnTo>
                  <a:lnTo>
                    <a:pt x="81" y="105"/>
                  </a:lnTo>
                  <a:lnTo>
                    <a:pt x="34" y="123"/>
                  </a:lnTo>
                  <a:lnTo>
                    <a:pt x="0" y="128"/>
                  </a:lnTo>
                  <a:lnTo>
                    <a:pt x="0" y="157"/>
                  </a:lnTo>
                  <a:lnTo>
                    <a:pt x="32" y="185"/>
                  </a:lnTo>
                  <a:lnTo>
                    <a:pt x="78" y="188"/>
                  </a:lnTo>
                  <a:lnTo>
                    <a:pt x="81" y="222"/>
                  </a:lnTo>
                  <a:lnTo>
                    <a:pt x="118" y="225"/>
                  </a:lnTo>
                  <a:lnTo>
                    <a:pt x="128" y="201"/>
                  </a:lnTo>
                  <a:lnTo>
                    <a:pt x="178" y="222"/>
                  </a:lnTo>
                  <a:lnTo>
                    <a:pt x="209" y="230"/>
                  </a:lnTo>
                  <a:lnTo>
                    <a:pt x="216" y="261"/>
                  </a:lnTo>
                  <a:lnTo>
                    <a:pt x="198" y="277"/>
                  </a:lnTo>
                  <a:lnTo>
                    <a:pt x="198" y="326"/>
                  </a:lnTo>
                  <a:lnTo>
                    <a:pt x="162" y="344"/>
                  </a:lnTo>
                  <a:lnTo>
                    <a:pt x="159" y="367"/>
                  </a:lnTo>
                  <a:lnTo>
                    <a:pt x="183" y="394"/>
                  </a:lnTo>
                  <a:lnTo>
                    <a:pt x="224" y="407"/>
                  </a:lnTo>
                  <a:lnTo>
                    <a:pt x="232" y="367"/>
                  </a:lnTo>
                  <a:lnTo>
                    <a:pt x="255" y="342"/>
                  </a:lnTo>
                  <a:lnTo>
                    <a:pt x="253" y="375"/>
                  </a:lnTo>
                  <a:lnTo>
                    <a:pt x="271" y="402"/>
                  </a:lnTo>
                  <a:lnTo>
                    <a:pt x="318" y="402"/>
                  </a:lnTo>
                  <a:lnTo>
                    <a:pt x="339" y="430"/>
                  </a:lnTo>
                  <a:lnTo>
                    <a:pt x="401" y="440"/>
                  </a:lnTo>
                  <a:lnTo>
                    <a:pt x="461" y="477"/>
                  </a:lnTo>
                  <a:lnTo>
                    <a:pt x="560" y="477"/>
                  </a:lnTo>
                  <a:lnTo>
                    <a:pt x="565" y="532"/>
                  </a:lnTo>
                  <a:lnTo>
                    <a:pt x="633" y="584"/>
                  </a:lnTo>
                  <a:lnTo>
                    <a:pt x="659" y="615"/>
                  </a:lnTo>
                  <a:lnTo>
                    <a:pt x="688" y="600"/>
                  </a:lnTo>
                  <a:lnTo>
                    <a:pt x="714" y="594"/>
                  </a:lnTo>
                  <a:lnTo>
                    <a:pt x="727" y="607"/>
                  </a:lnTo>
                  <a:lnTo>
                    <a:pt x="750" y="594"/>
                  </a:lnTo>
                  <a:lnTo>
                    <a:pt x="796" y="569"/>
                  </a:lnTo>
                  <a:lnTo>
                    <a:pt x="800" y="515"/>
                  </a:lnTo>
                  <a:lnTo>
                    <a:pt x="821" y="500"/>
                  </a:lnTo>
                  <a:lnTo>
                    <a:pt x="832" y="414"/>
                  </a:lnTo>
                  <a:lnTo>
                    <a:pt x="870" y="422"/>
                  </a:lnTo>
                  <a:lnTo>
                    <a:pt x="886" y="411"/>
                  </a:lnTo>
                  <a:lnTo>
                    <a:pt x="868" y="375"/>
                  </a:lnTo>
                  <a:lnTo>
                    <a:pt x="938" y="315"/>
                  </a:lnTo>
                  <a:lnTo>
                    <a:pt x="980" y="221"/>
                  </a:lnTo>
                  <a:lnTo>
                    <a:pt x="1006" y="187"/>
                  </a:lnTo>
                  <a:lnTo>
                    <a:pt x="975" y="140"/>
                  </a:lnTo>
                  <a:lnTo>
                    <a:pt x="954" y="109"/>
                  </a:lnTo>
                  <a:lnTo>
                    <a:pt x="983" y="83"/>
                  </a:lnTo>
                  <a:lnTo>
                    <a:pt x="938" y="10"/>
                  </a:lnTo>
                  <a:lnTo>
                    <a:pt x="868" y="5"/>
                  </a:lnTo>
                  <a:lnTo>
                    <a:pt x="865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64</a:t>
              </a:r>
            </a:p>
          </p:txBody>
        </p:sp>
        <p:sp>
          <p:nvSpPr>
            <p:cNvPr id="28" name="FR-40">
              <a:extLst>
                <a:ext uri="{FF2B5EF4-FFF2-40B4-BE49-F238E27FC236}">
                  <a16:creationId xmlns:a16="http://schemas.microsoft.com/office/drawing/2014/main" id="{2837D9C0-4223-4EBB-861C-A26063E1974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557092" y="5504972"/>
              <a:ext cx="428708" cy="345857"/>
            </a:xfrm>
            <a:custGeom>
              <a:avLst/>
              <a:gdLst>
                <a:gd name="T0" fmla="*/ 200 w 928"/>
                <a:gd name="T1" fmla="*/ 42 h 785"/>
                <a:gd name="T2" fmla="*/ 132 w 928"/>
                <a:gd name="T3" fmla="*/ 290 h 785"/>
                <a:gd name="T4" fmla="*/ 54 w 928"/>
                <a:gd name="T5" fmla="*/ 608 h 785"/>
                <a:gd name="T6" fmla="*/ 0 w 928"/>
                <a:gd name="T7" fmla="*/ 737 h 785"/>
                <a:gd name="T8" fmla="*/ 143 w 928"/>
                <a:gd name="T9" fmla="*/ 770 h 785"/>
                <a:gd name="T10" fmla="*/ 216 w 928"/>
                <a:gd name="T11" fmla="*/ 761 h 785"/>
                <a:gd name="T12" fmla="*/ 211 w 928"/>
                <a:gd name="T13" fmla="*/ 785 h 785"/>
                <a:gd name="T14" fmla="*/ 282 w 928"/>
                <a:gd name="T15" fmla="*/ 772 h 785"/>
                <a:gd name="T16" fmla="*/ 376 w 928"/>
                <a:gd name="T17" fmla="*/ 749 h 785"/>
                <a:gd name="T18" fmla="*/ 438 w 928"/>
                <a:gd name="T19" fmla="*/ 737 h 785"/>
                <a:gd name="T20" fmla="*/ 478 w 928"/>
                <a:gd name="T21" fmla="*/ 740 h 785"/>
                <a:gd name="T22" fmla="*/ 544 w 928"/>
                <a:gd name="T23" fmla="*/ 749 h 785"/>
                <a:gd name="T24" fmla="*/ 601 w 928"/>
                <a:gd name="T25" fmla="*/ 744 h 785"/>
                <a:gd name="T26" fmla="*/ 713 w 928"/>
                <a:gd name="T27" fmla="*/ 725 h 785"/>
                <a:gd name="T28" fmla="*/ 713 w 928"/>
                <a:gd name="T29" fmla="*/ 644 h 785"/>
                <a:gd name="T30" fmla="*/ 731 w 928"/>
                <a:gd name="T31" fmla="*/ 566 h 785"/>
                <a:gd name="T32" fmla="*/ 721 w 928"/>
                <a:gd name="T33" fmla="*/ 493 h 785"/>
                <a:gd name="T34" fmla="*/ 776 w 928"/>
                <a:gd name="T35" fmla="*/ 456 h 785"/>
                <a:gd name="T36" fmla="*/ 838 w 928"/>
                <a:gd name="T37" fmla="*/ 435 h 785"/>
                <a:gd name="T38" fmla="*/ 864 w 928"/>
                <a:gd name="T39" fmla="*/ 493 h 785"/>
                <a:gd name="T40" fmla="*/ 891 w 928"/>
                <a:gd name="T41" fmla="*/ 451 h 785"/>
                <a:gd name="T42" fmla="*/ 893 w 928"/>
                <a:gd name="T43" fmla="*/ 417 h 785"/>
                <a:gd name="T44" fmla="*/ 928 w 928"/>
                <a:gd name="T45" fmla="*/ 337 h 785"/>
                <a:gd name="T46" fmla="*/ 883 w 928"/>
                <a:gd name="T47" fmla="*/ 317 h 785"/>
                <a:gd name="T48" fmla="*/ 796 w 928"/>
                <a:gd name="T49" fmla="*/ 308 h 785"/>
                <a:gd name="T50" fmla="*/ 753 w 928"/>
                <a:gd name="T51" fmla="*/ 212 h 785"/>
                <a:gd name="T52" fmla="*/ 744 w 928"/>
                <a:gd name="T53" fmla="*/ 254 h 785"/>
                <a:gd name="T54" fmla="*/ 699 w 928"/>
                <a:gd name="T55" fmla="*/ 270 h 785"/>
                <a:gd name="T56" fmla="*/ 643 w 928"/>
                <a:gd name="T57" fmla="*/ 195 h 785"/>
                <a:gd name="T58" fmla="*/ 586 w 928"/>
                <a:gd name="T59" fmla="*/ 157 h 785"/>
                <a:gd name="T60" fmla="*/ 558 w 928"/>
                <a:gd name="T61" fmla="*/ 120 h 785"/>
                <a:gd name="T62" fmla="*/ 527 w 928"/>
                <a:gd name="T63" fmla="*/ 94 h 785"/>
                <a:gd name="T64" fmla="*/ 513 w 928"/>
                <a:gd name="T65" fmla="*/ 68 h 785"/>
                <a:gd name="T66" fmla="*/ 449 w 928"/>
                <a:gd name="T67" fmla="*/ 61 h 785"/>
                <a:gd name="T68" fmla="*/ 402 w 928"/>
                <a:gd name="T69" fmla="*/ 87 h 785"/>
                <a:gd name="T70" fmla="*/ 327 w 928"/>
                <a:gd name="T71" fmla="*/ 84 h 785"/>
                <a:gd name="T72" fmla="*/ 325 w 928"/>
                <a:gd name="T73" fmla="*/ 47 h 785"/>
                <a:gd name="T74" fmla="*/ 282 w 928"/>
                <a:gd name="T75" fmla="*/ 0 h 78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928"/>
                <a:gd name="T115" fmla="*/ 0 h 785"/>
                <a:gd name="T116" fmla="*/ 928 w 928"/>
                <a:gd name="T117" fmla="*/ 785 h 785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928" h="785">
                  <a:moveTo>
                    <a:pt x="282" y="0"/>
                  </a:moveTo>
                  <a:lnTo>
                    <a:pt x="200" y="42"/>
                  </a:lnTo>
                  <a:lnTo>
                    <a:pt x="178" y="43"/>
                  </a:lnTo>
                  <a:lnTo>
                    <a:pt x="132" y="290"/>
                  </a:lnTo>
                  <a:lnTo>
                    <a:pt x="72" y="520"/>
                  </a:lnTo>
                  <a:lnTo>
                    <a:pt x="54" y="608"/>
                  </a:lnTo>
                  <a:lnTo>
                    <a:pt x="38" y="671"/>
                  </a:lnTo>
                  <a:lnTo>
                    <a:pt x="0" y="737"/>
                  </a:lnTo>
                  <a:lnTo>
                    <a:pt x="75" y="775"/>
                  </a:lnTo>
                  <a:lnTo>
                    <a:pt x="143" y="770"/>
                  </a:lnTo>
                  <a:lnTo>
                    <a:pt x="183" y="735"/>
                  </a:lnTo>
                  <a:lnTo>
                    <a:pt x="216" y="761"/>
                  </a:lnTo>
                  <a:lnTo>
                    <a:pt x="197" y="780"/>
                  </a:lnTo>
                  <a:lnTo>
                    <a:pt x="211" y="785"/>
                  </a:lnTo>
                  <a:lnTo>
                    <a:pt x="223" y="768"/>
                  </a:lnTo>
                  <a:lnTo>
                    <a:pt x="282" y="772"/>
                  </a:lnTo>
                  <a:lnTo>
                    <a:pt x="315" y="747"/>
                  </a:lnTo>
                  <a:lnTo>
                    <a:pt x="376" y="749"/>
                  </a:lnTo>
                  <a:lnTo>
                    <a:pt x="400" y="737"/>
                  </a:lnTo>
                  <a:lnTo>
                    <a:pt x="438" y="737"/>
                  </a:lnTo>
                  <a:lnTo>
                    <a:pt x="447" y="749"/>
                  </a:lnTo>
                  <a:lnTo>
                    <a:pt x="478" y="740"/>
                  </a:lnTo>
                  <a:lnTo>
                    <a:pt x="506" y="761"/>
                  </a:lnTo>
                  <a:lnTo>
                    <a:pt x="544" y="749"/>
                  </a:lnTo>
                  <a:lnTo>
                    <a:pt x="593" y="732"/>
                  </a:lnTo>
                  <a:lnTo>
                    <a:pt x="601" y="744"/>
                  </a:lnTo>
                  <a:lnTo>
                    <a:pt x="676" y="747"/>
                  </a:lnTo>
                  <a:lnTo>
                    <a:pt x="713" y="725"/>
                  </a:lnTo>
                  <a:lnTo>
                    <a:pt x="695" y="693"/>
                  </a:lnTo>
                  <a:lnTo>
                    <a:pt x="713" y="644"/>
                  </a:lnTo>
                  <a:lnTo>
                    <a:pt x="739" y="610"/>
                  </a:lnTo>
                  <a:lnTo>
                    <a:pt x="731" y="566"/>
                  </a:lnTo>
                  <a:lnTo>
                    <a:pt x="752" y="545"/>
                  </a:lnTo>
                  <a:lnTo>
                    <a:pt x="721" y="493"/>
                  </a:lnTo>
                  <a:lnTo>
                    <a:pt x="747" y="462"/>
                  </a:lnTo>
                  <a:lnTo>
                    <a:pt x="776" y="456"/>
                  </a:lnTo>
                  <a:lnTo>
                    <a:pt x="802" y="467"/>
                  </a:lnTo>
                  <a:lnTo>
                    <a:pt x="838" y="435"/>
                  </a:lnTo>
                  <a:lnTo>
                    <a:pt x="851" y="475"/>
                  </a:lnTo>
                  <a:lnTo>
                    <a:pt x="864" y="493"/>
                  </a:lnTo>
                  <a:lnTo>
                    <a:pt x="893" y="485"/>
                  </a:lnTo>
                  <a:lnTo>
                    <a:pt x="891" y="451"/>
                  </a:lnTo>
                  <a:lnTo>
                    <a:pt x="899" y="433"/>
                  </a:lnTo>
                  <a:lnTo>
                    <a:pt x="893" y="417"/>
                  </a:lnTo>
                  <a:lnTo>
                    <a:pt x="900" y="365"/>
                  </a:lnTo>
                  <a:lnTo>
                    <a:pt x="928" y="337"/>
                  </a:lnTo>
                  <a:lnTo>
                    <a:pt x="914" y="320"/>
                  </a:lnTo>
                  <a:lnTo>
                    <a:pt x="883" y="317"/>
                  </a:lnTo>
                  <a:lnTo>
                    <a:pt x="848" y="304"/>
                  </a:lnTo>
                  <a:lnTo>
                    <a:pt x="796" y="308"/>
                  </a:lnTo>
                  <a:lnTo>
                    <a:pt x="786" y="252"/>
                  </a:lnTo>
                  <a:lnTo>
                    <a:pt x="753" y="212"/>
                  </a:lnTo>
                  <a:lnTo>
                    <a:pt x="739" y="207"/>
                  </a:lnTo>
                  <a:lnTo>
                    <a:pt x="744" y="254"/>
                  </a:lnTo>
                  <a:lnTo>
                    <a:pt x="744" y="268"/>
                  </a:lnTo>
                  <a:lnTo>
                    <a:pt x="699" y="270"/>
                  </a:lnTo>
                  <a:lnTo>
                    <a:pt x="652" y="254"/>
                  </a:lnTo>
                  <a:lnTo>
                    <a:pt x="643" y="195"/>
                  </a:lnTo>
                  <a:lnTo>
                    <a:pt x="610" y="160"/>
                  </a:lnTo>
                  <a:lnTo>
                    <a:pt x="586" y="157"/>
                  </a:lnTo>
                  <a:lnTo>
                    <a:pt x="584" y="136"/>
                  </a:lnTo>
                  <a:lnTo>
                    <a:pt x="558" y="120"/>
                  </a:lnTo>
                  <a:lnTo>
                    <a:pt x="516" y="108"/>
                  </a:lnTo>
                  <a:lnTo>
                    <a:pt x="527" y="94"/>
                  </a:lnTo>
                  <a:lnTo>
                    <a:pt x="527" y="80"/>
                  </a:lnTo>
                  <a:lnTo>
                    <a:pt x="513" y="68"/>
                  </a:lnTo>
                  <a:lnTo>
                    <a:pt x="497" y="54"/>
                  </a:lnTo>
                  <a:lnTo>
                    <a:pt x="449" y="61"/>
                  </a:lnTo>
                  <a:lnTo>
                    <a:pt x="421" y="84"/>
                  </a:lnTo>
                  <a:lnTo>
                    <a:pt x="402" y="87"/>
                  </a:lnTo>
                  <a:lnTo>
                    <a:pt x="372" y="65"/>
                  </a:lnTo>
                  <a:lnTo>
                    <a:pt x="327" y="84"/>
                  </a:lnTo>
                  <a:lnTo>
                    <a:pt x="306" y="70"/>
                  </a:lnTo>
                  <a:lnTo>
                    <a:pt x="325" y="47"/>
                  </a:lnTo>
                  <a:lnTo>
                    <a:pt x="327" y="16"/>
                  </a:lnTo>
                  <a:lnTo>
                    <a:pt x="282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40</a:t>
              </a:r>
            </a:p>
          </p:txBody>
        </p:sp>
        <p:sp>
          <p:nvSpPr>
            <p:cNvPr id="29" name="FR-33">
              <a:extLst>
                <a:ext uri="{FF2B5EF4-FFF2-40B4-BE49-F238E27FC236}">
                  <a16:creationId xmlns:a16="http://schemas.microsoft.com/office/drawing/2014/main" id="{D1913B58-F206-403D-8B8F-3EEC6C69A81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639322" y="5156913"/>
              <a:ext cx="399604" cy="467017"/>
            </a:xfrm>
            <a:custGeom>
              <a:avLst/>
              <a:gdLst>
                <a:gd name="T0" fmla="*/ 82 w 865"/>
                <a:gd name="T1" fmla="*/ 62 h 1060"/>
                <a:gd name="T2" fmla="*/ 35 w 865"/>
                <a:gd name="T3" fmla="*/ 502 h 1060"/>
                <a:gd name="T4" fmla="*/ 9 w 865"/>
                <a:gd name="T5" fmla="*/ 719 h 1060"/>
                <a:gd name="T6" fmla="*/ 63 w 865"/>
                <a:gd name="T7" fmla="*/ 612 h 1060"/>
                <a:gd name="T8" fmla="*/ 121 w 865"/>
                <a:gd name="T9" fmla="*/ 674 h 1060"/>
                <a:gd name="T10" fmla="*/ 71 w 865"/>
                <a:gd name="T11" fmla="*/ 698 h 1060"/>
                <a:gd name="T12" fmla="*/ 35 w 865"/>
                <a:gd name="T13" fmla="*/ 692 h 1060"/>
                <a:gd name="T14" fmla="*/ 1 w 865"/>
                <a:gd name="T15" fmla="*/ 771 h 1060"/>
                <a:gd name="T16" fmla="*/ 0 w 865"/>
                <a:gd name="T17" fmla="*/ 833 h 1060"/>
                <a:gd name="T18" fmla="*/ 104 w 865"/>
                <a:gd name="T19" fmla="*/ 790 h 1060"/>
                <a:gd name="T20" fmla="*/ 147 w 865"/>
                <a:gd name="T21" fmla="*/ 837 h 1060"/>
                <a:gd name="T22" fmla="*/ 149 w 865"/>
                <a:gd name="T23" fmla="*/ 874 h 1060"/>
                <a:gd name="T24" fmla="*/ 224 w 865"/>
                <a:gd name="T25" fmla="*/ 877 h 1060"/>
                <a:gd name="T26" fmla="*/ 271 w 865"/>
                <a:gd name="T27" fmla="*/ 851 h 1060"/>
                <a:gd name="T28" fmla="*/ 335 w 865"/>
                <a:gd name="T29" fmla="*/ 858 h 1060"/>
                <a:gd name="T30" fmla="*/ 349 w 865"/>
                <a:gd name="T31" fmla="*/ 884 h 1060"/>
                <a:gd name="T32" fmla="*/ 380 w 865"/>
                <a:gd name="T33" fmla="*/ 910 h 1060"/>
                <a:gd name="T34" fmla="*/ 408 w 865"/>
                <a:gd name="T35" fmla="*/ 947 h 1060"/>
                <a:gd name="T36" fmla="*/ 465 w 865"/>
                <a:gd name="T37" fmla="*/ 985 h 1060"/>
                <a:gd name="T38" fmla="*/ 521 w 865"/>
                <a:gd name="T39" fmla="*/ 1060 h 1060"/>
                <a:gd name="T40" fmla="*/ 566 w 865"/>
                <a:gd name="T41" fmla="*/ 1044 h 1060"/>
                <a:gd name="T42" fmla="*/ 575 w 865"/>
                <a:gd name="T43" fmla="*/ 1002 h 1060"/>
                <a:gd name="T44" fmla="*/ 644 w 865"/>
                <a:gd name="T45" fmla="*/ 1027 h 1060"/>
                <a:gd name="T46" fmla="*/ 660 w 865"/>
                <a:gd name="T47" fmla="*/ 983 h 1060"/>
                <a:gd name="T48" fmla="*/ 649 w 865"/>
                <a:gd name="T49" fmla="*/ 942 h 1060"/>
                <a:gd name="T50" fmla="*/ 700 w 865"/>
                <a:gd name="T51" fmla="*/ 926 h 1060"/>
                <a:gd name="T52" fmla="*/ 682 w 865"/>
                <a:gd name="T53" fmla="*/ 867 h 1060"/>
                <a:gd name="T54" fmla="*/ 740 w 865"/>
                <a:gd name="T55" fmla="*/ 773 h 1060"/>
                <a:gd name="T56" fmla="*/ 785 w 865"/>
                <a:gd name="T57" fmla="*/ 737 h 1060"/>
                <a:gd name="T58" fmla="*/ 762 w 865"/>
                <a:gd name="T59" fmla="*/ 712 h 1060"/>
                <a:gd name="T60" fmla="*/ 759 w 865"/>
                <a:gd name="T61" fmla="*/ 660 h 1060"/>
                <a:gd name="T62" fmla="*/ 816 w 865"/>
                <a:gd name="T63" fmla="*/ 646 h 1060"/>
                <a:gd name="T64" fmla="*/ 842 w 865"/>
                <a:gd name="T65" fmla="*/ 641 h 1060"/>
                <a:gd name="T66" fmla="*/ 865 w 865"/>
                <a:gd name="T67" fmla="*/ 570 h 1060"/>
                <a:gd name="T68" fmla="*/ 800 w 865"/>
                <a:gd name="T69" fmla="*/ 589 h 1060"/>
                <a:gd name="T70" fmla="*/ 712 w 865"/>
                <a:gd name="T71" fmla="*/ 572 h 1060"/>
                <a:gd name="T72" fmla="*/ 708 w 865"/>
                <a:gd name="T73" fmla="*/ 537 h 1060"/>
                <a:gd name="T74" fmla="*/ 698 w 865"/>
                <a:gd name="T75" fmla="*/ 497 h 1060"/>
                <a:gd name="T76" fmla="*/ 722 w 865"/>
                <a:gd name="T77" fmla="*/ 469 h 1060"/>
                <a:gd name="T78" fmla="*/ 743 w 865"/>
                <a:gd name="T79" fmla="*/ 389 h 1060"/>
                <a:gd name="T80" fmla="*/ 703 w 865"/>
                <a:gd name="T81" fmla="*/ 367 h 1060"/>
                <a:gd name="T82" fmla="*/ 676 w 865"/>
                <a:gd name="T83" fmla="*/ 379 h 1060"/>
                <a:gd name="T84" fmla="*/ 613 w 865"/>
                <a:gd name="T85" fmla="*/ 379 h 1060"/>
                <a:gd name="T86" fmla="*/ 523 w 865"/>
                <a:gd name="T87" fmla="*/ 314 h 1060"/>
                <a:gd name="T88" fmla="*/ 475 w 865"/>
                <a:gd name="T89" fmla="*/ 228 h 1060"/>
                <a:gd name="T90" fmla="*/ 405 w 865"/>
                <a:gd name="T91" fmla="*/ 181 h 1060"/>
                <a:gd name="T92" fmla="*/ 315 w 865"/>
                <a:gd name="T93" fmla="*/ 194 h 1060"/>
                <a:gd name="T94" fmla="*/ 337 w 865"/>
                <a:gd name="T95" fmla="*/ 286 h 1060"/>
                <a:gd name="T96" fmla="*/ 329 w 865"/>
                <a:gd name="T97" fmla="*/ 382 h 1060"/>
                <a:gd name="T98" fmla="*/ 280 w 865"/>
                <a:gd name="T99" fmla="*/ 177 h 1060"/>
                <a:gd name="T100" fmla="*/ 150 w 865"/>
                <a:gd name="T101" fmla="*/ 2 h 106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65"/>
                <a:gd name="T154" fmla="*/ 0 h 1060"/>
                <a:gd name="T155" fmla="*/ 865 w 865"/>
                <a:gd name="T156" fmla="*/ 1060 h 106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65" h="1060">
                  <a:moveTo>
                    <a:pt x="123" y="0"/>
                  </a:moveTo>
                  <a:lnTo>
                    <a:pt x="82" y="62"/>
                  </a:lnTo>
                  <a:lnTo>
                    <a:pt x="69" y="281"/>
                  </a:lnTo>
                  <a:lnTo>
                    <a:pt x="35" y="502"/>
                  </a:lnTo>
                  <a:lnTo>
                    <a:pt x="11" y="674"/>
                  </a:lnTo>
                  <a:lnTo>
                    <a:pt x="9" y="719"/>
                  </a:lnTo>
                  <a:lnTo>
                    <a:pt x="27" y="659"/>
                  </a:lnTo>
                  <a:lnTo>
                    <a:pt x="63" y="612"/>
                  </a:lnTo>
                  <a:lnTo>
                    <a:pt x="115" y="659"/>
                  </a:lnTo>
                  <a:lnTo>
                    <a:pt x="121" y="674"/>
                  </a:lnTo>
                  <a:lnTo>
                    <a:pt x="136" y="695"/>
                  </a:lnTo>
                  <a:lnTo>
                    <a:pt x="71" y="698"/>
                  </a:lnTo>
                  <a:lnTo>
                    <a:pt x="61" y="682"/>
                  </a:lnTo>
                  <a:lnTo>
                    <a:pt x="35" y="692"/>
                  </a:lnTo>
                  <a:lnTo>
                    <a:pt x="30" y="732"/>
                  </a:lnTo>
                  <a:lnTo>
                    <a:pt x="1" y="771"/>
                  </a:lnTo>
                  <a:lnTo>
                    <a:pt x="1" y="830"/>
                  </a:lnTo>
                  <a:lnTo>
                    <a:pt x="0" y="833"/>
                  </a:lnTo>
                  <a:lnTo>
                    <a:pt x="22" y="832"/>
                  </a:lnTo>
                  <a:lnTo>
                    <a:pt x="104" y="790"/>
                  </a:lnTo>
                  <a:lnTo>
                    <a:pt x="149" y="806"/>
                  </a:lnTo>
                  <a:lnTo>
                    <a:pt x="147" y="837"/>
                  </a:lnTo>
                  <a:lnTo>
                    <a:pt x="128" y="860"/>
                  </a:lnTo>
                  <a:lnTo>
                    <a:pt x="149" y="874"/>
                  </a:lnTo>
                  <a:lnTo>
                    <a:pt x="194" y="855"/>
                  </a:lnTo>
                  <a:lnTo>
                    <a:pt x="224" y="877"/>
                  </a:lnTo>
                  <a:lnTo>
                    <a:pt x="243" y="874"/>
                  </a:lnTo>
                  <a:lnTo>
                    <a:pt x="271" y="851"/>
                  </a:lnTo>
                  <a:lnTo>
                    <a:pt x="319" y="844"/>
                  </a:lnTo>
                  <a:lnTo>
                    <a:pt x="335" y="858"/>
                  </a:lnTo>
                  <a:lnTo>
                    <a:pt x="349" y="870"/>
                  </a:lnTo>
                  <a:lnTo>
                    <a:pt x="349" y="884"/>
                  </a:lnTo>
                  <a:lnTo>
                    <a:pt x="338" y="898"/>
                  </a:lnTo>
                  <a:lnTo>
                    <a:pt x="380" y="910"/>
                  </a:lnTo>
                  <a:lnTo>
                    <a:pt x="406" y="926"/>
                  </a:lnTo>
                  <a:lnTo>
                    <a:pt x="408" y="947"/>
                  </a:lnTo>
                  <a:lnTo>
                    <a:pt x="432" y="950"/>
                  </a:lnTo>
                  <a:lnTo>
                    <a:pt x="465" y="985"/>
                  </a:lnTo>
                  <a:lnTo>
                    <a:pt x="474" y="1044"/>
                  </a:lnTo>
                  <a:lnTo>
                    <a:pt x="521" y="1060"/>
                  </a:lnTo>
                  <a:lnTo>
                    <a:pt x="566" y="1058"/>
                  </a:lnTo>
                  <a:lnTo>
                    <a:pt x="566" y="1044"/>
                  </a:lnTo>
                  <a:lnTo>
                    <a:pt x="561" y="997"/>
                  </a:lnTo>
                  <a:lnTo>
                    <a:pt x="575" y="1002"/>
                  </a:lnTo>
                  <a:lnTo>
                    <a:pt x="602" y="1034"/>
                  </a:lnTo>
                  <a:lnTo>
                    <a:pt x="644" y="1027"/>
                  </a:lnTo>
                  <a:lnTo>
                    <a:pt x="663" y="1009"/>
                  </a:lnTo>
                  <a:lnTo>
                    <a:pt x="660" y="983"/>
                  </a:lnTo>
                  <a:lnTo>
                    <a:pt x="644" y="969"/>
                  </a:lnTo>
                  <a:lnTo>
                    <a:pt x="649" y="942"/>
                  </a:lnTo>
                  <a:lnTo>
                    <a:pt x="675" y="942"/>
                  </a:lnTo>
                  <a:lnTo>
                    <a:pt x="700" y="926"/>
                  </a:lnTo>
                  <a:lnTo>
                    <a:pt x="689" y="902"/>
                  </a:lnTo>
                  <a:lnTo>
                    <a:pt x="682" y="867"/>
                  </a:lnTo>
                  <a:lnTo>
                    <a:pt x="700" y="834"/>
                  </a:lnTo>
                  <a:lnTo>
                    <a:pt x="740" y="773"/>
                  </a:lnTo>
                  <a:lnTo>
                    <a:pt x="764" y="745"/>
                  </a:lnTo>
                  <a:lnTo>
                    <a:pt x="785" y="737"/>
                  </a:lnTo>
                  <a:lnTo>
                    <a:pt x="790" y="714"/>
                  </a:lnTo>
                  <a:lnTo>
                    <a:pt x="762" y="712"/>
                  </a:lnTo>
                  <a:lnTo>
                    <a:pt x="750" y="686"/>
                  </a:lnTo>
                  <a:lnTo>
                    <a:pt x="759" y="660"/>
                  </a:lnTo>
                  <a:lnTo>
                    <a:pt x="793" y="653"/>
                  </a:lnTo>
                  <a:lnTo>
                    <a:pt x="816" y="646"/>
                  </a:lnTo>
                  <a:lnTo>
                    <a:pt x="843" y="642"/>
                  </a:lnTo>
                  <a:lnTo>
                    <a:pt x="842" y="641"/>
                  </a:lnTo>
                  <a:lnTo>
                    <a:pt x="840" y="589"/>
                  </a:lnTo>
                  <a:lnTo>
                    <a:pt x="865" y="570"/>
                  </a:lnTo>
                  <a:lnTo>
                    <a:pt x="833" y="549"/>
                  </a:lnTo>
                  <a:lnTo>
                    <a:pt x="800" y="589"/>
                  </a:lnTo>
                  <a:lnTo>
                    <a:pt x="719" y="592"/>
                  </a:lnTo>
                  <a:lnTo>
                    <a:pt x="712" y="572"/>
                  </a:lnTo>
                  <a:lnTo>
                    <a:pt x="689" y="561"/>
                  </a:lnTo>
                  <a:lnTo>
                    <a:pt x="708" y="537"/>
                  </a:lnTo>
                  <a:lnTo>
                    <a:pt x="708" y="511"/>
                  </a:lnTo>
                  <a:lnTo>
                    <a:pt x="698" y="497"/>
                  </a:lnTo>
                  <a:lnTo>
                    <a:pt x="698" y="483"/>
                  </a:lnTo>
                  <a:lnTo>
                    <a:pt x="722" y="469"/>
                  </a:lnTo>
                  <a:lnTo>
                    <a:pt x="729" y="427"/>
                  </a:lnTo>
                  <a:lnTo>
                    <a:pt x="743" y="389"/>
                  </a:lnTo>
                  <a:lnTo>
                    <a:pt x="729" y="367"/>
                  </a:lnTo>
                  <a:lnTo>
                    <a:pt x="703" y="367"/>
                  </a:lnTo>
                  <a:lnTo>
                    <a:pt x="689" y="351"/>
                  </a:lnTo>
                  <a:lnTo>
                    <a:pt x="676" y="379"/>
                  </a:lnTo>
                  <a:lnTo>
                    <a:pt x="650" y="361"/>
                  </a:lnTo>
                  <a:lnTo>
                    <a:pt x="613" y="379"/>
                  </a:lnTo>
                  <a:lnTo>
                    <a:pt x="582" y="374"/>
                  </a:lnTo>
                  <a:lnTo>
                    <a:pt x="523" y="314"/>
                  </a:lnTo>
                  <a:lnTo>
                    <a:pt x="486" y="312"/>
                  </a:lnTo>
                  <a:lnTo>
                    <a:pt x="475" y="228"/>
                  </a:lnTo>
                  <a:lnTo>
                    <a:pt x="408" y="220"/>
                  </a:lnTo>
                  <a:lnTo>
                    <a:pt x="405" y="181"/>
                  </a:lnTo>
                  <a:lnTo>
                    <a:pt x="392" y="194"/>
                  </a:lnTo>
                  <a:lnTo>
                    <a:pt x="315" y="194"/>
                  </a:lnTo>
                  <a:lnTo>
                    <a:pt x="319" y="211"/>
                  </a:lnTo>
                  <a:lnTo>
                    <a:pt x="337" y="286"/>
                  </a:lnTo>
                  <a:lnTo>
                    <a:pt x="342" y="362"/>
                  </a:lnTo>
                  <a:lnTo>
                    <a:pt x="329" y="382"/>
                  </a:lnTo>
                  <a:lnTo>
                    <a:pt x="316" y="320"/>
                  </a:lnTo>
                  <a:lnTo>
                    <a:pt x="280" y="177"/>
                  </a:lnTo>
                  <a:lnTo>
                    <a:pt x="147" y="57"/>
                  </a:lnTo>
                  <a:lnTo>
                    <a:pt x="150" y="2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33</a:t>
              </a:r>
            </a:p>
          </p:txBody>
        </p:sp>
        <p:sp>
          <p:nvSpPr>
            <p:cNvPr id="30" name="FR-24">
              <a:extLst>
                <a:ext uri="{FF2B5EF4-FFF2-40B4-BE49-F238E27FC236}">
                  <a16:creationId xmlns:a16="http://schemas.microsoft.com/office/drawing/2014/main" id="{4DCF9093-0FFD-44C5-BB66-1D99B18403B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957619" y="5129156"/>
              <a:ext cx="366803" cy="368767"/>
            </a:xfrm>
            <a:custGeom>
              <a:avLst/>
              <a:gdLst>
                <a:gd name="T0" fmla="*/ 326 w 794"/>
                <a:gd name="T1" fmla="*/ 41 h 837"/>
                <a:gd name="T2" fmla="*/ 286 w 794"/>
                <a:gd name="T3" fmla="*/ 109 h 837"/>
                <a:gd name="T4" fmla="*/ 161 w 794"/>
                <a:gd name="T5" fmla="*/ 283 h 837"/>
                <a:gd name="T6" fmla="*/ 89 w 794"/>
                <a:gd name="T7" fmla="*/ 354 h 837"/>
                <a:gd name="T8" fmla="*/ 8 w 794"/>
                <a:gd name="T9" fmla="*/ 398 h 837"/>
                <a:gd name="T10" fmla="*/ 14 w 794"/>
                <a:gd name="T11" fmla="*/ 430 h 837"/>
                <a:gd name="T12" fmla="*/ 54 w 794"/>
                <a:gd name="T13" fmla="*/ 452 h 837"/>
                <a:gd name="T14" fmla="*/ 33 w 794"/>
                <a:gd name="T15" fmla="*/ 532 h 837"/>
                <a:gd name="T16" fmla="*/ 9 w 794"/>
                <a:gd name="T17" fmla="*/ 560 h 837"/>
                <a:gd name="T18" fmla="*/ 19 w 794"/>
                <a:gd name="T19" fmla="*/ 600 h 837"/>
                <a:gd name="T20" fmla="*/ 23 w 794"/>
                <a:gd name="T21" fmla="*/ 635 h 837"/>
                <a:gd name="T22" fmla="*/ 111 w 794"/>
                <a:gd name="T23" fmla="*/ 652 h 837"/>
                <a:gd name="T24" fmla="*/ 176 w 794"/>
                <a:gd name="T25" fmla="*/ 633 h 837"/>
                <a:gd name="T26" fmla="*/ 153 w 794"/>
                <a:gd name="T27" fmla="*/ 704 h 837"/>
                <a:gd name="T28" fmla="*/ 195 w 794"/>
                <a:gd name="T29" fmla="*/ 779 h 837"/>
                <a:gd name="T30" fmla="*/ 259 w 794"/>
                <a:gd name="T31" fmla="*/ 772 h 837"/>
                <a:gd name="T32" fmla="*/ 339 w 794"/>
                <a:gd name="T33" fmla="*/ 749 h 837"/>
                <a:gd name="T34" fmla="*/ 360 w 794"/>
                <a:gd name="T35" fmla="*/ 770 h 837"/>
                <a:gd name="T36" fmla="*/ 424 w 794"/>
                <a:gd name="T37" fmla="*/ 756 h 837"/>
                <a:gd name="T38" fmla="*/ 464 w 794"/>
                <a:gd name="T39" fmla="*/ 782 h 837"/>
                <a:gd name="T40" fmla="*/ 445 w 794"/>
                <a:gd name="T41" fmla="*/ 810 h 837"/>
                <a:gd name="T42" fmla="*/ 478 w 794"/>
                <a:gd name="T43" fmla="*/ 829 h 837"/>
                <a:gd name="T44" fmla="*/ 539 w 794"/>
                <a:gd name="T45" fmla="*/ 798 h 837"/>
                <a:gd name="T46" fmla="*/ 599 w 794"/>
                <a:gd name="T47" fmla="*/ 837 h 837"/>
                <a:gd name="T48" fmla="*/ 625 w 794"/>
                <a:gd name="T49" fmla="*/ 807 h 837"/>
                <a:gd name="T50" fmla="*/ 685 w 794"/>
                <a:gd name="T51" fmla="*/ 763 h 837"/>
                <a:gd name="T52" fmla="*/ 706 w 794"/>
                <a:gd name="T53" fmla="*/ 705 h 837"/>
                <a:gd name="T54" fmla="*/ 747 w 794"/>
                <a:gd name="T55" fmla="*/ 671 h 837"/>
                <a:gd name="T56" fmla="*/ 771 w 794"/>
                <a:gd name="T57" fmla="*/ 632 h 837"/>
                <a:gd name="T58" fmla="*/ 771 w 794"/>
                <a:gd name="T59" fmla="*/ 565 h 837"/>
                <a:gd name="T60" fmla="*/ 789 w 794"/>
                <a:gd name="T61" fmla="*/ 520 h 837"/>
                <a:gd name="T62" fmla="*/ 768 w 794"/>
                <a:gd name="T63" fmla="*/ 427 h 837"/>
                <a:gd name="T64" fmla="*/ 688 w 794"/>
                <a:gd name="T65" fmla="*/ 413 h 837"/>
                <a:gd name="T66" fmla="*/ 680 w 794"/>
                <a:gd name="T67" fmla="*/ 364 h 837"/>
                <a:gd name="T68" fmla="*/ 680 w 794"/>
                <a:gd name="T69" fmla="*/ 328 h 837"/>
                <a:gd name="T70" fmla="*/ 732 w 794"/>
                <a:gd name="T71" fmla="*/ 244 h 837"/>
                <a:gd name="T72" fmla="*/ 688 w 794"/>
                <a:gd name="T73" fmla="*/ 182 h 837"/>
                <a:gd name="T74" fmla="*/ 614 w 794"/>
                <a:gd name="T75" fmla="*/ 161 h 837"/>
                <a:gd name="T76" fmla="*/ 641 w 794"/>
                <a:gd name="T77" fmla="*/ 125 h 837"/>
                <a:gd name="T78" fmla="*/ 570 w 794"/>
                <a:gd name="T79" fmla="*/ 65 h 837"/>
                <a:gd name="T80" fmla="*/ 469 w 794"/>
                <a:gd name="T81" fmla="*/ 83 h 837"/>
                <a:gd name="T82" fmla="*/ 427 w 794"/>
                <a:gd name="T83" fmla="*/ 57 h 837"/>
                <a:gd name="T84" fmla="*/ 424 w 794"/>
                <a:gd name="T85" fmla="*/ 2 h 837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794"/>
                <a:gd name="T130" fmla="*/ 0 h 837"/>
                <a:gd name="T131" fmla="*/ 794 w 794"/>
                <a:gd name="T132" fmla="*/ 837 h 837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794" h="837">
                  <a:moveTo>
                    <a:pt x="349" y="0"/>
                  </a:moveTo>
                  <a:lnTo>
                    <a:pt x="326" y="41"/>
                  </a:lnTo>
                  <a:lnTo>
                    <a:pt x="289" y="46"/>
                  </a:lnTo>
                  <a:lnTo>
                    <a:pt x="286" y="109"/>
                  </a:lnTo>
                  <a:lnTo>
                    <a:pt x="164" y="192"/>
                  </a:lnTo>
                  <a:lnTo>
                    <a:pt x="161" y="283"/>
                  </a:lnTo>
                  <a:lnTo>
                    <a:pt x="114" y="330"/>
                  </a:lnTo>
                  <a:lnTo>
                    <a:pt x="89" y="354"/>
                  </a:lnTo>
                  <a:lnTo>
                    <a:pt x="36" y="348"/>
                  </a:lnTo>
                  <a:lnTo>
                    <a:pt x="8" y="398"/>
                  </a:lnTo>
                  <a:lnTo>
                    <a:pt x="0" y="414"/>
                  </a:lnTo>
                  <a:lnTo>
                    <a:pt x="14" y="430"/>
                  </a:lnTo>
                  <a:lnTo>
                    <a:pt x="40" y="430"/>
                  </a:lnTo>
                  <a:lnTo>
                    <a:pt x="54" y="452"/>
                  </a:lnTo>
                  <a:lnTo>
                    <a:pt x="40" y="490"/>
                  </a:lnTo>
                  <a:lnTo>
                    <a:pt x="33" y="532"/>
                  </a:lnTo>
                  <a:lnTo>
                    <a:pt x="9" y="546"/>
                  </a:lnTo>
                  <a:lnTo>
                    <a:pt x="9" y="560"/>
                  </a:lnTo>
                  <a:lnTo>
                    <a:pt x="19" y="574"/>
                  </a:lnTo>
                  <a:lnTo>
                    <a:pt x="19" y="600"/>
                  </a:lnTo>
                  <a:lnTo>
                    <a:pt x="0" y="624"/>
                  </a:lnTo>
                  <a:lnTo>
                    <a:pt x="23" y="635"/>
                  </a:lnTo>
                  <a:lnTo>
                    <a:pt x="30" y="655"/>
                  </a:lnTo>
                  <a:lnTo>
                    <a:pt x="111" y="652"/>
                  </a:lnTo>
                  <a:lnTo>
                    <a:pt x="144" y="612"/>
                  </a:lnTo>
                  <a:lnTo>
                    <a:pt x="176" y="633"/>
                  </a:lnTo>
                  <a:lnTo>
                    <a:pt x="151" y="652"/>
                  </a:lnTo>
                  <a:lnTo>
                    <a:pt x="153" y="704"/>
                  </a:lnTo>
                  <a:lnTo>
                    <a:pt x="191" y="730"/>
                  </a:lnTo>
                  <a:lnTo>
                    <a:pt x="195" y="779"/>
                  </a:lnTo>
                  <a:lnTo>
                    <a:pt x="235" y="793"/>
                  </a:lnTo>
                  <a:lnTo>
                    <a:pt x="259" y="772"/>
                  </a:lnTo>
                  <a:lnTo>
                    <a:pt x="311" y="772"/>
                  </a:lnTo>
                  <a:lnTo>
                    <a:pt x="339" y="749"/>
                  </a:lnTo>
                  <a:lnTo>
                    <a:pt x="356" y="751"/>
                  </a:lnTo>
                  <a:lnTo>
                    <a:pt x="360" y="770"/>
                  </a:lnTo>
                  <a:lnTo>
                    <a:pt x="412" y="770"/>
                  </a:lnTo>
                  <a:lnTo>
                    <a:pt x="424" y="756"/>
                  </a:lnTo>
                  <a:lnTo>
                    <a:pt x="443" y="758"/>
                  </a:lnTo>
                  <a:lnTo>
                    <a:pt x="464" y="782"/>
                  </a:lnTo>
                  <a:lnTo>
                    <a:pt x="464" y="798"/>
                  </a:lnTo>
                  <a:lnTo>
                    <a:pt x="445" y="810"/>
                  </a:lnTo>
                  <a:lnTo>
                    <a:pt x="452" y="827"/>
                  </a:lnTo>
                  <a:lnTo>
                    <a:pt x="478" y="829"/>
                  </a:lnTo>
                  <a:lnTo>
                    <a:pt x="511" y="798"/>
                  </a:lnTo>
                  <a:lnTo>
                    <a:pt x="539" y="798"/>
                  </a:lnTo>
                  <a:lnTo>
                    <a:pt x="558" y="820"/>
                  </a:lnTo>
                  <a:lnTo>
                    <a:pt x="599" y="837"/>
                  </a:lnTo>
                  <a:lnTo>
                    <a:pt x="601" y="830"/>
                  </a:lnTo>
                  <a:lnTo>
                    <a:pt x="625" y="807"/>
                  </a:lnTo>
                  <a:lnTo>
                    <a:pt x="628" y="768"/>
                  </a:lnTo>
                  <a:lnTo>
                    <a:pt x="685" y="763"/>
                  </a:lnTo>
                  <a:lnTo>
                    <a:pt x="721" y="710"/>
                  </a:lnTo>
                  <a:lnTo>
                    <a:pt x="706" y="705"/>
                  </a:lnTo>
                  <a:lnTo>
                    <a:pt x="703" y="677"/>
                  </a:lnTo>
                  <a:lnTo>
                    <a:pt x="747" y="671"/>
                  </a:lnTo>
                  <a:lnTo>
                    <a:pt x="750" y="645"/>
                  </a:lnTo>
                  <a:lnTo>
                    <a:pt x="771" y="632"/>
                  </a:lnTo>
                  <a:lnTo>
                    <a:pt x="794" y="590"/>
                  </a:lnTo>
                  <a:lnTo>
                    <a:pt x="771" y="565"/>
                  </a:lnTo>
                  <a:lnTo>
                    <a:pt x="771" y="536"/>
                  </a:lnTo>
                  <a:lnTo>
                    <a:pt x="789" y="520"/>
                  </a:lnTo>
                  <a:lnTo>
                    <a:pt x="766" y="484"/>
                  </a:lnTo>
                  <a:lnTo>
                    <a:pt x="768" y="427"/>
                  </a:lnTo>
                  <a:lnTo>
                    <a:pt x="711" y="429"/>
                  </a:lnTo>
                  <a:lnTo>
                    <a:pt x="688" y="413"/>
                  </a:lnTo>
                  <a:lnTo>
                    <a:pt x="709" y="388"/>
                  </a:lnTo>
                  <a:lnTo>
                    <a:pt x="680" y="364"/>
                  </a:lnTo>
                  <a:lnTo>
                    <a:pt x="701" y="338"/>
                  </a:lnTo>
                  <a:lnTo>
                    <a:pt x="680" y="328"/>
                  </a:lnTo>
                  <a:lnTo>
                    <a:pt x="680" y="291"/>
                  </a:lnTo>
                  <a:lnTo>
                    <a:pt x="732" y="244"/>
                  </a:lnTo>
                  <a:lnTo>
                    <a:pt x="703" y="221"/>
                  </a:lnTo>
                  <a:lnTo>
                    <a:pt x="688" y="182"/>
                  </a:lnTo>
                  <a:lnTo>
                    <a:pt x="633" y="174"/>
                  </a:lnTo>
                  <a:lnTo>
                    <a:pt x="614" y="161"/>
                  </a:lnTo>
                  <a:lnTo>
                    <a:pt x="654" y="143"/>
                  </a:lnTo>
                  <a:lnTo>
                    <a:pt x="641" y="125"/>
                  </a:lnTo>
                  <a:lnTo>
                    <a:pt x="584" y="117"/>
                  </a:lnTo>
                  <a:lnTo>
                    <a:pt x="570" y="65"/>
                  </a:lnTo>
                  <a:lnTo>
                    <a:pt x="487" y="57"/>
                  </a:lnTo>
                  <a:lnTo>
                    <a:pt x="469" y="83"/>
                  </a:lnTo>
                  <a:lnTo>
                    <a:pt x="451" y="88"/>
                  </a:lnTo>
                  <a:lnTo>
                    <a:pt x="427" y="57"/>
                  </a:lnTo>
                  <a:lnTo>
                    <a:pt x="438" y="28"/>
                  </a:lnTo>
                  <a:lnTo>
                    <a:pt x="424" y="2"/>
                  </a:lnTo>
                  <a:lnTo>
                    <a:pt x="349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24</a:t>
              </a:r>
            </a:p>
          </p:txBody>
        </p:sp>
        <p:sp>
          <p:nvSpPr>
            <p:cNvPr id="31" name="FR-47">
              <a:extLst>
                <a:ext uri="{FF2B5EF4-FFF2-40B4-BE49-F238E27FC236}">
                  <a16:creationId xmlns:a16="http://schemas.microsoft.com/office/drawing/2014/main" id="{1C197019-846A-4069-A3A6-BA20867F9B7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917428" y="5439766"/>
              <a:ext cx="316911" cy="258181"/>
            </a:xfrm>
            <a:custGeom>
              <a:avLst/>
              <a:gdLst>
                <a:gd name="T0" fmla="*/ 214 w 686"/>
                <a:gd name="T1" fmla="*/ 4 h 586"/>
                <a:gd name="T2" fmla="*/ 157 w 686"/>
                <a:gd name="T3" fmla="*/ 18 h 586"/>
                <a:gd name="T4" fmla="*/ 160 w 686"/>
                <a:gd name="T5" fmla="*/ 70 h 586"/>
                <a:gd name="T6" fmla="*/ 183 w 686"/>
                <a:gd name="T7" fmla="*/ 95 h 586"/>
                <a:gd name="T8" fmla="*/ 138 w 686"/>
                <a:gd name="T9" fmla="*/ 131 h 586"/>
                <a:gd name="T10" fmla="*/ 80 w 686"/>
                <a:gd name="T11" fmla="*/ 225 h 586"/>
                <a:gd name="T12" fmla="*/ 98 w 686"/>
                <a:gd name="T13" fmla="*/ 284 h 586"/>
                <a:gd name="T14" fmla="*/ 47 w 686"/>
                <a:gd name="T15" fmla="*/ 300 h 586"/>
                <a:gd name="T16" fmla="*/ 58 w 686"/>
                <a:gd name="T17" fmla="*/ 341 h 586"/>
                <a:gd name="T18" fmla="*/ 42 w 686"/>
                <a:gd name="T19" fmla="*/ 385 h 586"/>
                <a:gd name="T20" fmla="*/ 6 w 686"/>
                <a:gd name="T21" fmla="*/ 400 h 586"/>
                <a:gd name="T22" fmla="*/ 68 w 686"/>
                <a:gd name="T23" fmla="*/ 452 h 586"/>
                <a:gd name="T24" fmla="*/ 134 w 686"/>
                <a:gd name="T25" fmla="*/ 468 h 586"/>
                <a:gd name="T26" fmla="*/ 120 w 686"/>
                <a:gd name="T27" fmla="*/ 513 h 586"/>
                <a:gd name="T28" fmla="*/ 119 w 686"/>
                <a:gd name="T29" fmla="*/ 581 h 586"/>
                <a:gd name="T30" fmla="*/ 160 w 686"/>
                <a:gd name="T31" fmla="*/ 586 h 586"/>
                <a:gd name="T32" fmla="*/ 220 w 686"/>
                <a:gd name="T33" fmla="*/ 570 h 586"/>
                <a:gd name="T34" fmla="*/ 311 w 686"/>
                <a:gd name="T35" fmla="*/ 558 h 586"/>
                <a:gd name="T36" fmla="*/ 410 w 686"/>
                <a:gd name="T37" fmla="*/ 513 h 586"/>
                <a:gd name="T38" fmla="*/ 462 w 686"/>
                <a:gd name="T39" fmla="*/ 539 h 586"/>
                <a:gd name="T40" fmla="*/ 478 w 686"/>
                <a:gd name="T41" fmla="*/ 495 h 586"/>
                <a:gd name="T42" fmla="*/ 566 w 686"/>
                <a:gd name="T43" fmla="*/ 474 h 586"/>
                <a:gd name="T44" fmla="*/ 571 w 686"/>
                <a:gd name="T45" fmla="*/ 425 h 586"/>
                <a:gd name="T46" fmla="*/ 556 w 686"/>
                <a:gd name="T47" fmla="*/ 344 h 586"/>
                <a:gd name="T48" fmla="*/ 613 w 686"/>
                <a:gd name="T49" fmla="*/ 308 h 586"/>
                <a:gd name="T50" fmla="*/ 644 w 686"/>
                <a:gd name="T51" fmla="*/ 240 h 586"/>
                <a:gd name="T52" fmla="*/ 676 w 686"/>
                <a:gd name="T53" fmla="*/ 159 h 586"/>
                <a:gd name="T54" fmla="*/ 645 w 686"/>
                <a:gd name="T55" fmla="*/ 115 h 586"/>
                <a:gd name="T56" fmla="*/ 598 w 686"/>
                <a:gd name="T57" fmla="*/ 93 h 586"/>
                <a:gd name="T58" fmla="*/ 539 w 686"/>
                <a:gd name="T59" fmla="*/ 122 h 586"/>
                <a:gd name="T60" fmla="*/ 551 w 686"/>
                <a:gd name="T61" fmla="*/ 93 h 586"/>
                <a:gd name="T62" fmla="*/ 530 w 686"/>
                <a:gd name="T63" fmla="*/ 53 h 586"/>
                <a:gd name="T64" fmla="*/ 499 w 686"/>
                <a:gd name="T65" fmla="*/ 65 h 586"/>
                <a:gd name="T66" fmla="*/ 443 w 686"/>
                <a:gd name="T67" fmla="*/ 46 h 586"/>
                <a:gd name="T68" fmla="*/ 398 w 686"/>
                <a:gd name="T69" fmla="*/ 67 h 586"/>
                <a:gd name="T70" fmla="*/ 322 w 686"/>
                <a:gd name="T71" fmla="*/ 88 h 586"/>
                <a:gd name="T72" fmla="*/ 278 w 686"/>
                <a:gd name="T73" fmla="*/ 25 h 58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86"/>
                <a:gd name="T112" fmla="*/ 0 h 586"/>
                <a:gd name="T113" fmla="*/ 686 w 686"/>
                <a:gd name="T114" fmla="*/ 586 h 58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86" h="586">
                  <a:moveTo>
                    <a:pt x="241" y="0"/>
                  </a:moveTo>
                  <a:lnTo>
                    <a:pt x="214" y="4"/>
                  </a:lnTo>
                  <a:lnTo>
                    <a:pt x="191" y="11"/>
                  </a:lnTo>
                  <a:lnTo>
                    <a:pt x="157" y="18"/>
                  </a:lnTo>
                  <a:lnTo>
                    <a:pt x="148" y="44"/>
                  </a:lnTo>
                  <a:lnTo>
                    <a:pt x="160" y="70"/>
                  </a:lnTo>
                  <a:lnTo>
                    <a:pt x="188" y="72"/>
                  </a:lnTo>
                  <a:lnTo>
                    <a:pt x="183" y="95"/>
                  </a:lnTo>
                  <a:lnTo>
                    <a:pt x="162" y="103"/>
                  </a:lnTo>
                  <a:lnTo>
                    <a:pt x="138" y="131"/>
                  </a:lnTo>
                  <a:lnTo>
                    <a:pt x="98" y="192"/>
                  </a:lnTo>
                  <a:lnTo>
                    <a:pt x="80" y="225"/>
                  </a:lnTo>
                  <a:lnTo>
                    <a:pt x="87" y="260"/>
                  </a:lnTo>
                  <a:lnTo>
                    <a:pt x="98" y="284"/>
                  </a:lnTo>
                  <a:lnTo>
                    <a:pt x="73" y="300"/>
                  </a:lnTo>
                  <a:lnTo>
                    <a:pt x="47" y="300"/>
                  </a:lnTo>
                  <a:lnTo>
                    <a:pt x="42" y="327"/>
                  </a:lnTo>
                  <a:lnTo>
                    <a:pt x="58" y="341"/>
                  </a:lnTo>
                  <a:lnTo>
                    <a:pt x="61" y="367"/>
                  </a:lnTo>
                  <a:lnTo>
                    <a:pt x="42" y="385"/>
                  </a:lnTo>
                  <a:lnTo>
                    <a:pt x="0" y="392"/>
                  </a:lnTo>
                  <a:lnTo>
                    <a:pt x="6" y="400"/>
                  </a:lnTo>
                  <a:lnTo>
                    <a:pt x="16" y="456"/>
                  </a:lnTo>
                  <a:lnTo>
                    <a:pt x="68" y="452"/>
                  </a:lnTo>
                  <a:lnTo>
                    <a:pt x="103" y="465"/>
                  </a:lnTo>
                  <a:lnTo>
                    <a:pt x="134" y="468"/>
                  </a:lnTo>
                  <a:lnTo>
                    <a:pt x="148" y="485"/>
                  </a:lnTo>
                  <a:lnTo>
                    <a:pt x="120" y="513"/>
                  </a:lnTo>
                  <a:lnTo>
                    <a:pt x="113" y="565"/>
                  </a:lnTo>
                  <a:lnTo>
                    <a:pt x="119" y="581"/>
                  </a:lnTo>
                  <a:lnTo>
                    <a:pt x="129" y="560"/>
                  </a:lnTo>
                  <a:lnTo>
                    <a:pt x="160" y="586"/>
                  </a:lnTo>
                  <a:lnTo>
                    <a:pt x="201" y="545"/>
                  </a:lnTo>
                  <a:lnTo>
                    <a:pt x="220" y="570"/>
                  </a:lnTo>
                  <a:lnTo>
                    <a:pt x="264" y="563"/>
                  </a:lnTo>
                  <a:lnTo>
                    <a:pt x="311" y="558"/>
                  </a:lnTo>
                  <a:lnTo>
                    <a:pt x="332" y="521"/>
                  </a:lnTo>
                  <a:lnTo>
                    <a:pt x="410" y="513"/>
                  </a:lnTo>
                  <a:lnTo>
                    <a:pt x="449" y="552"/>
                  </a:lnTo>
                  <a:lnTo>
                    <a:pt x="462" y="539"/>
                  </a:lnTo>
                  <a:lnTo>
                    <a:pt x="488" y="531"/>
                  </a:lnTo>
                  <a:lnTo>
                    <a:pt x="478" y="495"/>
                  </a:lnTo>
                  <a:lnTo>
                    <a:pt x="517" y="485"/>
                  </a:lnTo>
                  <a:lnTo>
                    <a:pt x="566" y="474"/>
                  </a:lnTo>
                  <a:lnTo>
                    <a:pt x="556" y="443"/>
                  </a:lnTo>
                  <a:lnTo>
                    <a:pt x="571" y="425"/>
                  </a:lnTo>
                  <a:lnTo>
                    <a:pt x="584" y="375"/>
                  </a:lnTo>
                  <a:lnTo>
                    <a:pt x="556" y="344"/>
                  </a:lnTo>
                  <a:lnTo>
                    <a:pt x="574" y="284"/>
                  </a:lnTo>
                  <a:lnTo>
                    <a:pt x="613" y="308"/>
                  </a:lnTo>
                  <a:lnTo>
                    <a:pt x="671" y="297"/>
                  </a:lnTo>
                  <a:lnTo>
                    <a:pt x="644" y="240"/>
                  </a:lnTo>
                  <a:lnTo>
                    <a:pt x="623" y="162"/>
                  </a:lnTo>
                  <a:lnTo>
                    <a:pt x="676" y="159"/>
                  </a:lnTo>
                  <a:lnTo>
                    <a:pt x="686" y="132"/>
                  </a:lnTo>
                  <a:lnTo>
                    <a:pt x="645" y="115"/>
                  </a:lnTo>
                  <a:lnTo>
                    <a:pt x="626" y="93"/>
                  </a:lnTo>
                  <a:lnTo>
                    <a:pt x="598" y="93"/>
                  </a:lnTo>
                  <a:lnTo>
                    <a:pt x="565" y="124"/>
                  </a:lnTo>
                  <a:lnTo>
                    <a:pt x="539" y="122"/>
                  </a:lnTo>
                  <a:lnTo>
                    <a:pt x="532" y="105"/>
                  </a:lnTo>
                  <a:lnTo>
                    <a:pt x="551" y="93"/>
                  </a:lnTo>
                  <a:lnTo>
                    <a:pt x="551" y="77"/>
                  </a:lnTo>
                  <a:lnTo>
                    <a:pt x="530" y="53"/>
                  </a:lnTo>
                  <a:lnTo>
                    <a:pt x="511" y="51"/>
                  </a:lnTo>
                  <a:lnTo>
                    <a:pt x="499" y="65"/>
                  </a:lnTo>
                  <a:lnTo>
                    <a:pt x="447" y="65"/>
                  </a:lnTo>
                  <a:lnTo>
                    <a:pt x="443" y="46"/>
                  </a:lnTo>
                  <a:lnTo>
                    <a:pt x="426" y="44"/>
                  </a:lnTo>
                  <a:lnTo>
                    <a:pt x="398" y="67"/>
                  </a:lnTo>
                  <a:lnTo>
                    <a:pt x="346" y="67"/>
                  </a:lnTo>
                  <a:lnTo>
                    <a:pt x="322" y="88"/>
                  </a:lnTo>
                  <a:lnTo>
                    <a:pt x="282" y="74"/>
                  </a:lnTo>
                  <a:lnTo>
                    <a:pt x="278" y="25"/>
                  </a:lnTo>
                  <a:lnTo>
                    <a:pt x="241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47</a:t>
              </a:r>
            </a:p>
          </p:txBody>
        </p:sp>
        <p:sp>
          <p:nvSpPr>
            <p:cNvPr id="32" name="FR-46">
              <a:extLst>
                <a:ext uri="{FF2B5EF4-FFF2-40B4-BE49-F238E27FC236}">
                  <a16:creationId xmlns:a16="http://schemas.microsoft.com/office/drawing/2014/main" id="{F64C523F-74C5-4D2D-95BD-1963C997B00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205235" y="5345482"/>
              <a:ext cx="303052" cy="278448"/>
            </a:xfrm>
            <a:custGeom>
              <a:avLst/>
              <a:gdLst>
                <a:gd name="T0" fmla="*/ 259 w 656"/>
                <a:gd name="T1" fmla="*/ 26 h 632"/>
                <a:gd name="T2" fmla="*/ 253 w 656"/>
                <a:gd name="T3" fmla="*/ 29 h 632"/>
                <a:gd name="T4" fmla="*/ 235 w 656"/>
                <a:gd name="T5" fmla="*/ 74 h 632"/>
                <a:gd name="T6" fmla="*/ 235 w 656"/>
                <a:gd name="T7" fmla="*/ 141 h 632"/>
                <a:gd name="T8" fmla="*/ 211 w 656"/>
                <a:gd name="T9" fmla="*/ 180 h 632"/>
                <a:gd name="T10" fmla="*/ 170 w 656"/>
                <a:gd name="T11" fmla="*/ 214 h 632"/>
                <a:gd name="T12" fmla="*/ 149 w 656"/>
                <a:gd name="T13" fmla="*/ 272 h 632"/>
                <a:gd name="T14" fmla="*/ 89 w 656"/>
                <a:gd name="T15" fmla="*/ 316 h 632"/>
                <a:gd name="T16" fmla="*/ 53 w 656"/>
                <a:gd name="T17" fmla="*/ 373 h 632"/>
                <a:gd name="T18" fmla="*/ 21 w 656"/>
                <a:gd name="T19" fmla="*/ 454 h 632"/>
                <a:gd name="T20" fmla="*/ 77 w 656"/>
                <a:gd name="T21" fmla="*/ 501 h 632"/>
                <a:gd name="T22" fmla="*/ 60 w 656"/>
                <a:gd name="T23" fmla="*/ 536 h 632"/>
                <a:gd name="T24" fmla="*/ 95 w 656"/>
                <a:gd name="T25" fmla="*/ 564 h 632"/>
                <a:gd name="T26" fmla="*/ 140 w 656"/>
                <a:gd name="T27" fmla="*/ 590 h 632"/>
                <a:gd name="T28" fmla="*/ 161 w 656"/>
                <a:gd name="T29" fmla="*/ 576 h 632"/>
                <a:gd name="T30" fmla="*/ 168 w 656"/>
                <a:gd name="T31" fmla="*/ 630 h 632"/>
                <a:gd name="T32" fmla="*/ 258 w 656"/>
                <a:gd name="T33" fmla="*/ 590 h 632"/>
                <a:gd name="T34" fmla="*/ 286 w 656"/>
                <a:gd name="T35" fmla="*/ 599 h 632"/>
                <a:gd name="T36" fmla="*/ 317 w 656"/>
                <a:gd name="T37" fmla="*/ 625 h 632"/>
                <a:gd name="T38" fmla="*/ 364 w 656"/>
                <a:gd name="T39" fmla="*/ 583 h 632"/>
                <a:gd name="T40" fmla="*/ 425 w 656"/>
                <a:gd name="T41" fmla="*/ 564 h 632"/>
                <a:gd name="T42" fmla="*/ 483 w 656"/>
                <a:gd name="T43" fmla="*/ 543 h 632"/>
                <a:gd name="T44" fmla="*/ 477 w 656"/>
                <a:gd name="T45" fmla="*/ 489 h 632"/>
                <a:gd name="T46" fmla="*/ 498 w 656"/>
                <a:gd name="T47" fmla="*/ 416 h 632"/>
                <a:gd name="T48" fmla="*/ 555 w 656"/>
                <a:gd name="T49" fmla="*/ 373 h 632"/>
                <a:gd name="T50" fmla="*/ 588 w 656"/>
                <a:gd name="T51" fmla="*/ 364 h 632"/>
                <a:gd name="T52" fmla="*/ 652 w 656"/>
                <a:gd name="T53" fmla="*/ 345 h 632"/>
                <a:gd name="T54" fmla="*/ 635 w 656"/>
                <a:gd name="T55" fmla="*/ 327 h 632"/>
                <a:gd name="T56" fmla="*/ 616 w 656"/>
                <a:gd name="T57" fmla="*/ 269 h 632"/>
                <a:gd name="T58" fmla="*/ 605 w 656"/>
                <a:gd name="T59" fmla="*/ 158 h 632"/>
                <a:gd name="T60" fmla="*/ 550 w 656"/>
                <a:gd name="T61" fmla="*/ 52 h 632"/>
                <a:gd name="T62" fmla="*/ 506 w 656"/>
                <a:gd name="T63" fmla="*/ 55 h 632"/>
                <a:gd name="T64" fmla="*/ 432 w 656"/>
                <a:gd name="T65" fmla="*/ 103 h 632"/>
                <a:gd name="T66" fmla="*/ 315 w 656"/>
                <a:gd name="T67" fmla="*/ 0 h 63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656"/>
                <a:gd name="T103" fmla="*/ 0 h 632"/>
                <a:gd name="T104" fmla="*/ 656 w 656"/>
                <a:gd name="T105" fmla="*/ 632 h 632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656" h="632">
                  <a:moveTo>
                    <a:pt x="315" y="0"/>
                  </a:moveTo>
                  <a:lnTo>
                    <a:pt x="259" y="26"/>
                  </a:lnTo>
                  <a:lnTo>
                    <a:pt x="251" y="27"/>
                  </a:lnTo>
                  <a:lnTo>
                    <a:pt x="253" y="29"/>
                  </a:lnTo>
                  <a:lnTo>
                    <a:pt x="235" y="45"/>
                  </a:lnTo>
                  <a:lnTo>
                    <a:pt x="235" y="74"/>
                  </a:lnTo>
                  <a:lnTo>
                    <a:pt x="258" y="99"/>
                  </a:lnTo>
                  <a:lnTo>
                    <a:pt x="235" y="141"/>
                  </a:lnTo>
                  <a:lnTo>
                    <a:pt x="214" y="154"/>
                  </a:lnTo>
                  <a:lnTo>
                    <a:pt x="211" y="180"/>
                  </a:lnTo>
                  <a:lnTo>
                    <a:pt x="167" y="186"/>
                  </a:lnTo>
                  <a:lnTo>
                    <a:pt x="170" y="214"/>
                  </a:lnTo>
                  <a:lnTo>
                    <a:pt x="185" y="219"/>
                  </a:lnTo>
                  <a:lnTo>
                    <a:pt x="149" y="272"/>
                  </a:lnTo>
                  <a:lnTo>
                    <a:pt x="92" y="277"/>
                  </a:lnTo>
                  <a:lnTo>
                    <a:pt x="89" y="316"/>
                  </a:lnTo>
                  <a:lnTo>
                    <a:pt x="65" y="339"/>
                  </a:lnTo>
                  <a:lnTo>
                    <a:pt x="53" y="373"/>
                  </a:lnTo>
                  <a:lnTo>
                    <a:pt x="0" y="376"/>
                  </a:lnTo>
                  <a:lnTo>
                    <a:pt x="21" y="454"/>
                  </a:lnTo>
                  <a:lnTo>
                    <a:pt x="43" y="502"/>
                  </a:lnTo>
                  <a:lnTo>
                    <a:pt x="77" y="501"/>
                  </a:lnTo>
                  <a:lnTo>
                    <a:pt x="79" y="514"/>
                  </a:lnTo>
                  <a:lnTo>
                    <a:pt x="60" y="536"/>
                  </a:lnTo>
                  <a:lnTo>
                    <a:pt x="74" y="564"/>
                  </a:lnTo>
                  <a:lnTo>
                    <a:pt x="95" y="564"/>
                  </a:lnTo>
                  <a:lnTo>
                    <a:pt x="119" y="590"/>
                  </a:lnTo>
                  <a:lnTo>
                    <a:pt x="140" y="590"/>
                  </a:lnTo>
                  <a:lnTo>
                    <a:pt x="157" y="571"/>
                  </a:lnTo>
                  <a:lnTo>
                    <a:pt x="161" y="576"/>
                  </a:lnTo>
                  <a:lnTo>
                    <a:pt x="161" y="599"/>
                  </a:lnTo>
                  <a:lnTo>
                    <a:pt x="168" y="630"/>
                  </a:lnTo>
                  <a:lnTo>
                    <a:pt x="218" y="632"/>
                  </a:lnTo>
                  <a:lnTo>
                    <a:pt x="258" y="590"/>
                  </a:lnTo>
                  <a:lnTo>
                    <a:pt x="279" y="588"/>
                  </a:lnTo>
                  <a:lnTo>
                    <a:pt x="286" y="599"/>
                  </a:lnTo>
                  <a:lnTo>
                    <a:pt x="298" y="625"/>
                  </a:lnTo>
                  <a:lnTo>
                    <a:pt x="317" y="625"/>
                  </a:lnTo>
                  <a:lnTo>
                    <a:pt x="324" y="578"/>
                  </a:lnTo>
                  <a:lnTo>
                    <a:pt x="364" y="583"/>
                  </a:lnTo>
                  <a:lnTo>
                    <a:pt x="388" y="555"/>
                  </a:lnTo>
                  <a:lnTo>
                    <a:pt x="425" y="564"/>
                  </a:lnTo>
                  <a:lnTo>
                    <a:pt x="482" y="538"/>
                  </a:lnTo>
                  <a:lnTo>
                    <a:pt x="483" y="543"/>
                  </a:lnTo>
                  <a:lnTo>
                    <a:pt x="501" y="524"/>
                  </a:lnTo>
                  <a:lnTo>
                    <a:pt x="477" y="489"/>
                  </a:lnTo>
                  <a:lnTo>
                    <a:pt x="468" y="442"/>
                  </a:lnTo>
                  <a:lnTo>
                    <a:pt x="498" y="416"/>
                  </a:lnTo>
                  <a:lnTo>
                    <a:pt x="513" y="420"/>
                  </a:lnTo>
                  <a:lnTo>
                    <a:pt x="555" y="373"/>
                  </a:lnTo>
                  <a:lnTo>
                    <a:pt x="578" y="376"/>
                  </a:lnTo>
                  <a:lnTo>
                    <a:pt x="588" y="364"/>
                  </a:lnTo>
                  <a:lnTo>
                    <a:pt x="635" y="364"/>
                  </a:lnTo>
                  <a:lnTo>
                    <a:pt x="652" y="345"/>
                  </a:lnTo>
                  <a:lnTo>
                    <a:pt x="656" y="330"/>
                  </a:lnTo>
                  <a:lnTo>
                    <a:pt x="635" y="327"/>
                  </a:lnTo>
                  <a:lnTo>
                    <a:pt x="650" y="283"/>
                  </a:lnTo>
                  <a:lnTo>
                    <a:pt x="616" y="269"/>
                  </a:lnTo>
                  <a:lnTo>
                    <a:pt x="650" y="191"/>
                  </a:lnTo>
                  <a:lnTo>
                    <a:pt x="605" y="158"/>
                  </a:lnTo>
                  <a:lnTo>
                    <a:pt x="590" y="62"/>
                  </a:lnTo>
                  <a:lnTo>
                    <a:pt x="550" y="52"/>
                  </a:lnTo>
                  <a:lnTo>
                    <a:pt x="520" y="81"/>
                  </a:lnTo>
                  <a:lnTo>
                    <a:pt x="506" y="55"/>
                  </a:lnTo>
                  <a:lnTo>
                    <a:pt x="462" y="99"/>
                  </a:lnTo>
                  <a:lnTo>
                    <a:pt x="432" y="103"/>
                  </a:lnTo>
                  <a:lnTo>
                    <a:pt x="381" y="29"/>
                  </a:lnTo>
                  <a:lnTo>
                    <a:pt x="315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46</a:t>
              </a:r>
            </a:p>
          </p:txBody>
        </p:sp>
        <p:sp>
          <p:nvSpPr>
            <p:cNvPr id="33" name="FR-09">
              <a:extLst>
                <a:ext uri="{FF2B5EF4-FFF2-40B4-BE49-F238E27FC236}">
                  <a16:creationId xmlns:a16="http://schemas.microsoft.com/office/drawing/2014/main" id="{9DED9D84-1323-4433-8FB3-89BE145D1F6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154418" y="5927490"/>
              <a:ext cx="347401" cy="252013"/>
            </a:xfrm>
            <a:custGeom>
              <a:avLst/>
              <a:gdLst>
                <a:gd name="T0" fmla="*/ 288 w 752"/>
                <a:gd name="T1" fmla="*/ 0 h 572"/>
                <a:gd name="T2" fmla="*/ 271 w 752"/>
                <a:gd name="T3" fmla="*/ 11 h 572"/>
                <a:gd name="T4" fmla="*/ 264 w 752"/>
                <a:gd name="T5" fmla="*/ 26 h 572"/>
                <a:gd name="T6" fmla="*/ 297 w 752"/>
                <a:gd name="T7" fmla="*/ 49 h 572"/>
                <a:gd name="T8" fmla="*/ 307 w 752"/>
                <a:gd name="T9" fmla="*/ 66 h 572"/>
                <a:gd name="T10" fmla="*/ 300 w 752"/>
                <a:gd name="T11" fmla="*/ 80 h 572"/>
                <a:gd name="T12" fmla="*/ 243 w 752"/>
                <a:gd name="T13" fmla="*/ 85 h 572"/>
                <a:gd name="T14" fmla="*/ 227 w 752"/>
                <a:gd name="T15" fmla="*/ 108 h 572"/>
                <a:gd name="T16" fmla="*/ 229 w 752"/>
                <a:gd name="T17" fmla="*/ 115 h 572"/>
                <a:gd name="T18" fmla="*/ 250 w 752"/>
                <a:gd name="T19" fmla="*/ 122 h 572"/>
                <a:gd name="T20" fmla="*/ 262 w 752"/>
                <a:gd name="T21" fmla="*/ 139 h 572"/>
                <a:gd name="T22" fmla="*/ 248 w 752"/>
                <a:gd name="T23" fmla="*/ 162 h 572"/>
                <a:gd name="T24" fmla="*/ 231 w 752"/>
                <a:gd name="T25" fmla="*/ 160 h 572"/>
                <a:gd name="T26" fmla="*/ 205 w 752"/>
                <a:gd name="T27" fmla="*/ 136 h 572"/>
                <a:gd name="T28" fmla="*/ 175 w 752"/>
                <a:gd name="T29" fmla="*/ 127 h 572"/>
                <a:gd name="T30" fmla="*/ 144 w 752"/>
                <a:gd name="T31" fmla="*/ 129 h 572"/>
                <a:gd name="T32" fmla="*/ 90 w 752"/>
                <a:gd name="T33" fmla="*/ 162 h 572"/>
                <a:gd name="T34" fmla="*/ 92 w 752"/>
                <a:gd name="T35" fmla="*/ 207 h 572"/>
                <a:gd name="T36" fmla="*/ 106 w 752"/>
                <a:gd name="T37" fmla="*/ 217 h 572"/>
                <a:gd name="T38" fmla="*/ 97 w 752"/>
                <a:gd name="T39" fmla="*/ 252 h 572"/>
                <a:gd name="T40" fmla="*/ 35 w 752"/>
                <a:gd name="T41" fmla="*/ 268 h 572"/>
                <a:gd name="T42" fmla="*/ 12 w 752"/>
                <a:gd name="T43" fmla="*/ 297 h 572"/>
                <a:gd name="T44" fmla="*/ 12 w 752"/>
                <a:gd name="T45" fmla="*/ 344 h 572"/>
                <a:gd name="T46" fmla="*/ 22 w 752"/>
                <a:gd name="T47" fmla="*/ 358 h 572"/>
                <a:gd name="T48" fmla="*/ 0 w 752"/>
                <a:gd name="T49" fmla="*/ 378 h 572"/>
                <a:gd name="T50" fmla="*/ 14 w 752"/>
                <a:gd name="T51" fmla="*/ 386 h 572"/>
                <a:gd name="T52" fmla="*/ 94 w 752"/>
                <a:gd name="T53" fmla="*/ 402 h 572"/>
                <a:gd name="T54" fmla="*/ 128 w 752"/>
                <a:gd name="T55" fmla="*/ 402 h 572"/>
                <a:gd name="T56" fmla="*/ 173 w 752"/>
                <a:gd name="T57" fmla="*/ 459 h 572"/>
                <a:gd name="T58" fmla="*/ 285 w 752"/>
                <a:gd name="T59" fmla="*/ 454 h 572"/>
                <a:gd name="T60" fmla="*/ 329 w 752"/>
                <a:gd name="T61" fmla="*/ 524 h 572"/>
                <a:gd name="T62" fmla="*/ 368 w 752"/>
                <a:gd name="T63" fmla="*/ 508 h 572"/>
                <a:gd name="T64" fmla="*/ 483 w 752"/>
                <a:gd name="T65" fmla="*/ 524 h 572"/>
                <a:gd name="T66" fmla="*/ 491 w 752"/>
                <a:gd name="T67" fmla="*/ 572 h 572"/>
                <a:gd name="T68" fmla="*/ 572 w 752"/>
                <a:gd name="T69" fmla="*/ 553 h 572"/>
                <a:gd name="T70" fmla="*/ 601 w 752"/>
                <a:gd name="T71" fmla="*/ 528 h 572"/>
                <a:gd name="T72" fmla="*/ 645 w 752"/>
                <a:gd name="T73" fmla="*/ 516 h 572"/>
                <a:gd name="T74" fmla="*/ 656 w 752"/>
                <a:gd name="T75" fmla="*/ 494 h 572"/>
                <a:gd name="T76" fmla="*/ 752 w 752"/>
                <a:gd name="T77" fmla="*/ 487 h 572"/>
                <a:gd name="T78" fmla="*/ 693 w 752"/>
                <a:gd name="T79" fmla="*/ 417 h 572"/>
                <a:gd name="T80" fmla="*/ 645 w 752"/>
                <a:gd name="T81" fmla="*/ 443 h 572"/>
                <a:gd name="T82" fmla="*/ 561 w 752"/>
                <a:gd name="T83" fmla="*/ 373 h 572"/>
                <a:gd name="T84" fmla="*/ 579 w 752"/>
                <a:gd name="T85" fmla="*/ 347 h 572"/>
                <a:gd name="T86" fmla="*/ 645 w 752"/>
                <a:gd name="T87" fmla="*/ 347 h 572"/>
                <a:gd name="T88" fmla="*/ 638 w 752"/>
                <a:gd name="T89" fmla="*/ 285 h 572"/>
                <a:gd name="T90" fmla="*/ 638 w 752"/>
                <a:gd name="T91" fmla="*/ 237 h 572"/>
                <a:gd name="T92" fmla="*/ 627 w 752"/>
                <a:gd name="T93" fmla="*/ 148 h 572"/>
                <a:gd name="T94" fmla="*/ 498 w 752"/>
                <a:gd name="T95" fmla="*/ 86 h 572"/>
                <a:gd name="T96" fmla="*/ 505 w 752"/>
                <a:gd name="T97" fmla="*/ 63 h 572"/>
                <a:gd name="T98" fmla="*/ 481 w 752"/>
                <a:gd name="T99" fmla="*/ 36 h 572"/>
                <a:gd name="T100" fmla="*/ 460 w 752"/>
                <a:gd name="T101" fmla="*/ 45 h 572"/>
                <a:gd name="T102" fmla="*/ 432 w 752"/>
                <a:gd name="T103" fmla="*/ 49 h 572"/>
                <a:gd name="T104" fmla="*/ 380 w 752"/>
                <a:gd name="T105" fmla="*/ 26 h 572"/>
                <a:gd name="T106" fmla="*/ 365 w 752"/>
                <a:gd name="T107" fmla="*/ 21 h 572"/>
                <a:gd name="T108" fmla="*/ 387 w 752"/>
                <a:gd name="T109" fmla="*/ 47 h 572"/>
                <a:gd name="T110" fmla="*/ 378 w 752"/>
                <a:gd name="T111" fmla="*/ 68 h 572"/>
                <a:gd name="T112" fmla="*/ 333 w 752"/>
                <a:gd name="T113" fmla="*/ 63 h 572"/>
                <a:gd name="T114" fmla="*/ 330 w 752"/>
                <a:gd name="T115" fmla="*/ 40 h 572"/>
                <a:gd name="T116" fmla="*/ 304 w 752"/>
                <a:gd name="T117" fmla="*/ 4 h 572"/>
                <a:gd name="T118" fmla="*/ 288 w 752"/>
                <a:gd name="T119" fmla="*/ 0 h 5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752"/>
                <a:gd name="T181" fmla="*/ 0 h 572"/>
                <a:gd name="T182" fmla="*/ 752 w 752"/>
                <a:gd name="T183" fmla="*/ 572 h 5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752" h="572">
                  <a:moveTo>
                    <a:pt x="288" y="0"/>
                  </a:moveTo>
                  <a:lnTo>
                    <a:pt x="271" y="11"/>
                  </a:lnTo>
                  <a:lnTo>
                    <a:pt x="264" y="26"/>
                  </a:lnTo>
                  <a:lnTo>
                    <a:pt x="297" y="49"/>
                  </a:lnTo>
                  <a:lnTo>
                    <a:pt x="307" y="66"/>
                  </a:lnTo>
                  <a:lnTo>
                    <a:pt x="300" y="80"/>
                  </a:lnTo>
                  <a:lnTo>
                    <a:pt x="243" y="85"/>
                  </a:lnTo>
                  <a:lnTo>
                    <a:pt x="227" y="108"/>
                  </a:lnTo>
                  <a:lnTo>
                    <a:pt x="229" y="115"/>
                  </a:lnTo>
                  <a:lnTo>
                    <a:pt x="250" y="122"/>
                  </a:lnTo>
                  <a:lnTo>
                    <a:pt x="262" y="139"/>
                  </a:lnTo>
                  <a:lnTo>
                    <a:pt x="248" y="162"/>
                  </a:lnTo>
                  <a:lnTo>
                    <a:pt x="231" y="160"/>
                  </a:lnTo>
                  <a:lnTo>
                    <a:pt x="205" y="136"/>
                  </a:lnTo>
                  <a:lnTo>
                    <a:pt x="175" y="127"/>
                  </a:lnTo>
                  <a:lnTo>
                    <a:pt x="144" y="129"/>
                  </a:lnTo>
                  <a:lnTo>
                    <a:pt x="90" y="162"/>
                  </a:lnTo>
                  <a:lnTo>
                    <a:pt x="92" y="207"/>
                  </a:lnTo>
                  <a:lnTo>
                    <a:pt x="106" y="217"/>
                  </a:lnTo>
                  <a:lnTo>
                    <a:pt x="97" y="252"/>
                  </a:lnTo>
                  <a:lnTo>
                    <a:pt x="35" y="268"/>
                  </a:lnTo>
                  <a:lnTo>
                    <a:pt x="12" y="297"/>
                  </a:lnTo>
                  <a:lnTo>
                    <a:pt x="12" y="344"/>
                  </a:lnTo>
                  <a:lnTo>
                    <a:pt x="22" y="358"/>
                  </a:lnTo>
                  <a:lnTo>
                    <a:pt x="0" y="378"/>
                  </a:lnTo>
                  <a:lnTo>
                    <a:pt x="14" y="386"/>
                  </a:lnTo>
                  <a:lnTo>
                    <a:pt x="94" y="402"/>
                  </a:lnTo>
                  <a:lnTo>
                    <a:pt x="128" y="402"/>
                  </a:lnTo>
                  <a:lnTo>
                    <a:pt x="173" y="459"/>
                  </a:lnTo>
                  <a:lnTo>
                    <a:pt x="285" y="454"/>
                  </a:lnTo>
                  <a:lnTo>
                    <a:pt x="329" y="524"/>
                  </a:lnTo>
                  <a:lnTo>
                    <a:pt x="368" y="508"/>
                  </a:lnTo>
                  <a:lnTo>
                    <a:pt x="483" y="524"/>
                  </a:lnTo>
                  <a:lnTo>
                    <a:pt x="491" y="572"/>
                  </a:lnTo>
                  <a:lnTo>
                    <a:pt x="572" y="553"/>
                  </a:lnTo>
                  <a:lnTo>
                    <a:pt x="601" y="528"/>
                  </a:lnTo>
                  <a:lnTo>
                    <a:pt x="645" y="516"/>
                  </a:lnTo>
                  <a:lnTo>
                    <a:pt x="656" y="494"/>
                  </a:lnTo>
                  <a:lnTo>
                    <a:pt x="752" y="487"/>
                  </a:lnTo>
                  <a:lnTo>
                    <a:pt x="693" y="417"/>
                  </a:lnTo>
                  <a:lnTo>
                    <a:pt x="645" y="443"/>
                  </a:lnTo>
                  <a:lnTo>
                    <a:pt x="561" y="373"/>
                  </a:lnTo>
                  <a:lnTo>
                    <a:pt x="579" y="347"/>
                  </a:lnTo>
                  <a:lnTo>
                    <a:pt x="645" y="347"/>
                  </a:lnTo>
                  <a:lnTo>
                    <a:pt x="638" y="285"/>
                  </a:lnTo>
                  <a:lnTo>
                    <a:pt x="638" y="237"/>
                  </a:lnTo>
                  <a:lnTo>
                    <a:pt x="627" y="148"/>
                  </a:lnTo>
                  <a:lnTo>
                    <a:pt x="498" y="86"/>
                  </a:lnTo>
                  <a:lnTo>
                    <a:pt x="505" y="63"/>
                  </a:lnTo>
                  <a:lnTo>
                    <a:pt x="481" y="36"/>
                  </a:lnTo>
                  <a:lnTo>
                    <a:pt x="460" y="45"/>
                  </a:lnTo>
                  <a:lnTo>
                    <a:pt x="432" y="49"/>
                  </a:lnTo>
                  <a:lnTo>
                    <a:pt x="380" y="26"/>
                  </a:lnTo>
                  <a:lnTo>
                    <a:pt x="365" y="21"/>
                  </a:lnTo>
                  <a:lnTo>
                    <a:pt x="387" y="47"/>
                  </a:lnTo>
                  <a:lnTo>
                    <a:pt x="378" y="68"/>
                  </a:lnTo>
                  <a:lnTo>
                    <a:pt x="333" y="63"/>
                  </a:lnTo>
                  <a:lnTo>
                    <a:pt x="330" y="40"/>
                  </a:lnTo>
                  <a:lnTo>
                    <a:pt x="304" y="4"/>
                  </a:lnTo>
                  <a:lnTo>
                    <a:pt x="28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09</a:t>
              </a:r>
            </a:p>
          </p:txBody>
        </p:sp>
        <p:sp>
          <p:nvSpPr>
            <p:cNvPr id="34" name="FR-32">
              <a:extLst>
                <a:ext uri="{FF2B5EF4-FFF2-40B4-BE49-F238E27FC236}">
                  <a16:creationId xmlns:a16="http://schemas.microsoft.com/office/drawing/2014/main" id="{FA30D58C-C6D7-422F-B5F1-7DC2BA69881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878160" y="5665785"/>
              <a:ext cx="377891" cy="262146"/>
            </a:xfrm>
            <a:custGeom>
              <a:avLst/>
              <a:gdLst>
                <a:gd name="T0" fmla="*/ 417 w 818"/>
                <a:gd name="T1" fmla="*/ 8 h 595"/>
                <a:gd name="T2" fmla="*/ 349 w 818"/>
                <a:gd name="T3" fmla="*/ 50 h 595"/>
                <a:gd name="T4" fmla="*/ 286 w 818"/>
                <a:gd name="T5" fmla="*/ 32 h 595"/>
                <a:gd name="T6" fmla="*/ 214 w 818"/>
                <a:gd name="T7" fmla="*/ 47 h 595"/>
                <a:gd name="T8" fmla="*/ 198 w 818"/>
                <a:gd name="T9" fmla="*/ 120 h 595"/>
                <a:gd name="T10" fmla="*/ 156 w 818"/>
                <a:gd name="T11" fmla="*/ 110 h 595"/>
                <a:gd name="T12" fmla="*/ 107 w 818"/>
                <a:gd name="T13" fmla="*/ 102 h 595"/>
                <a:gd name="T14" fmla="*/ 52 w 818"/>
                <a:gd name="T15" fmla="*/ 97 h 595"/>
                <a:gd name="T16" fmla="*/ 57 w 818"/>
                <a:gd name="T17" fmla="*/ 180 h 595"/>
                <a:gd name="T18" fmla="*/ 44 w 818"/>
                <a:gd name="T19" fmla="*/ 245 h 595"/>
                <a:gd name="T20" fmla="*/ 0 w 818"/>
                <a:gd name="T21" fmla="*/ 328 h 595"/>
                <a:gd name="T22" fmla="*/ 87 w 818"/>
                <a:gd name="T23" fmla="*/ 370 h 595"/>
                <a:gd name="T24" fmla="*/ 153 w 818"/>
                <a:gd name="T25" fmla="*/ 356 h 595"/>
                <a:gd name="T26" fmla="*/ 181 w 818"/>
                <a:gd name="T27" fmla="*/ 417 h 595"/>
                <a:gd name="T28" fmla="*/ 226 w 818"/>
                <a:gd name="T29" fmla="*/ 460 h 595"/>
                <a:gd name="T30" fmla="*/ 228 w 818"/>
                <a:gd name="T31" fmla="*/ 490 h 595"/>
                <a:gd name="T32" fmla="*/ 247 w 818"/>
                <a:gd name="T33" fmla="*/ 518 h 595"/>
                <a:gd name="T34" fmla="*/ 285 w 818"/>
                <a:gd name="T35" fmla="*/ 540 h 595"/>
                <a:gd name="T36" fmla="*/ 325 w 818"/>
                <a:gd name="T37" fmla="*/ 530 h 595"/>
                <a:gd name="T38" fmla="*/ 367 w 818"/>
                <a:gd name="T39" fmla="*/ 551 h 595"/>
                <a:gd name="T40" fmla="*/ 441 w 818"/>
                <a:gd name="T41" fmla="*/ 570 h 595"/>
                <a:gd name="T42" fmla="*/ 492 w 818"/>
                <a:gd name="T43" fmla="*/ 589 h 595"/>
                <a:gd name="T44" fmla="*/ 565 w 818"/>
                <a:gd name="T45" fmla="*/ 514 h 595"/>
                <a:gd name="T46" fmla="*/ 690 w 818"/>
                <a:gd name="T47" fmla="*/ 547 h 595"/>
                <a:gd name="T48" fmla="*/ 721 w 818"/>
                <a:gd name="T49" fmla="*/ 474 h 595"/>
                <a:gd name="T50" fmla="*/ 794 w 818"/>
                <a:gd name="T51" fmla="*/ 398 h 595"/>
                <a:gd name="T52" fmla="*/ 811 w 818"/>
                <a:gd name="T53" fmla="*/ 367 h 595"/>
                <a:gd name="T54" fmla="*/ 778 w 818"/>
                <a:gd name="T55" fmla="*/ 342 h 595"/>
                <a:gd name="T56" fmla="*/ 728 w 818"/>
                <a:gd name="T57" fmla="*/ 311 h 595"/>
                <a:gd name="T58" fmla="*/ 690 w 818"/>
                <a:gd name="T59" fmla="*/ 250 h 595"/>
                <a:gd name="T60" fmla="*/ 657 w 818"/>
                <a:gd name="T61" fmla="*/ 235 h 595"/>
                <a:gd name="T62" fmla="*/ 667 w 818"/>
                <a:gd name="T63" fmla="*/ 195 h 595"/>
                <a:gd name="T64" fmla="*/ 648 w 818"/>
                <a:gd name="T65" fmla="*/ 144 h 595"/>
                <a:gd name="T66" fmla="*/ 579 w 818"/>
                <a:gd name="T67" fmla="*/ 125 h 595"/>
                <a:gd name="T68" fmla="*/ 608 w 818"/>
                <a:gd name="T69" fmla="*/ 73 h 595"/>
                <a:gd name="T70" fmla="*/ 638 w 818"/>
                <a:gd name="T71" fmla="*/ 35 h 595"/>
                <a:gd name="T72" fmla="*/ 603 w 818"/>
                <a:gd name="T73" fmla="*/ 35 h 595"/>
                <a:gd name="T74" fmla="*/ 553 w 818"/>
                <a:gd name="T75" fmla="*/ 24 h 595"/>
                <a:gd name="T76" fmla="*/ 534 w 818"/>
                <a:gd name="T77" fmla="*/ 39 h 59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818"/>
                <a:gd name="T118" fmla="*/ 0 h 595"/>
                <a:gd name="T119" fmla="*/ 818 w 818"/>
                <a:gd name="T120" fmla="*/ 595 h 595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818" h="595">
                  <a:moveTo>
                    <a:pt x="495" y="0"/>
                  </a:moveTo>
                  <a:lnTo>
                    <a:pt x="417" y="8"/>
                  </a:lnTo>
                  <a:lnTo>
                    <a:pt x="396" y="45"/>
                  </a:lnTo>
                  <a:lnTo>
                    <a:pt x="349" y="50"/>
                  </a:lnTo>
                  <a:lnTo>
                    <a:pt x="305" y="57"/>
                  </a:lnTo>
                  <a:lnTo>
                    <a:pt x="286" y="32"/>
                  </a:lnTo>
                  <a:lnTo>
                    <a:pt x="245" y="73"/>
                  </a:lnTo>
                  <a:lnTo>
                    <a:pt x="214" y="47"/>
                  </a:lnTo>
                  <a:lnTo>
                    <a:pt x="196" y="86"/>
                  </a:lnTo>
                  <a:lnTo>
                    <a:pt x="198" y="120"/>
                  </a:lnTo>
                  <a:lnTo>
                    <a:pt x="169" y="128"/>
                  </a:lnTo>
                  <a:lnTo>
                    <a:pt x="156" y="110"/>
                  </a:lnTo>
                  <a:lnTo>
                    <a:pt x="143" y="70"/>
                  </a:lnTo>
                  <a:lnTo>
                    <a:pt x="107" y="102"/>
                  </a:lnTo>
                  <a:lnTo>
                    <a:pt x="81" y="91"/>
                  </a:lnTo>
                  <a:lnTo>
                    <a:pt x="52" y="97"/>
                  </a:lnTo>
                  <a:lnTo>
                    <a:pt x="26" y="128"/>
                  </a:lnTo>
                  <a:lnTo>
                    <a:pt x="57" y="180"/>
                  </a:lnTo>
                  <a:lnTo>
                    <a:pt x="36" y="201"/>
                  </a:lnTo>
                  <a:lnTo>
                    <a:pt x="44" y="245"/>
                  </a:lnTo>
                  <a:lnTo>
                    <a:pt x="18" y="279"/>
                  </a:lnTo>
                  <a:lnTo>
                    <a:pt x="0" y="328"/>
                  </a:lnTo>
                  <a:lnTo>
                    <a:pt x="21" y="365"/>
                  </a:lnTo>
                  <a:lnTo>
                    <a:pt x="87" y="370"/>
                  </a:lnTo>
                  <a:lnTo>
                    <a:pt x="113" y="356"/>
                  </a:lnTo>
                  <a:lnTo>
                    <a:pt x="153" y="356"/>
                  </a:lnTo>
                  <a:lnTo>
                    <a:pt x="151" y="400"/>
                  </a:lnTo>
                  <a:lnTo>
                    <a:pt x="181" y="417"/>
                  </a:lnTo>
                  <a:lnTo>
                    <a:pt x="212" y="422"/>
                  </a:lnTo>
                  <a:lnTo>
                    <a:pt x="226" y="460"/>
                  </a:lnTo>
                  <a:lnTo>
                    <a:pt x="233" y="467"/>
                  </a:lnTo>
                  <a:lnTo>
                    <a:pt x="228" y="490"/>
                  </a:lnTo>
                  <a:lnTo>
                    <a:pt x="219" y="500"/>
                  </a:lnTo>
                  <a:lnTo>
                    <a:pt x="247" y="518"/>
                  </a:lnTo>
                  <a:lnTo>
                    <a:pt x="249" y="540"/>
                  </a:lnTo>
                  <a:lnTo>
                    <a:pt x="285" y="540"/>
                  </a:lnTo>
                  <a:lnTo>
                    <a:pt x="294" y="530"/>
                  </a:lnTo>
                  <a:lnTo>
                    <a:pt x="325" y="530"/>
                  </a:lnTo>
                  <a:lnTo>
                    <a:pt x="334" y="551"/>
                  </a:lnTo>
                  <a:lnTo>
                    <a:pt x="367" y="551"/>
                  </a:lnTo>
                  <a:lnTo>
                    <a:pt x="377" y="570"/>
                  </a:lnTo>
                  <a:lnTo>
                    <a:pt x="441" y="570"/>
                  </a:lnTo>
                  <a:lnTo>
                    <a:pt x="488" y="595"/>
                  </a:lnTo>
                  <a:lnTo>
                    <a:pt x="492" y="589"/>
                  </a:lnTo>
                  <a:lnTo>
                    <a:pt x="518" y="575"/>
                  </a:lnTo>
                  <a:lnTo>
                    <a:pt x="565" y="514"/>
                  </a:lnTo>
                  <a:lnTo>
                    <a:pt x="653" y="521"/>
                  </a:lnTo>
                  <a:lnTo>
                    <a:pt x="690" y="547"/>
                  </a:lnTo>
                  <a:lnTo>
                    <a:pt x="702" y="530"/>
                  </a:lnTo>
                  <a:lnTo>
                    <a:pt x="721" y="474"/>
                  </a:lnTo>
                  <a:lnTo>
                    <a:pt x="744" y="420"/>
                  </a:lnTo>
                  <a:lnTo>
                    <a:pt x="794" y="398"/>
                  </a:lnTo>
                  <a:lnTo>
                    <a:pt x="818" y="389"/>
                  </a:lnTo>
                  <a:lnTo>
                    <a:pt x="811" y="367"/>
                  </a:lnTo>
                  <a:lnTo>
                    <a:pt x="787" y="365"/>
                  </a:lnTo>
                  <a:lnTo>
                    <a:pt x="778" y="342"/>
                  </a:lnTo>
                  <a:lnTo>
                    <a:pt x="758" y="342"/>
                  </a:lnTo>
                  <a:lnTo>
                    <a:pt x="728" y="311"/>
                  </a:lnTo>
                  <a:lnTo>
                    <a:pt x="730" y="290"/>
                  </a:lnTo>
                  <a:lnTo>
                    <a:pt x="690" y="250"/>
                  </a:lnTo>
                  <a:lnTo>
                    <a:pt x="683" y="224"/>
                  </a:lnTo>
                  <a:lnTo>
                    <a:pt x="657" y="235"/>
                  </a:lnTo>
                  <a:lnTo>
                    <a:pt x="650" y="221"/>
                  </a:lnTo>
                  <a:lnTo>
                    <a:pt x="667" y="195"/>
                  </a:lnTo>
                  <a:lnTo>
                    <a:pt x="648" y="177"/>
                  </a:lnTo>
                  <a:lnTo>
                    <a:pt x="648" y="144"/>
                  </a:lnTo>
                  <a:lnTo>
                    <a:pt x="631" y="127"/>
                  </a:lnTo>
                  <a:lnTo>
                    <a:pt x="579" y="125"/>
                  </a:lnTo>
                  <a:lnTo>
                    <a:pt x="579" y="94"/>
                  </a:lnTo>
                  <a:lnTo>
                    <a:pt x="608" y="73"/>
                  </a:lnTo>
                  <a:lnTo>
                    <a:pt x="608" y="49"/>
                  </a:lnTo>
                  <a:lnTo>
                    <a:pt x="638" y="35"/>
                  </a:lnTo>
                  <a:lnTo>
                    <a:pt x="622" y="26"/>
                  </a:lnTo>
                  <a:lnTo>
                    <a:pt x="603" y="35"/>
                  </a:lnTo>
                  <a:lnTo>
                    <a:pt x="565" y="35"/>
                  </a:lnTo>
                  <a:lnTo>
                    <a:pt x="553" y="24"/>
                  </a:lnTo>
                  <a:lnTo>
                    <a:pt x="547" y="26"/>
                  </a:lnTo>
                  <a:lnTo>
                    <a:pt x="534" y="39"/>
                  </a:lnTo>
                  <a:lnTo>
                    <a:pt x="495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32</a:t>
              </a:r>
            </a:p>
          </p:txBody>
        </p:sp>
        <p:sp>
          <p:nvSpPr>
            <p:cNvPr id="35" name="FR-31">
              <a:extLst>
                <a:ext uri="{FF2B5EF4-FFF2-40B4-BE49-F238E27FC236}">
                  <a16:creationId xmlns:a16="http://schemas.microsoft.com/office/drawing/2014/main" id="{AC0A7B27-AC92-4C68-94FA-8725A517763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059715" y="5727907"/>
              <a:ext cx="403299" cy="406657"/>
            </a:xfrm>
            <a:custGeom>
              <a:avLst/>
              <a:gdLst>
                <a:gd name="T0" fmla="*/ 559 w 873"/>
                <a:gd name="T1" fmla="*/ 14 h 923"/>
                <a:gd name="T2" fmla="*/ 533 w 873"/>
                <a:gd name="T3" fmla="*/ 17 h 923"/>
                <a:gd name="T4" fmla="*/ 502 w 873"/>
                <a:gd name="T5" fmla="*/ 38 h 923"/>
                <a:gd name="T6" fmla="*/ 509 w 873"/>
                <a:gd name="T7" fmla="*/ 57 h 923"/>
                <a:gd name="T8" fmla="*/ 434 w 873"/>
                <a:gd name="T9" fmla="*/ 99 h 923"/>
                <a:gd name="T10" fmla="*/ 385 w 873"/>
                <a:gd name="T11" fmla="*/ 69 h 923"/>
                <a:gd name="T12" fmla="*/ 297 w 873"/>
                <a:gd name="T13" fmla="*/ 80 h 923"/>
                <a:gd name="T14" fmla="*/ 297 w 873"/>
                <a:gd name="T15" fmla="*/ 109 h 923"/>
                <a:gd name="T16" fmla="*/ 335 w 873"/>
                <a:gd name="T17" fmla="*/ 170 h 923"/>
                <a:gd name="T18" fmla="*/ 385 w 873"/>
                <a:gd name="T19" fmla="*/ 201 h 923"/>
                <a:gd name="T20" fmla="*/ 418 w 873"/>
                <a:gd name="T21" fmla="*/ 226 h 923"/>
                <a:gd name="T22" fmla="*/ 401 w 873"/>
                <a:gd name="T23" fmla="*/ 257 h 923"/>
                <a:gd name="T24" fmla="*/ 328 w 873"/>
                <a:gd name="T25" fmla="*/ 333 h 923"/>
                <a:gd name="T26" fmla="*/ 297 w 873"/>
                <a:gd name="T27" fmla="*/ 406 h 923"/>
                <a:gd name="T28" fmla="*/ 172 w 873"/>
                <a:gd name="T29" fmla="*/ 373 h 923"/>
                <a:gd name="T30" fmla="*/ 99 w 873"/>
                <a:gd name="T31" fmla="*/ 448 h 923"/>
                <a:gd name="T32" fmla="*/ 64 w 873"/>
                <a:gd name="T33" fmla="*/ 500 h 923"/>
                <a:gd name="T34" fmla="*/ 33 w 873"/>
                <a:gd name="T35" fmla="*/ 528 h 923"/>
                <a:gd name="T36" fmla="*/ 7 w 873"/>
                <a:gd name="T37" fmla="*/ 589 h 923"/>
                <a:gd name="T38" fmla="*/ 57 w 873"/>
                <a:gd name="T39" fmla="*/ 651 h 923"/>
                <a:gd name="T40" fmla="*/ 71 w 873"/>
                <a:gd name="T41" fmla="*/ 665 h 923"/>
                <a:gd name="T42" fmla="*/ 97 w 873"/>
                <a:gd name="T43" fmla="*/ 726 h 923"/>
                <a:gd name="T44" fmla="*/ 66 w 873"/>
                <a:gd name="T45" fmla="*/ 771 h 923"/>
                <a:gd name="T46" fmla="*/ 26 w 873"/>
                <a:gd name="T47" fmla="*/ 776 h 923"/>
                <a:gd name="T48" fmla="*/ 3 w 873"/>
                <a:gd name="T49" fmla="*/ 916 h 923"/>
                <a:gd name="T50" fmla="*/ 115 w 873"/>
                <a:gd name="T51" fmla="*/ 795 h 923"/>
                <a:gd name="T52" fmla="*/ 205 w 873"/>
                <a:gd name="T53" fmla="*/ 831 h 923"/>
                <a:gd name="T54" fmla="*/ 217 w 873"/>
                <a:gd name="T55" fmla="*/ 797 h 923"/>
                <a:gd name="T56" fmla="*/ 240 w 873"/>
                <a:gd name="T57" fmla="*/ 721 h 923"/>
                <a:gd name="T58" fmla="*/ 311 w 873"/>
                <a:gd name="T59" fmla="*/ 670 h 923"/>
                <a:gd name="T60" fmla="*/ 295 w 873"/>
                <a:gd name="T61" fmla="*/ 615 h 923"/>
                <a:gd name="T62" fmla="*/ 380 w 873"/>
                <a:gd name="T63" fmla="*/ 580 h 923"/>
                <a:gd name="T64" fmla="*/ 436 w 873"/>
                <a:gd name="T65" fmla="*/ 613 h 923"/>
                <a:gd name="T66" fmla="*/ 467 w 873"/>
                <a:gd name="T67" fmla="*/ 592 h 923"/>
                <a:gd name="T68" fmla="*/ 434 w 873"/>
                <a:gd name="T69" fmla="*/ 568 h 923"/>
                <a:gd name="T70" fmla="*/ 448 w 873"/>
                <a:gd name="T71" fmla="*/ 538 h 923"/>
                <a:gd name="T72" fmla="*/ 512 w 873"/>
                <a:gd name="T73" fmla="*/ 519 h 923"/>
                <a:gd name="T74" fmla="*/ 469 w 873"/>
                <a:gd name="T75" fmla="*/ 479 h 923"/>
                <a:gd name="T76" fmla="*/ 493 w 873"/>
                <a:gd name="T77" fmla="*/ 453 h 923"/>
                <a:gd name="T78" fmla="*/ 535 w 873"/>
                <a:gd name="T79" fmla="*/ 493 h 923"/>
                <a:gd name="T80" fmla="*/ 583 w 873"/>
                <a:gd name="T81" fmla="*/ 521 h 923"/>
                <a:gd name="T82" fmla="*/ 570 w 873"/>
                <a:gd name="T83" fmla="*/ 474 h 923"/>
                <a:gd name="T84" fmla="*/ 637 w 873"/>
                <a:gd name="T85" fmla="*/ 502 h 923"/>
                <a:gd name="T86" fmla="*/ 686 w 873"/>
                <a:gd name="T87" fmla="*/ 489 h 923"/>
                <a:gd name="T88" fmla="*/ 714 w 873"/>
                <a:gd name="T89" fmla="*/ 469 h 923"/>
                <a:gd name="T90" fmla="*/ 762 w 873"/>
                <a:gd name="T91" fmla="*/ 410 h 923"/>
                <a:gd name="T92" fmla="*/ 788 w 873"/>
                <a:gd name="T93" fmla="*/ 351 h 923"/>
                <a:gd name="T94" fmla="*/ 861 w 873"/>
                <a:gd name="T95" fmla="*/ 366 h 923"/>
                <a:gd name="T96" fmla="*/ 873 w 873"/>
                <a:gd name="T97" fmla="*/ 347 h 923"/>
                <a:gd name="T98" fmla="*/ 844 w 873"/>
                <a:gd name="T99" fmla="*/ 319 h 923"/>
                <a:gd name="T100" fmla="*/ 778 w 873"/>
                <a:gd name="T101" fmla="*/ 271 h 923"/>
                <a:gd name="T102" fmla="*/ 705 w 873"/>
                <a:gd name="T103" fmla="*/ 229 h 923"/>
                <a:gd name="T104" fmla="*/ 710 w 873"/>
                <a:gd name="T105" fmla="*/ 201 h 923"/>
                <a:gd name="T106" fmla="*/ 691 w 873"/>
                <a:gd name="T107" fmla="*/ 154 h 923"/>
                <a:gd name="T108" fmla="*/ 665 w 873"/>
                <a:gd name="T109" fmla="*/ 83 h 923"/>
                <a:gd name="T110" fmla="*/ 630 w 873"/>
                <a:gd name="T111" fmla="*/ 45 h 923"/>
                <a:gd name="T112" fmla="*/ 597 w 873"/>
                <a:gd name="T113" fmla="*/ 0 h 92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873"/>
                <a:gd name="T172" fmla="*/ 0 h 923"/>
                <a:gd name="T173" fmla="*/ 873 w 873"/>
                <a:gd name="T174" fmla="*/ 923 h 92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873" h="923">
                  <a:moveTo>
                    <a:pt x="597" y="0"/>
                  </a:moveTo>
                  <a:lnTo>
                    <a:pt x="559" y="14"/>
                  </a:lnTo>
                  <a:lnTo>
                    <a:pt x="547" y="33"/>
                  </a:lnTo>
                  <a:lnTo>
                    <a:pt x="533" y="17"/>
                  </a:lnTo>
                  <a:lnTo>
                    <a:pt x="507" y="14"/>
                  </a:lnTo>
                  <a:lnTo>
                    <a:pt x="502" y="38"/>
                  </a:lnTo>
                  <a:lnTo>
                    <a:pt x="486" y="45"/>
                  </a:lnTo>
                  <a:lnTo>
                    <a:pt x="509" y="57"/>
                  </a:lnTo>
                  <a:lnTo>
                    <a:pt x="493" y="83"/>
                  </a:lnTo>
                  <a:lnTo>
                    <a:pt x="434" y="99"/>
                  </a:lnTo>
                  <a:lnTo>
                    <a:pt x="408" y="69"/>
                  </a:lnTo>
                  <a:lnTo>
                    <a:pt x="385" y="69"/>
                  </a:lnTo>
                  <a:lnTo>
                    <a:pt x="365" y="80"/>
                  </a:lnTo>
                  <a:lnTo>
                    <a:pt x="297" y="80"/>
                  </a:lnTo>
                  <a:lnTo>
                    <a:pt x="290" y="83"/>
                  </a:lnTo>
                  <a:lnTo>
                    <a:pt x="297" y="109"/>
                  </a:lnTo>
                  <a:lnTo>
                    <a:pt x="337" y="149"/>
                  </a:lnTo>
                  <a:lnTo>
                    <a:pt x="335" y="170"/>
                  </a:lnTo>
                  <a:lnTo>
                    <a:pt x="365" y="201"/>
                  </a:lnTo>
                  <a:lnTo>
                    <a:pt x="385" y="201"/>
                  </a:lnTo>
                  <a:lnTo>
                    <a:pt x="394" y="224"/>
                  </a:lnTo>
                  <a:lnTo>
                    <a:pt x="418" y="226"/>
                  </a:lnTo>
                  <a:lnTo>
                    <a:pt x="425" y="248"/>
                  </a:lnTo>
                  <a:lnTo>
                    <a:pt x="401" y="257"/>
                  </a:lnTo>
                  <a:lnTo>
                    <a:pt x="351" y="279"/>
                  </a:lnTo>
                  <a:lnTo>
                    <a:pt x="328" y="333"/>
                  </a:lnTo>
                  <a:lnTo>
                    <a:pt x="309" y="389"/>
                  </a:lnTo>
                  <a:lnTo>
                    <a:pt x="297" y="406"/>
                  </a:lnTo>
                  <a:lnTo>
                    <a:pt x="260" y="380"/>
                  </a:lnTo>
                  <a:lnTo>
                    <a:pt x="172" y="373"/>
                  </a:lnTo>
                  <a:lnTo>
                    <a:pt x="125" y="434"/>
                  </a:lnTo>
                  <a:lnTo>
                    <a:pt x="99" y="448"/>
                  </a:lnTo>
                  <a:lnTo>
                    <a:pt x="83" y="471"/>
                  </a:lnTo>
                  <a:lnTo>
                    <a:pt x="64" y="500"/>
                  </a:lnTo>
                  <a:lnTo>
                    <a:pt x="64" y="516"/>
                  </a:lnTo>
                  <a:lnTo>
                    <a:pt x="33" y="528"/>
                  </a:lnTo>
                  <a:lnTo>
                    <a:pt x="10" y="568"/>
                  </a:lnTo>
                  <a:lnTo>
                    <a:pt x="7" y="589"/>
                  </a:lnTo>
                  <a:lnTo>
                    <a:pt x="50" y="620"/>
                  </a:lnTo>
                  <a:lnTo>
                    <a:pt x="57" y="651"/>
                  </a:lnTo>
                  <a:lnTo>
                    <a:pt x="43" y="674"/>
                  </a:lnTo>
                  <a:lnTo>
                    <a:pt x="71" y="665"/>
                  </a:lnTo>
                  <a:lnTo>
                    <a:pt x="85" y="677"/>
                  </a:lnTo>
                  <a:lnTo>
                    <a:pt x="97" y="726"/>
                  </a:lnTo>
                  <a:lnTo>
                    <a:pt x="64" y="745"/>
                  </a:lnTo>
                  <a:lnTo>
                    <a:pt x="66" y="771"/>
                  </a:lnTo>
                  <a:lnTo>
                    <a:pt x="50" y="787"/>
                  </a:lnTo>
                  <a:lnTo>
                    <a:pt x="26" y="776"/>
                  </a:lnTo>
                  <a:lnTo>
                    <a:pt x="0" y="776"/>
                  </a:lnTo>
                  <a:lnTo>
                    <a:pt x="3" y="916"/>
                  </a:lnTo>
                  <a:lnTo>
                    <a:pt x="109" y="923"/>
                  </a:lnTo>
                  <a:lnTo>
                    <a:pt x="115" y="795"/>
                  </a:lnTo>
                  <a:lnTo>
                    <a:pt x="151" y="800"/>
                  </a:lnTo>
                  <a:lnTo>
                    <a:pt x="205" y="831"/>
                  </a:lnTo>
                  <a:lnTo>
                    <a:pt x="227" y="811"/>
                  </a:lnTo>
                  <a:lnTo>
                    <a:pt x="217" y="797"/>
                  </a:lnTo>
                  <a:lnTo>
                    <a:pt x="217" y="750"/>
                  </a:lnTo>
                  <a:lnTo>
                    <a:pt x="240" y="721"/>
                  </a:lnTo>
                  <a:lnTo>
                    <a:pt x="302" y="705"/>
                  </a:lnTo>
                  <a:lnTo>
                    <a:pt x="311" y="670"/>
                  </a:lnTo>
                  <a:lnTo>
                    <a:pt x="297" y="660"/>
                  </a:lnTo>
                  <a:lnTo>
                    <a:pt x="295" y="615"/>
                  </a:lnTo>
                  <a:lnTo>
                    <a:pt x="349" y="582"/>
                  </a:lnTo>
                  <a:lnTo>
                    <a:pt x="380" y="580"/>
                  </a:lnTo>
                  <a:lnTo>
                    <a:pt x="410" y="589"/>
                  </a:lnTo>
                  <a:lnTo>
                    <a:pt x="436" y="613"/>
                  </a:lnTo>
                  <a:lnTo>
                    <a:pt x="453" y="615"/>
                  </a:lnTo>
                  <a:lnTo>
                    <a:pt x="467" y="592"/>
                  </a:lnTo>
                  <a:lnTo>
                    <a:pt x="455" y="575"/>
                  </a:lnTo>
                  <a:lnTo>
                    <a:pt x="434" y="568"/>
                  </a:lnTo>
                  <a:lnTo>
                    <a:pt x="432" y="561"/>
                  </a:lnTo>
                  <a:lnTo>
                    <a:pt x="448" y="538"/>
                  </a:lnTo>
                  <a:lnTo>
                    <a:pt x="505" y="533"/>
                  </a:lnTo>
                  <a:lnTo>
                    <a:pt x="512" y="519"/>
                  </a:lnTo>
                  <a:lnTo>
                    <a:pt x="502" y="502"/>
                  </a:lnTo>
                  <a:lnTo>
                    <a:pt x="469" y="479"/>
                  </a:lnTo>
                  <a:lnTo>
                    <a:pt x="476" y="464"/>
                  </a:lnTo>
                  <a:lnTo>
                    <a:pt x="493" y="453"/>
                  </a:lnTo>
                  <a:lnTo>
                    <a:pt x="509" y="457"/>
                  </a:lnTo>
                  <a:lnTo>
                    <a:pt x="535" y="493"/>
                  </a:lnTo>
                  <a:lnTo>
                    <a:pt x="538" y="516"/>
                  </a:lnTo>
                  <a:lnTo>
                    <a:pt x="583" y="521"/>
                  </a:lnTo>
                  <a:lnTo>
                    <a:pt x="592" y="500"/>
                  </a:lnTo>
                  <a:lnTo>
                    <a:pt x="570" y="474"/>
                  </a:lnTo>
                  <a:lnTo>
                    <a:pt x="585" y="479"/>
                  </a:lnTo>
                  <a:lnTo>
                    <a:pt x="637" y="502"/>
                  </a:lnTo>
                  <a:lnTo>
                    <a:pt x="665" y="498"/>
                  </a:lnTo>
                  <a:lnTo>
                    <a:pt x="686" y="489"/>
                  </a:lnTo>
                  <a:lnTo>
                    <a:pt x="681" y="484"/>
                  </a:lnTo>
                  <a:lnTo>
                    <a:pt x="714" y="469"/>
                  </a:lnTo>
                  <a:lnTo>
                    <a:pt x="721" y="428"/>
                  </a:lnTo>
                  <a:lnTo>
                    <a:pt x="762" y="410"/>
                  </a:lnTo>
                  <a:lnTo>
                    <a:pt x="751" y="384"/>
                  </a:lnTo>
                  <a:lnTo>
                    <a:pt x="788" y="351"/>
                  </a:lnTo>
                  <a:lnTo>
                    <a:pt x="806" y="384"/>
                  </a:lnTo>
                  <a:lnTo>
                    <a:pt x="861" y="366"/>
                  </a:lnTo>
                  <a:lnTo>
                    <a:pt x="872" y="364"/>
                  </a:lnTo>
                  <a:lnTo>
                    <a:pt x="873" y="347"/>
                  </a:lnTo>
                  <a:lnTo>
                    <a:pt x="873" y="314"/>
                  </a:lnTo>
                  <a:lnTo>
                    <a:pt x="844" y="319"/>
                  </a:lnTo>
                  <a:lnTo>
                    <a:pt x="809" y="309"/>
                  </a:lnTo>
                  <a:lnTo>
                    <a:pt x="778" y="271"/>
                  </a:lnTo>
                  <a:lnTo>
                    <a:pt x="766" y="255"/>
                  </a:lnTo>
                  <a:lnTo>
                    <a:pt x="705" y="229"/>
                  </a:lnTo>
                  <a:lnTo>
                    <a:pt x="691" y="208"/>
                  </a:lnTo>
                  <a:lnTo>
                    <a:pt x="710" y="201"/>
                  </a:lnTo>
                  <a:lnTo>
                    <a:pt x="710" y="175"/>
                  </a:lnTo>
                  <a:lnTo>
                    <a:pt x="691" y="154"/>
                  </a:lnTo>
                  <a:lnTo>
                    <a:pt x="667" y="116"/>
                  </a:lnTo>
                  <a:lnTo>
                    <a:pt x="665" y="83"/>
                  </a:lnTo>
                  <a:lnTo>
                    <a:pt x="658" y="78"/>
                  </a:lnTo>
                  <a:lnTo>
                    <a:pt x="630" y="45"/>
                  </a:lnTo>
                  <a:lnTo>
                    <a:pt x="618" y="10"/>
                  </a:lnTo>
                  <a:lnTo>
                    <a:pt x="597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31</a:t>
              </a:r>
            </a:p>
          </p:txBody>
        </p:sp>
        <p:sp>
          <p:nvSpPr>
            <p:cNvPr id="36" name="FR-82">
              <a:extLst>
                <a:ext uri="{FF2B5EF4-FFF2-40B4-BE49-F238E27FC236}">
                  <a16:creationId xmlns:a16="http://schemas.microsoft.com/office/drawing/2014/main" id="{CC00749C-6815-4706-8976-8DBB9D8470B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133630" y="5564891"/>
              <a:ext cx="313677" cy="206633"/>
            </a:xfrm>
            <a:custGeom>
              <a:avLst/>
              <a:gdLst>
                <a:gd name="T0" fmla="*/ 88 w 679"/>
                <a:gd name="T1" fmla="*/ 60 h 469"/>
                <a:gd name="T2" fmla="*/ 103 w 679"/>
                <a:gd name="T3" fmla="*/ 141 h 469"/>
                <a:gd name="T4" fmla="*/ 98 w 679"/>
                <a:gd name="T5" fmla="*/ 190 h 469"/>
                <a:gd name="T6" fmla="*/ 10 w 679"/>
                <a:gd name="T7" fmla="*/ 211 h 469"/>
                <a:gd name="T8" fmla="*/ 0 w 679"/>
                <a:gd name="T9" fmla="*/ 253 h 469"/>
                <a:gd name="T10" fmla="*/ 50 w 679"/>
                <a:gd name="T11" fmla="*/ 264 h 469"/>
                <a:gd name="T12" fmla="*/ 85 w 679"/>
                <a:gd name="T13" fmla="*/ 264 h 469"/>
                <a:gd name="T14" fmla="*/ 55 w 679"/>
                <a:gd name="T15" fmla="*/ 302 h 469"/>
                <a:gd name="T16" fmla="*/ 26 w 679"/>
                <a:gd name="T17" fmla="*/ 354 h 469"/>
                <a:gd name="T18" fmla="*/ 95 w 679"/>
                <a:gd name="T19" fmla="*/ 373 h 469"/>
                <a:gd name="T20" fmla="*/ 114 w 679"/>
                <a:gd name="T21" fmla="*/ 424 h 469"/>
                <a:gd name="T22" fmla="*/ 104 w 679"/>
                <a:gd name="T23" fmla="*/ 464 h 469"/>
                <a:gd name="T24" fmla="*/ 205 w 679"/>
                <a:gd name="T25" fmla="*/ 450 h 469"/>
                <a:gd name="T26" fmla="*/ 248 w 679"/>
                <a:gd name="T27" fmla="*/ 439 h 469"/>
                <a:gd name="T28" fmla="*/ 333 w 679"/>
                <a:gd name="T29" fmla="*/ 453 h 469"/>
                <a:gd name="T30" fmla="*/ 326 w 679"/>
                <a:gd name="T31" fmla="*/ 415 h 469"/>
                <a:gd name="T32" fmla="*/ 347 w 679"/>
                <a:gd name="T33" fmla="*/ 384 h 469"/>
                <a:gd name="T34" fmla="*/ 387 w 679"/>
                <a:gd name="T35" fmla="*/ 403 h 469"/>
                <a:gd name="T36" fmla="*/ 437 w 679"/>
                <a:gd name="T37" fmla="*/ 370 h 469"/>
                <a:gd name="T38" fmla="*/ 467 w 679"/>
                <a:gd name="T39" fmla="*/ 356 h 469"/>
                <a:gd name="T40" fmla="*/ 488 w 679"/>
                <a:gd name="T41" fmla="*/ 330 h 469"/>
                <a:gd name="T42" fmla="*/ 533 w 679"/>
                <a:gd name="T43" fmla="*/ 276 h 469"/>
                <a:gd name="T44" fmla="*/ 512 w 679"/>
                <a:gd name="T45" fmla="*/ 236 h 469"/>
                <a:gd name="T46" fmla="*/ 623 w 679"/>
                <a:gd name="T47" fmla="*/ 208 h 469"/>
                <a:gd name="T48" fmla="*/ 673 w 679"/>
                <a:gd name="T49" fmla="*/ 181 h 469"/>
                <a:gd name="T50" fmla="*/ 679 w 679"/>
                <a:gd name="T51" fmla="*/ 101 h 469"/>
                <a:gd name="T52" fmla="*/ 637 w 679"/>
                <a:gd name="T53" fmla="*/ 40 h 469"/>
                <a:gd name="T54" fmla="*/ 543 w 679"/>
                <a:gd name="T55" fmla="*/ 57 h 469"/>
                <a:gd name="T56" fmla="*/ 479 w 679"/>
                <a:gd name="T57" fmla="*/ 80 h 469"/>
                <a:gd name="T58" fmla="*/ 453 w 679"/>
                <a:gd name="T59" fmla="*/ 127 h 469"/>
                <a:gd name="T60" fmla="*/ 434 w 679"/>
                <a:gd name="T61" fmla="*/ 90 h 469"/>
                <a:gd name="T62" fmla="*/ 373 w 679"/>
                <a:gd name="T63" fmla="*/ 134 h 469"/>
                <a:gd name="T64" fmla="*/ 316 w 679"/>
                <a:gd name="T65" fmla="*/ 101 h 469"/>
                <a:gd name="T66" fmla="*/ 312 w 679"/>
                <a:gd name="T67" fmla="*/ 73 h 469"/>
                <a:gd name="T68" fmla="*/ 274 w 679"/>
                <a:gd name="T69" fmla="*/ 92 h 469"/>
                <a:gd name="T70" fmla="*/ 229 w 679"/>
                <a:gd name="T71" fmla="*/ 66 h 469"/>
                <a:gd name="T72" fmla="*/ 234 w 679"/>
                <a:gd name="T73" fmla="*/ 16 h 469"/>
                <a:gd name="T74" fmla="*/ 198 w 679"/>
                <a:gd name="T75" fmla="*/ 4 h 469"/>
                <a:gd name="T76" fmla="*/ 145 w 679"/>
                <a:gd name="T77" fmla="*/ 24 h 469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679"/>
                <a:gd name="T118" fmla="*/ 0 h 469"/>
                <a:gd name="T119" fmla="*/ 679 w 679"/>
                <a:gd name="T120" fmla="*/ 469 h 469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679" h="469">
                  <a:moveTo>
                    <a:pt x="106" y="0"/>
                  </a:moveTo>
                  <a:lnTo>
                    <a:pt x="88" y="60"/>
                  </a:lnTo>
                  <a:lnTo>
                    <a:pt x="116" y="91"/>
                  </a:lnTo>
                  <a:lnTo>
                    <a:pt x="103" y="141"/>
                  </a:lnTo>
                  <a:lnTo>
                    <a:pt x="88" y="159"/>
                  </a:lnTo>
                  <a:lnTo>
                    <a:pt x="98" y="190"/>
                  </a:lnTo>
                  <a:lnTo>
                    <a:pt x="49" y="201"/>
                  </a:lnTo>
                  <a:lnTo>
                    <a:pt x="10" y="211"/>
                  </a:lnTo>
                  <a:lnTo>
                    <a:pt x="20" y="247"/>
                  </a:lnTo>
                  <a:lnTo>
                    <a:pt x="0" y="253"/>
                  </a:lnTo>
                  <a:lnTo>
                    <a:pt x="12" y="264"/>
                  </a:lnTo>
                  <a:lnTo>
                    <a:pt x="50" y="264"/>
                  </a:lnTo>
                  <a:lnTo>
                    <a:pt x="69" y="255"/>
                  </a:lnTo>
                  <a:lnTo>
                    <a:pt x="85" y="264"/>
                  </a:lnTo>
                  <a:lnTo>
                    <a:pt x="55" y="278"/>
                  </a:lnTo>
                  <a:lnTo>
                    <a:pt x="55" y="302"/>
                  </a:lnTo>
                  <a:lnTo>
                    <a:pt x="26" y="323"/>
                  </a:lnTo>
                  <a:lnTo>
                    <a:pt x="26" y="354"/>
                  </a:lnTo>
                  <a:lnTo>
                    <a:pt x="78" y="356"/>
                  </a:lnTo>
                  <a:lnTo>
                    <a:pt x="95" y="373"/>
                  </a:lnTo>
                  <a:lnTo>
                    <a:pt x="95" y="406"/>
                  </a:lnTo>
                  <a:lnTo>
                    <a:pt x="114" y="424"/>
                  </a:lnTo>
                  <a:lnTo>
                    <a:pt x="97" y="450"/>
                  </a:lnTo>
                  <a:lnTo>
                    <a:pt x="104" y="464"/>
                  </a:lnTo>
                  <a:lnTo>
                    <a:pt x="137" y="450"/>
                  </a:lnTo>
                  <a:lnTo>
                    <a:pt x="205" y="450"/>
                  </a:lnTo>
                  <a:lnTo>
                    <a:pt x="225" y="439"/>
                  </a:lnTo>
                  <a:lnTo>
                    <a:pt x="248" y="439"/>
                  </a:lnTo>
                  <a:lnTo>
                    <a:pt x="274" y="469"/>
                  </a:lnTo>
                  <a:lnTo>
                    <a:pt x="333" y="453"/>
                  </a:lnTo>
                  <a:lnTo>
                    <a:pt x="349" y="427"/>
                  </a:lnTo>
                  <a:lnTo>
                    <a:pt x="326" y="415"/>
                  </a:lnTo>
                  <a:lnTo>
                    <a:pt x="342" y="408"/>
                  </a:lnTo>
                  <a:lnTo>
                    <a:pt x="347" y="384"/>
                  </a:lnTo>
                  <a:lnTo>
                    <a:pt x="373" y="387"/>
                  </a:lnTo>
                  <a:lnTo>
                    <a:pt x="387" y="403"/>
                  </a:lnTo>
                  <a:lnTo>
                    <a:pt x="399" y="384"/>
                  </a:lnTo>
                  <a:lnTo>
                    <a:pt x="437" y="370"/>
                  </a:lnTo>
                  <a:lnTo>
                    <a:pt x="454" y="378"/>
                  </a:lnTo>
                  <a:lnTo>
                    <a:pt x="467" y="356"/>
                  </a:lnTo>
                  <a:lnTo>
                    <a:pt x="444" y="330"/>
                  </a:lnTo>
                  <a:lnTo>
                    <a:pt x="488" y="330"/>
                  </a:lnTo>
                  <a:lnTo>
                    <a:pt x="503" y="304"/>
                  </a:lnTo>
                  <a:lnTo>
                    <a:pt x="533" y="276"/>
                  </a:lnTo>
                  <a:lnTo>
                    <a:pt x="503" y="276"/>
                  </a:lnTo>
                  <a:lnTo>
                    <a:pt x="512" y="236"/>
                  </a:lnTo>
                  <a:lnTo>
                    <a:pt x="592" y="226"/>
                  </a:lnTo>
                  <a:lnTo>
                    <a:pt x="623" y="208"/>
                  </a:lnTo>
                  <a:lnTo>
                    <a:pt x="660" y="194"/>
                  </a:lnTo>
                  <a:lnTo>
                    <a:pt x="673" y="181"/>
                  </a:lnTo>
                  <a:lnTo>
                    <a:pt x="658" y="144"/>
                  </a:lnTo>
                  <a:lnTo>
                    <a:pt x="679" y="101"/>
                  </a:lnTo>
                  <a:lnTo>
                    <a:pt x="642" y="99"/>
                  </a:lnTo>
                  <a:lnTo>
                    <a:pt x="637" y="40"/>
                  </a:lnTo>
                  <a:lnTo>
                    <a:pt x="580" y="66"/>
                  </a:lnTo>
                  <a:lnTo>
                    <a:pt x="543" y="57"/>
                  </a:lnTo>
                  <a:lnTo>
                    <a:pt x="519" y="85"/>
                  </a:lnTo>
                  <a:lnTo>
                    <a:pt x="479" y="80"/>
                  </a:lnTo>
                  <a:lnTo>
                    <a:pt x="472" y="127"/>
                  </a:lnTo>
                  <a:lnTo>
                    <a:pt x="453" y="127"/>
                  </a:lnTo>
                  <a:lnTo>
                    <a:pt x="441" y="101"/>
                  </a:lnTo>
                  <a:lnTo>
                    <a:pt x="434" y="90"/>
                  </a:lnTo>
                  <a:lnTo>
                    <a:pt x="413" y="92"/>
                  </a:lnTo>
                  <a:lnTo>
                    <a:pt x="373" y="134"/>
                  </a:lnTo>
                  <a:lnTo>
                    <a:pt x="323" y="132"/>
                  </a:lnTo>
                  <a:lnTo>
                    <a:pt x="316" y="101"/>
                  </a:lnTo>
                  <a:lnTo>
                    <a:pt x="316" y="78"/>
                  </a:lnTo>
                  <a:lnTo>
                    <a:pt x="312" y="73"/>
                  </a:lnTo>
                  <a:lnTo>
                    <a:pt x="295" y="92"/>
                  </a:lnTo>
                  <a:lnTo>
                    <a:pt x="274" y="92"/>
                  </a:lnTo>
                  <a:lnTo>
                    <a:pt x="250" y="66"/>
                  </a:lnTo>
                  <a:lnTo>
                    <a:pt x="229" y="66"/>
                  </a:lnTo>
                  <a:lnTo>
                    <a:pt x="215" y="38"/>
                  </a:lnTo>
                  <a:lnTo>
                    <a:pt x="234" y="16"/>
                  </a:lnTo>
                  <a:lnTo>
                    <a:pt x="232" y="3"/>
                  </a:lnTo>
                  <a:lnTo>
                    <a:pt x="198" y="4"/>
                  </a:lnTo>
                  <a:lnTo>
                    <a:pt x="203" y="13"/>
                  </a:lnTo>
                  <a:lnTo>
                    <a:pt x="145" y="24"/>
                  </a:lnTo>
                  <a:lnTo>
                    <a:pt x="106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82</a:t>
              </a:r>
            </a:p>
          </p:txBody>
        </p:sp>
        <p:sp>
          <p:nvSpPr>
            <p:cNvPr id="37" name="FR-12">
              <a:extLst>
                <a:ext uri="{FF2B5EF4-FFF2-40B4-BE49-F238E27FC236}">
                  <a16:creationId xmlns:a16="http://schemas.microsoft.com/office/drawing/2014/main" id="{3880F996-D624-4A8E-9524-4E454E4979B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421437" y="5381169"/>
              <a:ext cx="401913" cy="413707"/>
            </a:xfrm>
            <a:custGeom>
              <a:avLst/>
              <a:gdLst>
                <a:gd name="T0" fmla="*/ 402 w 870"/>
                <a:gd name="T1" fmla="*/ 63 h 939"/>
                <a:gd name="T2" fmla="*/ 384 w 870"/>
                <a:gd name="T3" fmla="*/ 125 h 939"/>
                <a:gd name="T4" fmla="*/ 358 w 870"/>
                <a:gd name="T5" fmla="*/ 191 h 939"/>
                <a:gd name="T6" fmla="*/ 262 w 870"/>
                <a:gd name="T7" fmla="*/ 224 h 939"/>
                <a:gd name="T8" fmla="*/ 218 w 870"/>
                <a:gd name="T9" fmla="*/ 213 h 939"/>
                <a:gd name="T10" fmla="*/ 188 w 870"/>
                <a:gd name="T11" fmla="*/ 249 h 939"/>
                <a:gd name="T12" fmla="*/ 167 w 870"/>
                <a:gd name="T13" fmla="*/ 283 h 939"/>
                <a:gd name="T14" fmla="*/ 110 w 870"/>
                <a:gd name="T15" fmla="*/ 295 h 939"/>
                <a:gd name="T16" fmla="*/ 45 w 870"/>
                <a:gd name="T17" fmla="*/ 339 h 939"/>
                <a:gd name="T18" fmla="*/ 0 w 870"/>
                <a:gd name="T19" fmla="*/ 361 h 939"/>
                <a:gd name="T20" fmla="*/ 33 w 870"/>
                <a:gd name="T21" fmla="*/ 443 h 939"/>
                <a:gd name="T22" fmla="*/ 19 w 870"/>
                <a:gd name="T23" fmla="*/ 516 h 939"/>
                <a:gd name="T24" fmla="*/ 35 w 870"/>
                <a:gd name="T25" fmla="*/ 561 h 939"/>
                <a:gd name="T26" fmla="*/ 73 w 870"/>
                <a:gd name="T27" fmla="*/ 591 h 939"/>
                <a:gd name="T28" fmla="*/ 113 w 870"/>
                <a:gd name="T29" fmla="*/ 582 h 939"/>
                <a:gd name="T30" fmla="*/ 202 w 870"/>
                <a:gd name="T31" fmla="*/ 613 h 939"/>
                <a:gd name="T32" fmla="*/ 309 w 870"/>
                <a:gd name="T33" fmla="*/ 676 h 939"/>
                <a:gd name="T34" fmla="*/ 370 w 870"/>
                <a:gd name="T35" fmla="*/ 749 h 939"/>
                <a:gd name="T36" fmla="*/ 393 w 870"/>
                <a:gd name="T37" fmla="*/ 818 h 939"/>
                <a:gd name="T38" fmla="*/ 440 w 870"/>
                <a:gd name="T39" fmla="*/ 905 h 939"/>
                <a:gd name="T40" fmla="*/ 514 w 870"/>
                <a:gd name="T41" fmla="*/ 921 h 939"/>
                <a:gd name="T42" fmla="*/ 549 w 870"/>
                <a:gd name="T43" fmla="*/ 908 h 939"/>
                <a:gd name="T44" fmla="*/ 598 w 870"/>
                <a:gd name="T45" fmla="*/ 939 h 939"/>
                <a:gd name="T46" fmla="*/ 664 w 870"/>
                <a:gd name="T47" fmla="*/ 939 h 939"/>
                <a:gd name="T48" fmla="*/ 660 w 870"/>
                <a:gd name="T49" fmla="*/ 836 h 939"/>
                <a:gd name="T50" fmla="*/ 723 w 870"/>
                <a:gd name="T51" fmla="*/ 858 h 939"/>
                <a:gd name="T52" fmla="*/ 756 w 870"/>
                <a:gd name="T53" fmla="*/ 814 h 939"/>
                <a:gd name="T54" fmla="*/ 822 w 870"/>
                <a:gd name="T55" fmla="*/ 788 h 939"/>
                <a:gd name="T56" fmla="*/ 870 w 870"/>
                <a:gd name="T57" fmla="*/ 729 h 939"/>
                <a:gd name="T58" fmla="*/ 819 w 870"/>
                <a:gd name="T59" fmla="*/ 678 h 939"/>
                <a:gd name="T60" fmla="*/ 775 w 870"/>
                <a:gd name="T61" fmla="*/ 641 h 939"/>
                <a:gd name="T62" fmla="*/ 804 w 870"/>
                <a:gd name="T63" fmla="*/ 596 h 939"/>
                <a:gd name="T64" fmla="*/ 811 w 870"/>
                <a:gd name="T65" fmla="*/ 560 h 939"/>
                <a:gd name="T66" fmla="*/ 752 w 870"/>
                <a:gd name="T67" fmla="*/ 541 h 939"/>
                <a:gd name="T68" fmla="*/ 697 w 870"/>
                <a:gd name="T69" fmla="*/ 434 h 939"/>
                <a:gd name="T70" fmla="*/ 660 w 870"/>
                <a:gd name="T71" fmla="*/ 346 h 939"/>
                <a:gd name="T72" fmla="*/ 587 w 870"/>
                <a:gd name="T73" fmla="*/ 199 h 939"/>
                <a:gd name="T74" fmla="*/ 554 w 870"/>
                <a:gd name="T75" fmla="*/ 125 h 939"/>
                <a:gd name="T76" fmla="*/ 491 w 870"/>
                <a:gd name="T77" fmla="*/ 59 h 939"/>
                <a:gd name="T78" fmla="*/ 476 w 870"/>
                <a:gd name="T79" fmla="*/ 0 h 939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870"/>
                <a:gd name="T121" fmla="*/ 0 h 939"/>
                <a:gd name="T122" fmla="*/ 870 w 870"/>
                <a:gd name="T123" fmla="*/ 939 h 939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870" h="939">
                  <a:moveTo>
                    <a:pt x="476" y="0"/>
                  </a:moveTo>
                  <a:lnTo>
                    <a:pt x="402" y="63"/>
                  </a:lnTo>
                  <a:lnTo>
                    <a:pt x="402" y="125"/>
                  </a:lnTo>
                  <a:lnTo>
                    <a:pt x="384" y="125"/>
                  </a:lnTo>
                  <a:lnTo>
                    <a:pt x="377" y="184"/>
                  </a:lnTo>
                  <a:lnTo>
                    <a:pt x="358" y="191"/>
                  </a:lnTo>
                  <a:lnTo>
                    <a:pt x="344" y="224"/>
                  </a:lnTo>
                  <a:lnTo>
                    <a:pt x="262" y="224"/>
                  </a:lnTo>
                  <a:lnTo>
                    <a:pt x="255" y="213"/>
                  </a:lnTo>
                  <a:lnTo>
                    <a:pt x="218" y="213"/>
                  </a:lnTo>
                  <a:lnTo>
                    <a:pt x="196" y="250"/>
                  </a:lnTo>
                  <a:lnTo>
                    <a:pt x="188" y="249"/>
                  </a:lnTo>
                  <a:lnTo>
                    <a:pt x="184" y="264"/>
                  </a:lnTo>
                  <a:lnTo>
                    <a:pt x="167" y="283"/>
                  </a:lnTo>
                  <a:lnTo>
                    <a:pt x="120" y="283"/>
                  </a:lnTo>
                  <a:lnTo>
                    <a:pt x="110" y="295"/>
                  </a:lnTo>
                  <a:lnTo>
                    <a:pt x="87" y="292"/>
                  </a:lnTo>
                  <a:lnTo>
                    <a:pt x="45" y="339"/>
                  </a:lnTo>
                  <a:lnTo>
                    <a:pt x="30" y="335"/>
                  </a:lnTo>
                  <a:lnTo>
                    <a:pt x="0" y="361"/>
                  </a:lnTo>
                  <a:lnTo>
                    <a:pt x="9" y="408"/>
                  </a:lnTo>
                  <a:lnTo>
                    <a:pt x="33" y="443"/>
                  </a:lnTo>
                  <a:lnTo>
                    <a:pt x="15" y="462"/>
                  </a:lnTo>
                  <a:lnTo>
                    <a:pt x="19" y="516"/>
                  </a:lnTo>
                  <a:lnTo>
                    <a:pt x="56" y="518"/>
                  </a:lnTo>
                  <a:lnTo>
                    <a:pt x="35" y="561"/>
                  </a:lnTo>
                  <a:lnTo>
                    <a:pt x="52" y="603"/>
                  </a:lnTo>
                  <a:lnTo>
                    <a:pt x="73" y="591"/>
                  </a:lnTo>
                  <a:lnTo>
                    <a:pt x="82" y="613"/>
                  </a:lnTo>
                  <a:lnTo>
                    <a:pt x="113" y="582"/>
                  </a:lnTo>
                  <a:lnTo>
                    <a:pt x="158" y="580"/>
                  </a:lnTo>
                  <a:lnTo>
                    <a:pt x="202" y="613"/>
                  </a:lnTo>
                  <a:lnTo>
                    <a:pt x="280" y="627"/>
                  </a:lnTo>
                  <a:lnTo>
                    <a:pt x="309" y="676"/>
                  </a:lnTo>
                  <a:lnTo>
                    <a:pt x="349" y="695"/>
                  </a:lnTo>
                  <a:lnTo>
                    <a:pt x="370" y="749"/>
                  </a:lnTo>
                  <a:lnTo>
                    <a:pt x="367" y="771"/>
                  </a:lnTo>
                  <a:lnTo>
                    <a:pt x="393" y="818"/>
                  </a:lnTo>
                  <a:lnTo>
                    <a:pt x="393" y="844"/>
                  </a:lnTo>
                  <a:lnTo>
                    <a:pt x="440" y="905"/>
                  </a:lnTo>
                  <a:lnTo>
                    <a:pt x="485" y="928"/>
                  </a:lnTo>
                  <a:lnTo>
                    <a:pt x="514" y="921"/>
                  </a:lnTo>
                  <a:lnTo>
                    <a:pt x="528" y="903"/>
                  </a:lnTo>
                  <a:lnTo>
                    <a:pt x="549" y="908"/>
                  </a:lnTo>
                  <a:lnTo>
                    <a:pt x="598" y="939"/>
                  </a:lnTo>
                  <a:lnTo>
                    <a:pt x="620" y="939"/>
                  </a:lnTo>
                  <a:lnTo>
                    <a:pt x="664" y="939"/>
                  </a:lnTo>
                  <a:lnTo>
                    <a:pt x="660" y="862"/>
                  </a:lnTo>
                  <a:lnTo>
                    <a:pt x="660" y="836"/>
                  </a:lnTo>
                  <a:lnTo>
                    <a:pt x="682" y="836"/>
                  </a:lnTo>
                  <a:lnTo>
                    <a:pt x="723" y="858"/>
                  </a:lnTo>
                  <a:lnTo>
                    <a:pt x="763" y="858"/>
                  </a:lnTo>
                  <a:lnTo>
                    <a:pt x="756" y="814"/>
                  </a:lnTo>
                  <a:lnTo>
                    <a:pt x="778" y="795"/>
                  </a:lnTo>
                  <a:lnTo>
                    <a:pt x="822" y="788"/>
                  </a:lnTo>
                  <a:lnTo>
                    <a:pt x="822" y="751"/>
                  </a:lnTo>
                  <a:lnTo>
                    <a:pt x="870" y="729"/>
                  </a:lnTo>
                  <a:lnTo>
                    <a:pt x="859" y="678"/>
                  </a:lnTo>
                  <a:lnTo>
                    <a:pt x="819" y="678"/>
                  </a:lnTo>
                  <a:lnTo>
                    <a:pt x="782" y="670"/>
                  </a:lnTo>
                  <a:lnTo>
                    <a:pt x="775" y="641"/>
                  </a:lnTo>
                  <a:lnTo>
                    <a:pt x="804" y="633"/>
                  </a:lnTo>
                  <a:lnTo>
                    <a:pt x="804" y="596"/>
                  </a:lnTo>
                  <a:lnTo>
                    <a:pt x="833" y="571"/>
                  </a:lnTo>
                  <a:lnTo>
                    <a:pt x="811" y="560"/>
                  </a:lnTo>
                  <a:lnTo>
                    <a:pt x="749" y="571"/>
                  </a:lnTo>
                  <a:lnTo>
                    <a:pt x="752" y="541"/>
                  </a:lnTo>
                  <a:lnTo>
                    <a:pt x="708" y="523"/>
                  </a:lnTo>
                  <a:lnTo>
                    <a:pt x="697" y="434"/>
                  </a:lnTo>
                  <a:lnTo>
                    <a:pt x="697" y="372"/>
                  </a:lnTo>
                  <a:lnTo>
                    <a:pt x="660" y="346"/>
                  </a:lnTo>
                  <a:lnTo>
                    <a:pt x="664" y="294"/>
                  </a:lnTo>
                  <a:lnTo>
                    <a:pt x="587" y="199"/>
                  </a:lnTo>
                  <a:lnTo>
                    <a:pt x="579" y="125"/>
                  </a:lnTo>
                  <a:lnTo>
                    <a:pt x="554" y="125"/>
                  </a:lnTo>
                  <a:lnTo>
                    <a:pt x="542" y="51"/>
                  </a:lnTo>
                  <a:lnTo>
                    <a:pt x="491" y="59"/>
                  </a:lnTo>
                  <a:lnTo>
                    <a:pt x="484" y="11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12</a:t>
              </a:r>
            </a:p>
          </p:txBody>
        </p:sp>
        <p:sp>
          <p:nvSpPr>
            <p:cNvPr id="38" name="FR-81">
              <a:extLst>
                <a:ext uri="{FF2B5EF4-FFF2-40B4-BE49-F238E27FC236}">
                  <a16:creationId xmlns:a16="http://schemas.microsoft.com/office/drawing/2014/main" id="{368E1E55-D56F-4F7C-A2F5-01F8055EA9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38744" y="5636706"/>
              <a:ext cx="358950" cy="265230"/>
            </a:xfrm>
            <a:custGeom>
              <a:avLst/>
              <a:gdLst>
                <a:gd name="T0" fmla="*/ 292 w 777"/>
                <a:gd name="T1" fmla="*/ 2 h 602"/>
                <a:gd name="T2" fmla="*/ 252 w 777"/>
                <a:gd name="T3" fmla="*/ 11 h 602"/>
                <a:gd name="T4" fmla="*/ 229 w 777"/>
                <a:gd name="T5" fmla="*/ 18 h 602"/>
                <a:gd name="T6" fmla="*/ 179 w 777"/>
                <a:gd name="T7" fmla="*/ 45 h 602"/>
                <a:gd name="T8" fmla="*/ 68 w 777"/>
                <a:gd name="T9" fmla="*/ 73 h 602"/>
                <a:gd name="T10" fmla="*/ 89 w 777"/>
                <a:gd name="T11" fmla="*/ 113 h 602"/>
                <a:gd name="T12" fmla="*/ 44 w 777"/>
                <a:gd name="T13" fmla="*/ 167 h 602"/>
                <a:gd name="T14" fmla="*/ 23 w 777"/>
                <a:gd name="T15" fmla="*/ 193 h 602"/>
                <a:gd name="T16" fmla="*/ 14 w 777"/>
                <a:gd name="T17" fmla="*/ 217 h 602"/>
                <a:gd name="T18" fmla="*/ 54 w 777"/>
                <a:gd name="T19" fmla="*/ 285 h 602"/>
                <a:gd name="T20" fmla="*/ 63 w 777"/>
                <a:gd name="T21" fmla="*/ 323 h 602"/>
                <a:gd name="T22" fmla="*/ 106 w 777"/>
                <a:gd name="T23" fmla="*/ 382 h 602"/>
                <a:gd name="T24" fmla="*/ 87 w 777"/>
                <a:gd name="T25" fmla="*/ 415 h 602"/>
                <a:gd name="T26" fmla="*/ 162 w 777"/>
                <a:gd name="T27" fmla="*/ 462 h 602"/>
                <a:gd name="T28" fmla="*/ 205 w 777"/>
                <a:gd name="T29" fmla="*/ 516 h 602"/>
                <a:gd name="T30" fmla="*/ 269 w 777"/>
                <a:gd name="T31" fmla="*/ 521 h 602"/>
                <a:gd name="T32" fmla="*/ 268 w 777"/>
                <a:gd name="T33" fmla="*/ 571 h 602"/>
                <a:gd name="T34" fmla="*/ 279 w 777"/>
                <a:gd name="T35" fmla="*/ 587 h 602"/>
                <a:gd name="T36" fmla="*/ 379 w 777"/>
                <a:gd name="T37" fmla="*/ 602 h 602"/>
                <a:gd name="T38" fmla="*/ 405 w 777"/>
                <a:gd name="T39" fmla="*/ 554 h 602"/>
                <a:gd name="T40" fmla="*/ 563 w 777"/>
                <a:gd name="T41" fmla="*/ 569 h 602"/>
                <a:gd name="T42" fmla="*/ 637 w 777"/>
                <a:gd name="T43" fmla="*/ 503 h 602"/>
                <a:gd name="T44" fmla="*/ 607 w 777"/>
                <a:gd name="T45" fmla="*/ 429 h 602"/>
                <a:gd name="T46" fmla="*/ 666 w 777"/>
                <a:gd name="T47" fmla="*/ 421 h 602"/>
                <a:gd name="T48" fmla="*/ 777 w 777"/>
                <a:gd name="T49" fmla="*/ 359 h 602"/>
                <a:gd name="T50" fmla="*/ 707 w 777"/>
                <a:gd name="T51" fmla="*/ 323 h 602"/>
                <a:gd name="T52" fmla="*/ 664 w 777"/>
                <a:gd name="T53" fmla="*/ 348 h 602"/>
                <a:gd name="T54" fmla="*/ 572 w 777"/>
                <a:gd name="T55" fmla="*/ 264 h 602"/>
                <a:gd name="T56" fmla="*/ 546 w 777"/>
                <a:gd name="T57" fmla="*/ 191 h 602"/>
                <a:gd name="T58" fmla="*/ 528 w 777"/>
                <a:gd name="T59" fmla="*/ 115 h 602"/>
                <a:gd name="T60" fmla="*/ 459 w 777"/>
                <a:gd name="T61" fmla="*/ 47 h 602"/>
                <a:gd name="T62" fmla="*/ 337 w 777"/>
                <a:gd name="T63" fmla="*/ 0 h 60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777"/>
                <a:gd name="T97" fmla="*/ 0 h 602"/>
                <a:gd name="T98" fmla="*/ 777 w 777"/>
                <a:gd name="T99" fmla="*/ 602 h 60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777" h="602">
                  <a:moveTo>
                    <a:pt x="337" y="0"/>
                  </a:moveTo>
                  <a:lnTo>
                    <a:pt x="292" y="2"/>
                  </a:lnTo>
                  <a:lnTo>
                    <a:pt x="261" y="33"/>
                  </a:lnTo>
                  <a:lnTo>
                    <a:pt x="252" y="11"/>
                  </a:lnTo>
                  <a:lnTo>
                    <a:pt x="231" y="23"/>
                  </a:lnTo>
                  <a:lnTo>
                    <a:pt x="229" y="18"/>
                  </a:lnTo>
                  <a:lnTo>
                    <a:pt x="216" y="31"/>
                  </a:lnTo>
                  <a:lnTo>
                    <a:pt x="179" y="45"/>
                  </a:lnTo>
                  <a:lnTo>
                    <a:pt x="148" y="63"/>
                  </a:lnTo>
                  <a:lnTo>
                    <a:pt x="68" y="73"/>
                  </a:lnTo>
                  <a:lnTo>
                    <a:pt x="59" y="113"/>
                  </a:lnTo>
                  <a:lnTo>
                    <a:pt x="89" y="113"/>
                  </a:lnTo>
                  <a:lnTo>
                    <a:pt x="59" y="141"/>
                  </a:lnTo>
                  <a:lnTo>
                    <a:pt x="44" y="167"/>
                  </a:lnTo>
                  <a:lnTo>
                    <a:pt x="0" y="167"/>
                  </a:lnTo>
                  <a:lnTo>
                    <a:pt x="23" y="193"/>
                  </a:lnTo>
                  <a:lnTo>
                    <a:pt x="10" y="215"/>
                  </a:lnTo>
                  <a:lnTo>
                    <a:pt x="14" y="217"/>
                  </a:lnTo>
                  <a:lnTo>
                    <a:pt x="26" y="252"/>
                  </a:lnTo>
                  <a:lnTo>
                    <a:pt x="54" y="285"/>
                  </a:lnTo>
                  <a:lnTo>
                    <a:pt x="61" y="290"/>
                  </a:lnTo>
                  <a:lnTo>
                    <a:pt x="63" y="323"/>
                  </a:lnTo>
                  <a:lnTo>
                    <a:pt x="87" y="361"/>
                  </a:lnTo>
                  <a:lnTo>
                    <a:pt x="106" y="382"/>
                  </a:lnTo>
                  <a:lnTo>
                    <a:pt x="106" y="408"/>
                  </a:lnTo>
                  <a:lnTo>
                    <a:pt x="87" y="415"/>
                  </a:lnTo>
                  <a:lnTo>
                    <a:pt x="101" y="436"/>
                  </a:lnTo>
                  <a:lnTo>
                    <a:pt x="162" y="462"/>
                  </a:lnTo>
                  <a:lnTo>
                    <a:pt x="174" y="478"/>
                  </a:lnTo>
                  <a:lnTo>
                    <a:pt x="205" y="516"/>
                  </a:lnTo>
                  <a:lnTo>
                    <a:pt x="240" y="526"/>
                  </a:lnTo>
                  <a:lnTo>
                    <a:pt x="269" y="521"/>
                  </a:lnTo>
                  <a:lnTo>
                    <a:pt x="269" y="554"/>
                  </a:lnTo>
                  <a:lnTo>
                    <a:pt x="268" y="571"/>
                  </a:lnTo>
                  <a:lnTo>
                    <a:pt x="283" y="569"/>
                  </a:lnTo>
                  <a:lnTo>
                    <a:pt x="279" y="587"/>
                  </a:lnTo>
                  <a:lnTo>
                    <a:pt x="331" y="587"/>
                  </a:lnTo>
                  <a:lnTo>
                    <a:pt x="379" y="602"/>
                  </a:lnTo>
                  <a:lnTo>
                    <a:pt x="383" y="554"/>
                  </a:lnTo>
                  <a:lnTo>
                    <a:pt x="405" y="554"/>
                  </a:lnTo>
                  <a:lnTo>
                    <a:pt x="486" y="569"/>
                  </a:lnTo>
                  <a:lnTo>
                    <a:pt x="563" y="569"/>
                  </a:lnTo>
                  <a:lnTo>
                    <a:pt x="622" y="551"/>
                  </a:lnTo>
                  <a:lnTo>
                    <a:pt x="637" y="503"/>
                  </a:lnTo>
                  <a:lnTo>
                    <a:pt x="596" y="466"/>
                  </a:lnTo>
                  <a:lnTo>
                    <a:pt x="607" y="429"/>
                  </a:lnTo>
                  <a:lnTo>
                    <a:pt x="629" y="396"/>
                  </a:lnTo>
                  <a:lnTo>
                    <a:pt x="666" y="421"/>
                  </a:lnTo>
                  <a:lnTo>
                    <a:pt x="762" y="388"/>
                  </a:lnTo>
                  <a:lnTo>
                    <a:pt x="777" y="359"/>
                  </a:lnTo>
                  <a:lnTo>
                    <a:pt x="728" y="328"/>
                  </a:lnTo>
                  <a:lnTo>
                    <a:pt x="707" y="323"/>
                  </a:lnTo>
                  <a:lnTo>
                    <a:pt x="693" y="341"/>
                  </a:lnTo>
                  <a:lnTo>
                    <a:pt x="664" y="348"/>
                  </a:lnTo>
                  <a:lnTo>
                    <a:pt x="619" y="325"/>
                  </a:lnTo>
                  <a:lnTo>
                    <a:pt x="572" y="264"/>
                  </a:lnTo>
                  <a:lnTo>
                    <a:pt x="572" y="238"/>
                  </a:lnTo>
                  <a:lnTo>
                    <a:pt x="546" y="191"/>
                  </a:lnTo>
                  <a:lnTo>
                    <a:pt x="549" y="169"/>
                  </a:lnTo>
                  <a:lnTo>
                    <a:pt x="528" y="115"/>
                  </a:lnTo>
                  <a:lnTo>
                    <a:pt x="488" y="96"/>
                  </a:lnTo>
                  <a:lnTo>
                    <a:pt x="459" y="47"/>
                  </a:lnTo>
                  <a:lnTo>
                    <a:pt x="381" y="33"/>
                  </a:lnTo>
                  <a:lnTo>
                    <a:pt x="337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81</a:t>
              </a:r>
            </a:p>
          </p:txBody>
        </p:sp>
        <p:sp>
          <p:nvSpPr>
            <p:cNvPr id="39" name="FR-01">
              <a:extLst>
                <a:ext uri="{FF2B5EF4-FFF2-40B4-BE49-F238E27FC236}">
                  <a16:creationId xmlns:a16="http://schemas.microsoft.com/office/drawing/2014/main" id="{1EF9CC4E-8A99-4529-8725-E691EDFD796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126863" y="4847624"/>
              <a:ext cx="344167" cy="294749"/>
            </a:xfrm>
            <a:custGeom>
              <a:avLst/>
              <a:gdLst>
                <a:gd name="T0" fmla="*/ 130 w 745"/>
                <a:gd name="T1" fmla="*/ 0 h 669"/>
                <a:gd name="T2" fmla="*/ 102 w 745"/>
                <a:gd name="T3" fmla="*/ 3 h 669"/>
                <a:gd name="T4" fmla="*/ 83 w 745"/>
                <a:gd name="T5" fmla="*/ 37 h 669"/>
                <a:gd name="T6" fmla="*/ 34 w 745"/>
                <a:gd name="T7" fmla="*/ 229 h 669"/>
                <a:gd name="T8" fmla="*/ 27 w 745"/>
                <a:gd name="T9" fmla="*/ 245 h 669"/>
                <a:gd name="T10" fmla="*/ 22 w 745"/>
                <a:gd name="T11" fmla="*/ 306 h 669"/>
                <a:gd name="T12" fmla="*/ 8 w 745"/>
                <a:gd name="T13" fmla="*/ 326 h 669"/>
                <a:gd name="T14" fmla="*/ 8 w 745"/>
                <a:gd name="T15" fmla="*/ 414 h 669"/>
                <a:gd name="T16" fmla="*/ 0 w 745"/>
                <a:gd name="T17" fmla="*/ 434 h 669"/>
                <a:gd name="T18" fmla="*/ 50 w 745"/>
                <a:gd name="T19" fmla="*/ 464 h 669"/>
                <a:gd name="T20" fmla="*/ 70 w 745"/>
                <a:gd name="T21" fmla="*/ 467 h 669"/>
                <a:gd name="T22" fmla="*/ 102 w 745"/>
                <a:gd name="T23" fmla="*/ 496 h 669"/>
                <a:gd name="T24" fmla="*/ 107 w 745"/>
                <a:gd name="T25" fmla="*/ 541 h 669"/>
                <a:gd name="T26" fmla="*/ 141 w 745"/>
                <a:gd name="T27" fmla="*/ 530 h 669"/>
                <a:gd name="T28" fmla="*/ 194 w 745"/>
                <a:gd name="T29" fmla="*/ 545 h 669"/>
                <a:gd name="T30" fmla="*/ 195 w 745"/>
                <a:gd name="T31" fmla="*/ 535 h 669"/>
                <a:gd name="T32" fmla="*/ 220 w 745"/>
                <a:gd name="T33" fmla="*/ 535 h 669"/>
                <a:gd name="T34" fmla="*/ 257 w 745"/>
                <a:gd name="T35" fmla="*/ 569 h 669"/>
                <a:gd name="T36" fmla="*/ 291 w 745"/>
                <a:gd name="T37" fmla="*/ 552 h 669"/>
                <a:gd name="T38" fmla="*/ 308 w 745"/>
                <a:gd name="T39" fmla="*/ 502 h 669"/>
                <a:gd name="T40" fmla="*/ 325 w 745"/>
                <a:gd name="T41" fmla="*/ 482 h 669"/>
                <a:gd name="T42" fmla="*/ 348 w 745"/>
                <a:gd name="T43" fmla="*/ 484 h 669"/>
                <a:gd name="T44" fmla="*/ 370 w 745"/>
                <a:gd name="T45" fmla="*/ 504 h 669"/>
                <a:gd name="T46" fmla="*/ 382 w 745"/>
                <a:gd name="T47" fmla="*/ 541 h 669"/>
                <a:gd name="T48" fmla="*/ 487 w 745"/>
                <a:gd name="T49" fmla="*/ 669 h 669"/>
                <a:gd name="T50" fmla="*/ 518 w 745"/>
                <a:gd name="T51" fmla="*/ 646 h 669"/>
                <a:gd name="T52" fmla="*/ 523 w 745"/>
                <a:gd name="T53" fmla="*/ 598 h 669"/>
                <a:gd name="T54" fmla="*/ 558 w 745"/>
                <a:gd name="T55" fmla="*/ 592 h 669"/>
                <a:gd name="T56" fmla="*/ 558 w 745"/>
                <a:gd name="T57" fmla="*/ 507 h 669"/>
                <a:gd name="T58" fmla="*/ 575 w 745"/>
                <a:gd name="T59" fmla="*/ 493 h 669"/>
                <a:gd name="T60" fmla="*/ 580 w 745"/>
                <a:gd name="T61" fmla="*/ 417 h 669"/>
                <a:gd name="T62" fmla="*/ 587 w 745"/>
                <a:gd name="T63" fmla="*/ 422 h 669"/>
                <a:gd name="T64" fmla="*/ 586 w 745"/>
                <a:gd name="T65" fmla="*/ 394 h 669"/>
                <a:gd name="T66" fmla="*/ 572 w 745"/>
                <a:gd name="T67" fmla="*/ 368 h 669"/>
                <a:gd name="T68" fmla="*/ 578 w 745"/>
                <a:gd name="T69" fmla="*/ 295 h 669"/>
                <a:gd name="T70" fmla="*/ 603 w 745"/>
                <a:gd name="T71" fmla="*/ 309 h 669"/>
                <a:gd name="T72" fmla="*/ 617 w 745"/>
                <a:gd name="T73" fmla="*/ 283 h 669"/>
                <a:gd name="T74" fmla="*/ 643 w 745"/>
                <a:gd name="T75" fmla="*/ 275 h 669"/>
                <a:gd name="T76" fmla="*/ 669 w 745"/>
                <a:gd name="T77" fmla="*/ 254 h 669"/>
                <a:gd name="T78" fmla="*/ 640 w 745"/>
                <a:gd name="T79" fmla="*/ 254 h 669"/>
                <a:gd name="T80" fmla="*/ 640 w 745"/>
                <a:gd name="T81" fmla="*/ 204 h 669"/>
                <a:gd name="T82" fmla="*/ 672 w 745"/>
                <a:gd name="T83" fmla="*/ 186 h 669"/>
                <a:gd name="T84" fmla="*/ 718 w 745"/>
                <a:gd name="T85" fmla="*/ 181 h 669"/>
                <a:gd name="T86" fmla="*/ 721 w 745"/>
                <a:gd name="T87" fmla="*/ 155 h 669"/>
                <a:gd name="T88" fmla="*/ 705 w 745"/>
                <a:gd name="T89" fmla="*/ 144 h 669"/>
                <a:gd name="T90" fmla="*/ 745 w 745"/>
                <a:gd name="T91" fmla="*/ 95 h 669"/>
                <a:gd name="T92" fmla="*/ 739 w 745"/>
                <a:gd name="T93" fmla="*/ 79 h 669"/>
                <a:gd name="T94" fmla="*/ 695 w 745"/>
                <a:gd name="T95" fmla="*/ 56 h 669"/>
                <a:gd name="T96" fmla="*/ 586 w 745"/>
                <a:gd name="T97" fmla="*/ 175 h 669"/>
                <a:gd name="T98" fmla="*/ 511 w 745"/>
                <a:gd name="T99" fmla="*/ 175 h 669"/>
                <a:gd name="T100" fmla="*/ 511 w 745"/>
                <a:gd name="T101" fmla="*/ 144 h 669"/>
                <a:gd name="T102" fmla="*/ 469 w 745"/>
                <a:gd name="T103" fmla="*/ 123 h 669"/>
                <a:gd name="T104" fmla="*/ 420 w 745"/>
                <a:gd name="T105" fmla="*/ 177 h 669"/>
                <a:gd name="T106" fmla="*/ 380 w 745"/>
                <a:gd name="T107" fmla="*/ 183 h 669"/>
                <a:gd name="T108" fmla="*/ 380 w 745"/>
                <a:gd name="T109" fmla="*/ 146 h 669"/>
                <a:gd name="T110" fmla="*/ 347 w 745"/>
                <a:gd name="T111" fmla="*/ 131 h 669"/>
                <a:gd name="T112" fmla="*/ 295 w 745"/>
                <a:gd name="T113" fmla="*/ 58 h 669"/>
                <a:gd name="T114" fmla="*/ 248 w 745"/>
                <a:gd name="T115" fmla="*/ 39 h 669"/>
                <a:gd name="T116" fmla="*/ 232 w 745"/>
                <a:gd name="T117" fmla="*/ 6 h 669"/>
                <a:gd name="T118" fmla="*/ 206 w 745"/>
                <a:gd name="T119" fmla="*/ 0 h 669"/>
                <a:gd name="T120" fmla="*/ 180 w 745"/>
                <a:gd name="T121" fmla="*/ 19 h 669"/>
                <a:gd name="T122" fmla="*/ 159 w 745"/>
                <a:gd name="T123" fmla="*/ 24 h 669"/>
                <a:gd name="T124" fmla="*/ 130 w 745"/>
                <a:gd name="T125" fmla="*/ 0 h 66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745"/>
                <a:gd name="T190" fmla="*/ 0 h 669"/>
                <a:gd name="T191" fmla="*/ 745 w 745"/>
                <a:gd name="T192" fmla="*/ 669 h 669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745" h="669">
                  <a:moveTo>
                    <a:pt x="130" y="0"/>
                  </a:moveTo>
                  <a:lnTo>
                    <a:pt x="102" y="3"/>
                  </a:lnTo>
                  <a:lnTo>
                    <a:pt x="83" y="37"/>
                  </a:lnTo>
                  <a:lnTo>
                    <a:pt x="34" y="229"/>
                  </a:lnTo>
                  <a:lnTo>
                    <a:pt x="27" y="245"/>
                  </a:lnTo>
                  <a:lnTo>
                    <a:pt x="22" y="306"/>
                  </a:lnTo>
                  <a:lnTo>
                    <a:pt x="8" y="326"/>
                  </a:lnTo>
                  <a:lnTo>
                    <a:pt x="8" y="414"/>
                  </a:lnTo>
                  <a:lnTo>
                    <a:pt x="0" y="434"/>
                  </a:lnTo>
                  <a:lnTo>
                    <a:pt x="50" y="464"/>
                  </a:lnTo>
                  <a:lnTo>
                    <a:pt x="70" y="467"/>
                  </a:lnTo>
                  <a:lnTo>
                    <a:pt x="102" y="496"/>
                  </a:lnTo>
                  <a:lnTo>
                    <a:pt x="107" y="541"/>
                  </a:lnTo>
                  <a:lnTo>
                    <a:pt x="141" y="530"/>
                  </a:lnTo>
                  <a:lnTo>
                    <a:pt x="194" y="545"/>
                  </a:lnTo>
                  <a:lnTo>
                    <a:pt x="195" y="535"/>
                  </a:lnTo>
                  <a:lnTo>
                    <a:pt x="220" y="535"/>
                  </a:lnTo>
                  <a:lnTo>
                    <a:pt x="257" y="569"/>
                  </a:lnTo>
                  <a:lnTo>
                    <a:pt x="291" y="552"/>
                  </a:lnTo>
                  <a:lnTo>
                    <a:pt x="308" y="502"/>
                  </a:lnTo>
                  <a:lnTo>
                    <a:pt x="325" y="482"/>
                  </a:lnTo>
                  <a:lnTo>
                    <a:pt x="348" y="484"/>
                  </a:lnTo>
                  <a:lnTo>
                    <a:pt x="370" y="504"/>
                  </a:lnTo>
                  <a:lnTo>
                    <a:pt x="382" y="541"/>
                  </a:lnTo>
                  <a:lnTo>
                    <a:pt x="487" y="669"/>
                  </a:lnTo>
                  <a:lnTo>
                    <a:pt x="518" y="646"/>
                  </a:lnTo>
                  <a:lnTo>
                    <a:pt x="523" y="598"/>
                  </a:lnTo>
                  <a:lnTo>
                    <a:pt x="558" y="592"/>
                  </a:lnTo>
                  <a:lnTo>
                    <a:pt x="558" y="507"/>
                  </a:lnTo>
                  <a:lnTo>
                    <a:pt x="575" y="493"/>
                  </a:lnTo>
                  <a:lnTo>
                    <a:pt x="580" y="417"/>
                  </a:lnTo>
                  <a:lnTo>
                    <a:pt x="587" y="422"/>
                  </a:lnTo>
                  <a:lnTo>
                    <a:pt x="586" y="394"/>
                  </a:lnTo>
                  <a:lnTo>
                    <a:pt x="572" y="368"/>
                  </a:lnTo>
                  <a:lnTo>
                    <a:pt x="578" y="295"/>
                  </a:lnTo>
                  <a:lnTo>
                    <a:pt x="603" y="309"/>
                  </a:lnTo>
                  <a:lnTo>
                    <a:pt x="617" y="283"/>
                  </a:lnTo>
                  <a:lnTo>
                    <a:pt x="643" y="275"/>
                  </a:lnTo>
                  <a:lnTo>
                    <a:pt x="669" y="254"/>
                  </a:lnTo>
                  <a:lnTo>
                    <a:pt x="640" y="254"/>
                  </a:lnTo>
                  <a:lnTo>
                    <a:pt x="640" y="204"/>
                  </a:lnTo>
                  <a:lnTo>
                    <a:pt x="672" y="186"/>
                  </a:lnTo>
                  <a:lnTo>
                    <a:pt x="718" y="181"/>
                  </a:lnTo>
                  <a:lnTo>
                    <a:pt x="721" y="155"/>
                  </a:lnTo>
                  <a:lnTo>
                    <a:pt x="705" y="144"/>
                  </a:lnTo>
                  <a:lnTo>
                    <a:pt x="745" y="95"/>
                  </a:lnTo>
                  <a:lnTo>
                    <a:pt x="739" y="79"/>
                  </a:lnTo>
                  <a:lnTo>
                    <a:pt x="695" y="56"/>
                  </a:lnTo>
                  <a:lnTo>
                    <a:pt x="586" y="175"/>
                  </a:lnTo>
                  <a:lnTo>
                    <a:pt x="511" y="175"/>
                  </a:lnTo>
                  <a:lnTo>
                    <a:pt x="511" y="144"/>
                  </a:lnTo>
                  <a:lnTo>
                    <a:pt x="469" y="123"/>
                  </a:lnTo>
                  <a:lnTo>
                    <a:pt x="420" y="177"/>
                  </a:lnTo>
                  <a:lnTo>
                    <a:pt x="380" y="183"/>
                  </a:lnTo>
                  <a:lnTo>
                    <a:pt x="380" y="146"/>
                  </a:lnTo>
                  <a:lnTo>
                    <a:pt x="347" y="131"/>
                  </a:lnTo>
                  <a:lnTo>
                    <a:pt x="295" y="58"/>
                  </a:lnTo>
                  <a:lnTo>
                    <a:pt x="248" y="39"/>
                  </a:lnTo>
                  <a:lnTo>
                    <a:pt x="232" y="6"/>
                  </a:lnTo>
                  <a:lnTo>
                    <a:pt x="206" y="0"/>
                  </a:lnTo>
                  <a:lnTo>
                    <a:pt x="180" y="19"/>
                  </a:lnTo>
                  <a:lnTo>
                    <a:pt x="159" y="24"/>
                  </a:lnTo>
                  <a:lnTo>
                    <a:pt x="13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01</a:t>
              </a:r>
            </a:p>
          </p:txBody>
        </p:sp>
        <p:sp>
          <p:nvSpPr>
            <p:cNvPr id="40" name="FR-38">
              <a:extLst>
                <a:ext uri="{FF2B5EF4-FFF2-40B4-BE49-F238E27FC236}">
                  <a16:creationId xmlns:a16="http://schemas.microsoft.com/office/drawing/2014/main" id="{1F5055AF-7A48-477C-A238-B7F75588634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137489" y="5059985"/>
              <a:ext cx="406995" cy="390355"/>
            </a:xfrm>
            <a:custGeom>
              <a:avLst/>
              <a:gdLst>
                <a:gd name="T0" fmla="*/ 285 w 881"/>
                <a:gd name="T1" fmla="*/ 20 h 886"/>
                <a:gd name="T2" fmla="*/ 234 w 881"/>
                <a:gd name="T3" fmla="*/ 87 h 886"/>
                <a:gd name="T4" fmla="*/ 172 w 881"/>
                <a:gd name="T5" fmla="*/ 53 h 886"/>
                <a:gd name="T6" fmla="*/ 206 w 881"/>
                <a:gd name="T7" fmla="*/ 122 h 886"/>
                <a:gd name="T8" fmla="*/ 76 w 881"/>
                <a:gd name="T9" fmla="*/ 212 h 886"/>
                <a:gd name="T10" fmla="*/ 56 w 881"/>
                <a:gd name="T11" fmla="*/ 269 h 886"/>
                <a:gd name="T12" fmla="*/ 8 w 881"/>
                <a:gd name="T13" fmla="*/ 314 h 886"/>
                <a:gd name="T14" fmla="*/ 0 w 881"/>
                <a:gd name="T15" fmla="*/ 397 h 886"/>
                <a:gd name="T16" fmla="*/ 62 w 881"/>
                <a:gd name="T17" fmla="*/ 444 h 886"/>
                <a:gd name="T18" fmla="*/ 130 w 881"/>
                <a:gd name="T19" fmla="*/ 407 h 886"/>
                <a:gd name="T20" fmla="*/ 217 w 881"/>
                <a:gd name="T21" fmla="*/ 447 h 886"/>
                <a:gd name="T22" fmla="*/ 234 w 881"/>
                <a:gd name="T23" fmla="*/ 515 h 886"/>
                <a:gd name="T24" fmla="*/ 226 w 881"/>
                <a:gd name="T25" fmla="*/ 595 h 886"/>
                <a:gd name="T26" fmla="*/ 251 w 881"/>
                <a:gd name="T27" fmla="*/ 603 h 886"/>
                <a:gd name="T28" fmla="*/ 356 w 881"/>
                <a:gd name="T29" fmla="*/ 634 h 886"/>
                <a:gd name="T30" fmla="*/ 393 w 881"/>
                <a:gd name="T31" fmla="*/ 597 h 886"/>
                <a:gd name="T32" fmla="*/ 404 w 881"/>
                <a:gd name="T33" fmla="*/ 810 h 886"/>
                <a:gd name="T34" fmla="*/ 455 w 881"/>
                <a:gd name="T35" fmla="*/ 824 h 886"/>
                <a:gd name="T36" fmla="*/ 515 w 881"/>
                <a:gd name="T37" fmla="*/ 864 h 886"/>
                <a:gd name="T38" fmla="*/ 557 w 881"/>
                <a:gd name="T39" fmla="*/ 880 h 886"/>
                <a:gd name="T40" fmla="*/ 607 w 881"/>
                <a:gd name="T41" fmla="*/ 878 h 886"/>
                <a:gd name="T42" fmla="*/ 587 w 881"/>
                <a:gd name="T43" fmla="*/ 836 h 886"/>
                <a:gd name="T44" fmla="*/ 672 w 881"/>
                <a:gd name="T45" fmla="*/ 815 h 886"/>
                <a:gd name="T46" fmla="*/ 693 w 881"/>
                <a:gd name="T47" fmla="*/ 766 h 886"/>
                <a:gd name="T48" fmla="*/ 751 w 881"/>
                <a:gd name="T49" fmla="*/ 747 h 886"/>
                <a:gd name="T50" fmla="*/ 831 w 881"/>
                <a:gd name="T51" fmla="*/ 735 h 886"/>
                <a:gd name="T52" fmla="*/ 881 w 881"/>
                <a:gd name="T53" fmla="*/ 680 h 886"/>
                <a:gd name="T54" fmla="*/ 850 w 881"/>
                <a:gd name="T55" fmla="*/ 636 h 886"/>
                <a:gd name="T56" fmla="*/ 787 w 881"/>
                <a:gd name="T57" fmla="*/ 617 h 886"/>
                <a:gd name="T58" fmla="*/ 816 w 881"/>
                <a:gd name="T59" fmla="*/ 547 h 886"/>
                <a:gd name="T60" fmla="*/ 772 w 881"/>
                <a:gd name="T61" fmla="*/ 510 h 886"/>
                <a:gd name="T62" fmla="*/ 761 w 881"/>
                <a:gd name="T63" fmla="*/ 504 h 886"/>
                <a:gd name="T64" fmla="*/ 738 w 881"/>
                <a:gd name="T65" fmla="*/ 458 h 886"/>
                <a:gd name="T66" fmla="*/ 775 w 881"/>
                <a:gd name="T67" fmla="*/ 390 h 886"/>
                <a:gd name="T68" fmla="*/ 719 w 881"/>
                <a:gd name="T69" fmla="*/ 300 h 886"/>
                <a:gd name="T70" fmla="*/ 685 w 881"/>
                <a:gd name="T71" fmla="*/ 320 h 886"/>
                <a:gd name="T72" fmla="*/ 631 w 881"/>
                <a:gd name="T73" fmla="*/ 277 h 886"/>
                <a:gd name="T74" fmla="*/ 625 w 881"/>
                <a:gd name="T75" fmla="*/ 337 h 886"/>
                <a:gd name="T76" fmla="*/ 594 w 881"/>
                <a:gd name="T77" fmla="*/ 328 h 886"/>
                <a:gd name="T78" fmla="*/ 498 w 881"/>
                <a:gd name="T79" fmla="*/ 257 h 886"/>
                <a:gd name="T80" fmla="*/ 467 w 881"/>
                <a:gd name="T81" fmla="*/ 201 h 886"/>
                <a:gd name="T82" fmla="*/ 359 w 881"/>
                <a:gd name="T83" fmla="*/ 59 h 886"/>
                <a:gd name="T84" fmla="*/ 325 w 881"/>
                <a:gd name="T85" fmla="*/ 2 h 88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881"/>
                <a:gd name="T130" fmla="*/ 0 h 886"/>
                <a:gd name="T131" fmla="*/ 881 w 881"/>
                <a:gd name="T132" fmla="*/ 886 h 88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881" h="886">
                  <a:moveTo>
                    <a:pt x="302" y="0"/>
                  </a:moveTo>
                  <a:lnTo>
                    <a:pt x="285" y="20"/>
                  </a:lnTo>
                  <a:lnTo>
                    <a:pt x="268" y="70"/>
                  </a:lnTo>
                  <a:lnTo>
                    <a:pt x="234" y="87"/>
                  </a:lnTo>
                  <a:lnTo>
                    <a:pt x="197" y="53"/>
                  </a:lnTo>
                  <a:lnTo>
                    <a:pt x="172" y="53"/>
                  </a:lnTo>
                  <a:lnTo>
                    <a:pt x="169" y="90"/>
                  </a:lnTo>
                  <a:lnTo>
                    <a:pt x="206" y="122"/>
                  </a:lnTo>
                  <a:lnTo>
                    <a:pt x="150" y="195"/>
                  </a:lnTo>
                  <a:lnTo>
                    <a:pt x="76" y="212"/>
                  </a:lnTo>
                  <a:lnTo>
                    <a:pt x="19" y="232"/>
                  </a:lnTo>
                  <a:lnTo>
                    <a:pt x="56" y="269"/>
                  </a:lnTo>
                  <a:lnTo>
                    <a:pt x="65" y="286"/>
                  </a:lnTo>
                  <a:lnTo>
                    <a:pt x="8" y="314"/>
                  </a:lnTo>
                  <a:lnTo>
                    <a:pt x="2" y="396"/>
                  </a:lnTo>
                  <a:lnTo>
                    <a:pt x="0" y="397"/>
                  </a:lnTo>
                  <a:lnTo>
                    <a:pt x="16" y="430"/>
                  </a:lnTo>
                  <a:lnTo>
                    <a:pt x="62" y="444"/>
                  </a:lnTo>
                  <a:lnTo>
                    <a:pt x="93" y="433"/>
                  </a:lnTo>
                  <a:lnTo>
                    <a:pt x="130" y="407"/>
                  </a:lnTo>
                  <a:lnTo>
                    <a:pt x="178" y="447"/>
                  </a:lnTo>
                  <a:lnTo>
                    <a:pt x="217" y="447"/>
                  </a:lnTo>
                  <a:lnTo>
                    <a:pt x="246" y="487"/>
                  </a:lnTo>
                  <a:lnTo>
                    <a:pt x="234" y="515"/>
                  </a:lnTo>
                  <a:lnTo>
                    <a:pt x="240" y="555"/>
                  </a:lnTo>
                  <a:lnTo>
                    <a:pt x="226" y="595"/>
                  </a:lnTo>
                  <a:lnTo>
                    <a:pt x="232" y="609"/>
                  </a:lnTo>
                  <a:lnTo>
                    <a:pt x="251" y="603"/>
                  </a:lnTo>
                  <a:lnTo>
                    <a:pt x="297" y="617"/>
                  </a:lnTo>
                  <a:lnTo>
                    <a:pt x="356" y="634"/>
                  </a:lnTo>
                  <a:lnTo>
                    <a:pt x="382" y="617"/>
                  </a:lnTo>
                  <a:lnTo>
                    <a:pt x="393" y="597"/>
                  </a:lnTo>
                  <a:lnTo>
                    <a:pt x="402" y="597"/>
                  </a:lnTo>
                  <a:lnTo>
                    <a:pt x="404" y="810"/>
                  </a:lnTo>
                  <a:lnTo>
                    <a:pt x="418" y="824"/>
                  </a:lnTo>
                  <a:lnTo>
                    <a:pt x="455" y="824"/>
                  </a:lnTo>
                  <a:lnTo>
                    <a:pt x="489" y="844"/>
                  </a:lnTo>
                  <a:lnTo>
                    <a:pt x="515" y="864"/>
                  </a:lnTo>
                  <a:lnTo>
                    <a:pt x="540" y="866"/>
                  </a:lnTo>
                  <a:lnTo>
                    <a:pt x="557" y="880"/>
                  </a:lnTo>
                  <a:lnTo>
                    <a:pt x="604" y="886"/>
                  </a:lnTo>
                  <a:lnTo>
                    <a:pt x="607" y="878"/>
                  </a:lnTo>
                  <a:lnTo>
                    <a:pt x="587" y="867"/>
                  </a:lnTo>
                  <a:lnTo>
                    <a:pt x="587" y="836"/>
                  </a:lnTo>
                  <a:lnTo>
                    <a:pt x="652" y="836"/>
                  </a:lnTo>
                  <a:lnTo>
                    <a:pt x="672" y="815"/>
                  </a:lnTo>
                  <a:lnTo>
                    <a:pt x="660" y="792"/>
                  </a:lnTo>
                  <a:lnTo>
                    <a:pt x="693" y="766"/>
                  </a:lnTo>
                  <a:lnTo>
                    <a:pt x="717" y="776"/>
                  </a:lnTo>
                  <a:lnTo>
                    <a:pt x="751" y="747"/>
                  </a:lnTo>
                  <a:lnTo>
                    <a:pt x="810" y="758"/>
                  </a:lnTo>
                  <a:lnTo>
                    <a:pt x="831" y="735"/>
                  </a:lnTo>
                  <a:lnTo>
                    <a:pt x="881" y="737"/>
                  </a:lnTo>
                  <a:lnTo>
                    <a:pt x="881" y="680"/>
                  </a:lnTo>
                  <a:lnTo>
                    <a:pt x="860" y="670"/>
                  </a:lnTo>
                  <a:lnTo>
                    <a:pt x="850" y="636"/>
                  </a:lnTo>
                  <a:lnTo>
                    <a:pt x="795" y="630"/>
                  </a:lnTo>
                  <a:lnTo>
                    <a:pt x="787" y="617"/>
                  </a:lnTo>
                  <a:lnTo>
                    <a:pt x="797" y="563"/>
                  </a:lnTo>
                  <a:lnTo>
                    <a:pt x="816" y="547"/>
                  </a:lnTo>
                  <a:lnTo>
                    <a:pt x="801" y="527"/>
                  </a:lnTo>
                  <a:lnTo>
                    <a:pt x="772" y="510"/>
                  </a:lnTo>
                  <a:lnTo>
                    <a:pt x="755" y="527"/>
                  </a:lnTo>
                  <a:lnTo>
                    <a:pt x="761" y="504"/>
                  </a:lnTo>
                  <a:lnTo>
                    <a:pt x="761" y="481"/>
                  </a:lnTo>
                  <a:lnTo>
                    <a:pt x="738" y="458"/>
                  </a:lnTo>
                  <a:lnTo>
                    <a:pt x="750" y="405"/>
                  </a:lnTo>
                  <a:lnTo>
                    <a:pt x="775" y="390"/>
                  </a:lnTo>
                  <a:lnTo>
                    <a:pt x="772" y="354"/>
                  </a:lnTo>
                  <a:lnTo>
                    <a:pt x="719" y="300"/>
                  </a:lnTo>
                  <a:lnTo>
                    <a:pt x="699" y="300"/>
                  </a:lnTo>
                  <a:lnTo>
                    <a:pt x="685" y="320"/>
                  </a:lnTo>
                  <a:lnTo>
                    <a:pt x="651" y="275"/>
                  </a:lnTo>
                  <a:lnTo>
                    <a:pt x="631" y="277"/>
                  </a:lnTo>
                  <a:lnTo>
                    <a:pt x="614" y="314"/>
                  </a:lnTo>
                  <a:lnTo>
                    <a:pt x="625" y="337"/>
                  </a:lnTo>
                  <a:lnTo>
                    <a:pt x="617" y="345"/>
                  </a:lnTo>
                  <a:lnTo>
                    <a:pt x="594" y="328"/>
                  </a:lnTo>
                  <a:lnTo>
                    <a:pt x="529" y="314"/>
                  </a:lnTo>
                  <a:lnTo>
                    <a:pt x="498" y="257"/>
                  </a:lnTo>
                  <a:lnTo>
                    <a:pt x="498" y="235"/>
                  </a:lnTo>
                  <a:lnTo>
                    <a:pt x="467" y="201"/>
                  </a:lnTo>
                  <a:lnTo>
                    <a:pt x="463" y="186"/>
                  </a:lnTo>
                  <a:lnTo>
                    <a:pt x="359" y="59"/>
                  </a:lnTo>
                  <a:lnTo>
                    <a:pt x="347" y="22"/>
                  </a:lnTo>
                  <a:lnTo>
                    <a:pt x="325" y="2"/>
                  </a:lnTo>
                  <a:lnTo>
                    <a:pt x="302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38</a:t>
              </a:r>
            </a:p>
          </p:txBody>
        </p:sp>
        <p:sp>
          <p:nvSpPr>
            <p:cNvPr id="41" name="FR-74">
              <a:extLst>
                <a:ext uri="{FF2B5EF4-FFF2-40B4-BE49-F238E27FC236}">
                  <a16:creationId xmlns:a16="http://schemas.microsoft.com/office/drawing/2014/main" id="{9F738501-8B14-41B8-A355-3D0A8AF3B07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391110" y="4868772"/>
              <a:ext cx="295198" cy="244964"/>
            </a:xfrm>
            <a:custGeom>
              <a:avLst/>
              <a:gdLst>
                <a:gd name="T0" fmla="*/ 396 w 639"/>
                <a:gd name="T1" fmla="*/ 0 h 556"/>
                <a:gd name="T2" fmla="*/ 337 w 639"/>
                <a:gd name="T3" fmla="*/ 11 h 556"/>
                <a:gd name="T4" fmla="*/ 279 w 639"/>
                <a:gd name="T5" fmla="*/ 57 h 556"/>
                <a:gd name="T6" fmla="*/ 264 w 639"/>
                <a:gd name="T7" fmla="*/ 34 h 556"/>
                <a:gd name="T8" fmla="*/ 235 w 639"/>
                <a:gd name="T9" fmla="*/ 36 h 556"/>
                <a:gd name="T10" fmla="*/ 209 w 639"/>
                <a:gd name="T11" fmla="*/ 94 h 556"/>
                <a:gd name="T12" fmla="*/ 212 w 639"/>
                <a:gd name="T13" fmla="*/ 117 h 556"/>
                <a:gd name="T14" fmla="*/ 240 w 639"/>
                <a:gd name="T15" fmla="*/ 141 h 556"/>
                <a:gd name="T16" fmla="*/ 188 w 639"/>
                <a:gd name="T17" fmla="*/ 175 h 556"/>
                <a:gd name="T18" fmla="*/ 154 w 639"/>
                <a:gd name="T19" fmla="*/ 206 h 556"/>
                <a:gd name="T20" fmla="*/ 97 w 639"/>
                <a:gd name="T21" fmla="*/ 206 h 556"/>
                <a:gd name="T22" fmla="*/ 71 w 639"/>
                <a:gd name="T23" fmla="*/ 227 h 556"/>
                <a:gd name="T24" fmla="*/ 45 w 639"/>
                <a:gd name="T25" fmla="*/ 235 h 556"/>
                <a:gd name="T26" fmla="*/ 31 w 639"/>
                <a:gd name="T27" fmla="*/ 261 h 556"/>
                <a:gd name="T28" fmla="*/ 6 w 639"/>
                <a:gd name="T29" fmla="*/ 247 h 556"/>
                <a:gd name="T30" fmla="*/ 0 w 639"/>
                <a:gd name="T31" fmla="*/ 320 h 556"/>
                <a:gd name="T32" fmla="*/ 14 w 639"/>
                <a:gd name="T33" fmla="*/ 346 h 556"/>
                <a:gd name="T34" fmla="*/ 15 w 639"/>
                <a:gd name="T35" fmla="*/ 374 h 556"/>
                <a:gd name="T36" fmla="*/ 36 w 639"/>
                <a:gd name="T37" fmla="*/ 391 h 556"/>
                <a:gd name="T38" fmla="*/ 36 w 639"/>
                <a:gd name="T39" fmla="*/ 465 h 556"/>
                <a:gd name="T40" fmla="*/ 88 w 639"/>
                <a:gd name="T41" fmla="*/ 473 h 556"/>
                <a:gd name="T42" fmla="*/ 107 w 639"/>
                <a:gd name="T43" fmla="*/ 510 h 556"/>
                <a:gd name="T44" fmla="*/ 153 w 639"/>
                <a:gd name="T45" fmla="*/ 516 h 556"/>
                <a:gd name="T46" fmla="*/ 161 w 639"/>
                <a:gd name="T47" fmla="*/ 499 h 556"/>
                <a:gd name="T48" fmla="*/ 184 w 639"/>
                <a:gd name="T49" fmla="*/ 499 h 556"/>
                <a:gd name="T50" fmla="*/ 223 w 639"/>
                <a:gd name="T51" fmla="*/ 541 h 556"/>
                <a:gd name="T52" fmla="*/ 238 w 639"/>
                <a:gd name="T53" fmla="*/ 556 h 556"/>
                <a:gd name="T54" fmla="*/ 283 w 639"/>
                <a:gd name="T55" fmla="*/ 547 h 556"/>
                <a:gd name="T56" fmla="*/ 294 w 639"/>
                <a:gd name="T57" fmla="*/ 524 h 556"/>
                <a:gd name="T58" fmla="*/ 306 w 639"/>
                <a:gd name="T59" fmla="*/ 479 h 556"/>
                <a:gd name="T60" fmla="*/ 331 w 639"/>
                <a:gd name="T61" fmla="*/ 459 h 556"/>
                <a:gd name="T62" fmla="*/ 351 w 639"/>
                <a:gd name="T63" fmla="*/ 400 h 556"/>
                <a:gd name="T64" fmla="*/ 376 w 639"/>
                <a:gd name="T65" fmla="*/ 383 h 556"/>
                <a:gd name="T66" fmla="*/ 396 w 639"/>
                <a:gd name="T67" fmla="*/ 388 h 556"/>
                <a:gd name="T68" fmla="*/ 402 w 639"/>
                <a:gd name="T69" fmla="*/ 405 h 556"/>
                <a:gd name="T70" fmla="*/ 388 w 639"/>
                <a:gd name="T71" fmla="*/ 422 h 556"/>
                <a:gd name="T72" fmla="*/ 413 w 639"/>
                <a:gd name="T73" fmla="*/ 454 h 556"/>
                <a:gd name="T74" fmla="*/ 456 w 639"/>
                <a:gd name="T75" fmla="*/ 454 h 556"/>
                <a:gd name="T76" fmla="*/ 481 w 639"/>
                <a:gd name="T77" fmla="*/ 496 h 556"/>
                <a:gd name="T78" fmla="*/ 476 w 639"/>
                <a:gd name="T79" fmla="*/ 510 h 556"/>
                <a:gd name="T80" fmla="*/ 501 w 639"/>
                <a:gd name="T81" fmla="*/ 493 h 556"/>
                <a:gd name="T82" fmla="*/ 521 w 639"/>
                <a:gd name="T83" fmla="*/ 471 h 556"/>
                <a:gd name="T84" fmla="*/ 538 w 639"/>
                <a:gd name="T85" fmla="*/ 473 h 556"/>
                <a:gd name="T86" fmla="*/ 540 w 639"/>
                <a:gd name="T87" fmla="*/ 427 h 556"/>
                <a:gd name="T88" fmla="*/ 628 w 639"/>
                <a:gd name="T89" fmla="*/ 391 h 556"/>
                <a:gd name="T90" fmla="*/ 639 w 639"/>
                <a:gd name="T91" fmla="*/ 365 h 556"/>
                <a:gd name="T92" fmla="*/ 633 w 639"/>
                <a:gd name="T93" fmla="*/ 307 h 556"/>
                <a:gd name="T94" fmla="*/ 576 w 639"/>
                <a:gd name="T95" fmla="*/ 248 h 556"/>
                <a:gd name="T96" fmla="*/ 558 w 639"/>
                <a:gd name="T97" fmla="*/ 258 h 556"/>
                <a:gd name="T98" fmla="*/ 558 w 639"/>
                <a:gd name="T99" fmla="*/ 234 h 556"/>
                <a:gd name="T100" fmla="*/ 558 w 639"/>
                <a:gd name="T101" fmla="*/ 196 h 556"/>
                <a:gd name="T102" fmla="*/ 508 w 639"/>
                <a:gd name="T103" fmla="*/ 172 h 556"/>
                <a:gd name="T104" fmla="*/ 506 w 639"/>
                <a:gd name="T105" fmla="*/ 151 h 556"/>
                <a:gd name="T106" fmla="*/ 535 w 639"/>
                <a:gd name="T107" fmla="*/ 120 h 556"/>
                <a:gd name="T108" fmla="*/ 535 w 639"/>
                <a:gd name="T109" fmla="*/ 84 h 556"/>
                <a:gd name="T110" fmla="*/ 488 w 639"/>
                <a:gd name="T111" fmla="*/ 34 h 556"/>
                <a:gd name="T112" fmla="*/ 485 w 639"/>
                <a:gd name="T113" fmla="*/ 0 h 556"/>
                <a:gd name="T114" fmla="*/ 396 w 639"/>
                <a:gd name="T115" fmla="*/ 0 h 55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39"/>
                <a:gd name="T175" fmla="*/ 0 h 556"/>
                <a:gd name="T176" fmla="*/ 639 w 639"/>
                <a:gd name="T177" fmla="*/ 556 h 55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39" h="556">
                  <a:moveTo>
                    <a:pt x="396" y="0"/>
                  </a:moveTo>
                  <a:lnTo>
                    <a:pt x="337" y="11"/>
                  </a:lnTo>
                  <a:lnTo>
                    <a:pt x="279" y="57"/>
                  </a:lnTo>
                  <a:lnTo>
                    <a:pt x="264" y="34"/>
                  </a:lnTo>
                  <a:lnTo>
                    <a:pt x="235" y="36"/>
                  </a:lnTo>
                  <a:lnTo>
                    <a:pt x="209" y="94"/>
                  </a:lnTo>
                  <a:lnTo>
                    <a:pt x="212" y="117"/>
                  </a:lnTo>
                  <a:lnTo>
                    <a:pt x="240" y="141"/>
                  </a:lnTo>
                  <a:lnTo>
                    <a:pt x="188" y="175"/>
                  </a:lnTo>
                  <a:lnTo>
                    <a:pt x="154" y="206"/>
                  </a:lnTo>
                  <a:lnTo>
                    <a:pt x="97" y="206"/>
                  </a:lnTo>
                  <a:lnTo>
                    <a:pt x="71" y="227"/>
                  </a:lnTo>
                  <a:lnTo>
                    <a:pt x="45" y="235"/>
                  </a:lnTo>
                  <a:lnTo>
                    <a:pt x="31" y="261"/>
                  </a:lnTo>
                  <a:lnTo>
                    <a:pt x="6" y="247"/>
                  </a:lnTo>
                  <a:lnTo>
                    <a:pt x="0" y="320"/>
                  </a:lnTo>
                  <a:lnTo>
                    <a:pt x="14" y="346"/>
                  </a:lnTo>
                  <a:lnTo>
                    <a:pt x="15" y="374"/>
                  </a:lnTo>
                  <a:lnTo>
                    <a:pt x="36" y="391"/>
                  </a:lnTo>
                  <a:lnTo>
                    <a:pt x="36" y="465"/>
                  </a:lnTo>
                  <a:lnTo>
                    <a:pt x="88" y="473"/>
                  </a:lnTo>
                  <a:lnTo>
                    <a:pt x="107" y="510"/>
                  </a:lnTo>
                  <a:lnTo>
                    <a:pt x="153" y="516"/>
                  </a:lnTo>
                  <a:lnTo>
                    <a:pt x="161" y="499"/>
                  </a:lnTo>
                  <a:lnTo>
                    <a:pt x="184" y="499"/>
                  </a:lnTo>
                  <a:lnTo>
                    <a:pt x="223" y="541"/>
                  </a:lnTo>
                  <a:lnTo>
                    <a:pt x="238" y="556"/>
                  </a:lnTo>
                  <a:lnTo>
                    <a:pt x="283" y="547"/>
                  </a:lnTo>
                  <a:lnTo>
                    <a:pt x="294" y="524"/>
                  </a:lnTo>
                  <a:lnTo>
                    <a:pt x="306" y="479"/>
                  </a:lnTo>
                  <a:lnTo>
                    <a:pt x="331" y="459"/>
                  </a:lnTo>
                  <a:lnTo>
                    <a:pt x="351" y="400"/>
                  </a:lnTo>
                  <a:lnTo>
                    <a:pt x="376" y="383"/>
                  </a:lnTo>
                  <a:lnTo>
                    <a:pt x="396" y="388"/>
                  </a:lnTo>
                  <a:lnTo>
                    <a:pt x="402" y="405"/>
                  </a:lnTo>
                  <a:lnTo>
                    <a:pt x="388" y="422"/>
                  </a:lnTo>
                  <a:lnTo>
                    <a:pt x="413" y="454"/>
                  </a:lnTo>
                  <a:lnTo>
                    <a:pt x="456" y="454"/>
                  </a:lnTo>
                  <a:lnTo>
                    <a:pt x="481" y="496"/>
                  </a:lnTo>
                  <a:lnTo>
                    <a:pt x="476" y="510"/>
                  </a:lnTo>
                  <a:lnTo>
                    <a:pt x="501" y="493"/>
                  </a:lnTo>
                  <a:lnTo>
                    <a:pt x="521" y="471"/>
                  </a:lnTo>
                  <a:lnTo>
                    <a:pt x="538" y="473"/>
                  </a:lnTo>
                  <a:lnTo>
                    <a:pt x="540" y="427"/>
                  </a:lnTo>
                  <a:lnTo>
                    <a:pt x="628" y="391"/>
                  </a:lnTo>
                  <a:lnTo>
                    <a:pt x="639" y="365"/>
                  </a:lnTo>
                  <a:lnTo>
                    <a:pt x="633" y="307"/>
                  </a:lnTo>
                  <a:lnTo>
                    <a:pt x="576" y="248"/>
                  </a:lnTo>
                  <a:lnTo>
                    <a:pt x="558" y="258"/>
                  </a:lnTo>
                  <a:lnTo>
                    <a:pt x="558" y="234"/>
                  </a:lnTo>
                  <a:lnTo>
                    <a:pt x="558" y="196"/>
                  </a:lnTo>
                  <a:lnTo>
                    <a:pt x="508" y="172"/>
                  </a:lnTo>
                  <a:lnTo>
                    <a:pt x="506" y="151"/>
                  </a:lnTo>
                  <a:lnTo>
                    <a:pt x="535" y="120"/>
                  </a:lnTo>
                  <a:lnTo>
                    <a:pt x="535" y="84"/>
                  </a:lnTo>
                  <a:lnTo>
                    <a:pt x="488" y="34"/>
                  </a:lnTo>
                  <a:lnTo>
                    <a:pt x="485" y="0"/>
                  </a:lnTo>
                  <a:lnTo>
                    <a:pt x="396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74</a:t>
              </a:r>
            </a:p>
          </p:txBody>
        </p:sp>
        <p:sp>
          <p:nvSpPr>
            <p:cNvPr id="42" name="FR-42">
              <a:extLst>
                <a:ext uri="{FF2B5EF4-FFF2-40B4-BE49-F238E27FC236}">
                  <a16:creationId xmlns:a16="http://schemas.microsoft.com/office/drawing/2014/main" id="{5AC08807-96C0-4163-92D4-825511E611A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873243" y="4938384"/>
              <a:ext cx="268866" cy="341451"/>
            </a:xfrm>
            <a:custGeom>
              <a:avLst/>
              <a:gdLst>
                <a:gd name="T0" fmla="*/ 49 w 582"/>
                <a:gd name="T1" fmla="*/ 8 h 775"/>
                <a:gd name="T2" fmla="*/ 60 w 582"/>
                <a:gd name="T3" fmla="*/ 73 h 775"/>
                <a:gd name="T4" fmla="*/ 2 w 582"/>
                <a:gd name="T5" fmla="*/ 224 h 775"/>
                <a:gd name="T6" fmla="*/ 42 w 582"/>
                <a:gd name="T7" fmla="*/ 281 h 775"/>
                <a:gd name="T8" fmla="*/ 10 w 582"/>
                <a:gd name="T9" fmla="*/ 362 h 775"/>
                <a:gd name="T10" fmla="*/ 70 w 582"/>
                <a:gd name="T11" fmla="*/ 471 h 775"/>
                <a:gd name="T12" fmla="*/ 161 w 582"/>
                <a:gd name="T13" fmla="*/ 602 h 775"/>
                <a:gd name="T14" fmla="*/ 119 w 582"/>
                <a:gd name="T15" fmla="*/ 680 h 775"/>
                <a:gd name="T16" fmla="*/ 250 w 582"/>
                <a:gd name="T17" fmla="*/ 656 h 775"/>
                <a:gd name="T18" fmla="*/ 362 w 582"/>
                <a:gd name="T19" fmla="*/ 690 h 775"/>
                <a:gd name="T20" fmla="*/ 398 w 582"/>
                <a:gd name="T21" fmla="*/ 737 h 775"/>
                <a:gd name="T22" fmla="*/ 455 w 582"/>
                <a:gd name="T23" fmla="*/ 768 h 775"/>
                <a:gd name="T24" fmla="*/ 512 w 582"/>
                <a:gd name="T25" fmla="*/ 709 h 775"/>
                <a:gd name="T26" fmla="*/ 580 w 582"/>
                <a:gd name="T27" fmla="*/ 590 h 775"/>
                <a:gd name="T28" fmla="*/ 552 w 582"/>
                <a:gd name="T29" fmla="*/ 584 h 775"/>
                <a:gd name="T30" fmla="*/ 500 w 582"/>
                <a:gd name="T31" fmla="*/ 581 h 775"/>
                <a:gd name="T32" fmla="*/ 520 w 582"/>
                <a:gd name="T33" fmla="*/ 522 h 775"/>
                <a:gd name="T34" fmla="*/ 359 w 582"/>
                <a:gd name="T35" fmla="*/ 440 h 775"/>
                <a:gd name="T36" fmla="*/ 376 w 582"/>
                <a:gd name="T37" fmla="*/ 403 h 775"/>
                <a:gd name="T38" fmla="*/ 356 w 582"/>
                <a:gd name="T39" fmla="*/ 372 h 775"/>
                <a:gd name="T40" fmla="*/ 373 w 582"/>
                <a:gd name="T41" fmla="*/ 310 h 775"/>
                <a:gd name="T42" fmla="*/ 339 w 582"/>
                <a:gd name="T43" fmla="*/ 247 h 775"/>
                <a:gd name="T44" fmla="*/ 316 w 582"/>
                <a:gd name="T45" fmla="*/ 199 h 775"/>
                <a:gd name="T46" fmla="*/ 322 w 582"/>
                <a:gd name="T47" fmla="*/ 140 h 775"/>
                <a:gd name="T48" fmla="*/ 379 w 582"/>
                <a:gd name="T49" fmla="*/ 89 h 775"/>
                <a:gd name="T50" fmla="*/ 376 w 582"/>
                <a:gd name="T51" fmla="*/ 43 h 775"/>
                <a:gd name="T52" fmla="*/ 362 w 582"/>
                <a:gd name="T53" fmla="*/ 7 h 775"/>
                <a:gd name="T54" fmla="*/ 323 w 582"/>
                <a:gd name="T55" fmla="*/ 60 h 775"/>
                <a:gd name="T56" fmla="*/ 286 w 582"/>
                <a:gd name="T57" fmla="*/ 65 h 775"/>
                <a:gd name="T58" fmla="*/ 172 w 582"/>
                <a:gd name="T59" fmla="*/ 71 h 775"/>
                <a:gd name="T60" fmla="*/ 146 w 582"/>
                <a:gd name="T61" fmla="*/ 52 h 775"/>
                <a:gd name="T62" fmla="*/ 104 w 582"/>
                <a:gd name="T63" fmla="*/ 3 h 775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582"/>
                <a:gd name="T97" fmla="*/ 0 h 775"/>
                <a:gd name="T98" fmla="*/ 582 w 582"/>
                <a:gd name="T99" fmla="*/ 775 h 775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582" h="775">
                  <a:moveTo>
                    <a:pt x="96" y="0"/>
                  </a:moveTo>
                  <a:lnTo>
                    <a:pt x="49" y="8"/>
                  </a:lnTo>
                  <a:lnTo>
                    <a:pt x="42" y="37"/>
                  </a:lnTo>
                  <a:lnTo>
                    <a:pt x="60" y="73"/>
                  </a:lnTo>
                  <a:lnTo>
                    <a:pt x="65" y="221"/>
                  </a:lnTo>
                  <a:lnTo>
                    <a:pt x="2" y="224"/>
                  </a:lnTo>
                  <a:lnTo>
                    <a:pt x="0" y="248"/>
                  </a:lnTo>
                  <a:lnTo>
                    <a:pt x="42" y="281"/>
                  </a:lnTo>
                  <a:lnTo>
                    <a:pt x="18" y="305"/>
                  </a:lnTo>
                  <a:lnTo>
                    <a:pt x="10" y="362"/>
                  </a:lnTo>
                  <a:lnTo>
                    <a:pt x="42" y="404"/>
                  </a:lnTo>
                  <a:lnTo>
                    <a:pt x="70" y="471"/>
                  </a:lnTo>
                  <a:lnTo>
                    <a:pt x="138" y="516"/>
                  </a:lnTo>
                  <a:lnTo>
                    <a:pt x="161" y="602"/>
                  </a:lnTo>
                  <a:lnTo>
                    <a:pt x="112" y="648"/>
                  </a:lnTo>
                  <a:lnTo>
                    <a:pt x="119" y="680"/>
                  </a:lnTo>
                  <a:lnTo>
                    <a:pt x="192" y="703"/>
                  </a:lnTo>
                  <a:lnTo>
                    <a:pt x="250" y="656"/>
                  </a:lnTo>
                  <a:lnTo>
                    <a:pt x="278" y="654"/>
                  </a:lnTo>
                  <a:lnTo>
                    <a:pt x="362" y="690"/>
                  </a:lnTo>
                  <a:lnTo>
                    <a:pt x="357" y="740"/>
                  </a:lnTo>
                  <a:lnTo>
                    <a:pt x="398" y="737"/>
                  </a:lnTo>
                  <a:lnTo>
                    <a:pt x="431" y="775"/>
                  </a:lnTo>
                  <a:lnTo>
                    <a:pt x="455" y="768"/>
                  </a:lnTo>
                  <a:lnTo>
                    <a:pt x="500" y="760"/>
                  </a:lnTo>
                  <a:lnTo>
                    <a:pt x="512" y="709"/>
                  </a:lnTo>
                  <a:lnTo>
                    <a:pt x="574" y="672"/>
                  </a:lnTo>
                  <a:lnTo>
                    <a:pt x="580" y="590"/>
                  </a:lnTo>
                  <a:lnTo>
                    <a:pt x="582" y="589"/>
                  </a:lnTo>
                  <a:lnTo>
                    <a:pt x="552" y="584"/>
                  </a:lnTo>
                  <a:lnTo>
                    <a:pt x="523" y="596"/>
                  </a:lnTo>
                  <a:lnTo>
                    <a:pt x="500" y="581"/>
                  </a:lnTo>
                  <a:lnTo>
                    <a:pt x="529" y="548"/>
                  </a:lnTo>
                  <a:lnTo>
                    <a:pt x="520" y="522"/>
                  </a:lnTo>
                  <a:lnTo>
                    <a:pt x="432" y="508"/>
                  </a:lnTo>
                  <a:lnTo>
                    <a:pt x="359" y="440"/>
                  </a:lnTo>
                  <a:lnTo>
                    <a:pt x="359" y="417"/>
                  </a:lnTo>
                  <a:lnTo>
                    <a:pt x="376" y="403"/>
                  </a:lnTo>
                  <a:lnTo>
                    <a:pt x="376" y="383"/>
                  </a:lnTo>
                  <a:lnTo>
                    <a:pt x="356" y="372"/>
                  </a:lnTo>
                  <a:lnTo>
                    <a:pt x="373" y="346"/>
                  </a:lnTo>
                  <a:lnTo>
                    <a:pt x="373" y="310"/>
                  </a:lnTo>
                  <a:lnTo>
                    <a:pt x="339" y="278"/>
                  </a:lnTo>
                  <a:lnTo>
                    <a:pt x="339" y="247"/>
                  </a:lnTo>
                  <a:lnTo>
                    <a:pt x="316" y="225"/>
                  </a:lnTo>
                  <a:lnTo>
                    <a:pt x="316" y="199"/>
                  </a:lnTo>
                  <a:lnTo>
                    <a:pt x="305" y="157"/>
                  </a:lnTo>
                  <a:lnTo>
                    <a:pt x="322" y="140"/>
                  </a:lnTo>
                  <a:lnTo>
                    <a:pt x="325" y="89"/>
                  </a:lnTo>
                  <a:lnTo>
                    <a:pt x="379" y="89"/>
                  </a:lnTo>
                  <a:lnTo>
                    <a:pt x="393" y="72"/>
                  </a:lnTo>
                  <a:lnTo>
                    <a:pt x="376" y="43"/>
                  </a:lnTo>
                  <a:lnTo>
                    <a:pt x="376" y="18"/>
                  </a:lnTo>
                  <a:lnTo>
                    <a:pt x="362" y="7"/>
                  </a:lnTo>
                  <a:lnTo>
                    <a:pt x="352" y="60"/>
                  </a:lnTo>
                  <a:lnTo>
                    <a:pt x="323" y="60"/>
                  </a:lnTo>
                  <a:lnTo>
                    <a:pt x="302" y="81"/>
                  </a:lnTo>
                  <a:lnTo>
                    <a:pt x="286" y="65"/>
                  </a:lnTo>
                  <a:lnTo>
                    <a:pt x="203" y="52"/>
                  </a:lnTo>
                  <a:lnTo>
                    <a:pt x="172" y="71"/>
                  </a:lnTo>
                  <a:lnTo>
                    <a:pt x="151" y="71"/>
                  </a:lnTo>
                  <a:lnTo>
                    <a:pt x="146" y="52"/>
                  </a:lnTo>
                  <a:lnTo>
                    <a:pt x="107" y="44"/>
                  </a:lnTo>
                  <a:lnTo>
                    <a:pt x="104" y="3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42</a:t>
              </a:r>
            </a:p>
          </p:txBody>
        </p:sp>
        <p:sp>
          <p:nvSpPr>
            <p:cNvPr id="43" name="FR-69">
              <a:extLst>
                <a:ext uri="{FF2B5EF4-FFF2-40B4-BE49-F238E27FC236}">
                  <a16:creationId xmlns:a16="http://schemas.microsoft.com/office/drawing/2014/main" id="{B237DAA5-9815-4EB6-8422-52BE00BCFED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014143" y="4922523"/>
              <a:ext cx="218512" cy="278448"/>
            </a:xfrm>
            <a:custGeom>
              <a:avLst/>
              <a:gdLst>
                <a:gd name="T0" fmla="*/ 221 w 473"/>
                <a:gd name="T1" fmla="*/ 0 h 632"/>
                <a:gd name="T2" fmla="*/ 192 w 473"/>
                <a:gd name="T3" fmla="*/ 2 h 632"/>
                <a:gd name="T4" fmla="*/ 169 w 473"/>
                <a:gd name="T5" fmla="*/ 26 h 632"/>
                <a:gd name="T6" fmla="*/ 153 w 473"/>
                <a:gd name="T7" fmla="*/ 5 h 632"/>
                <a:gd name="T8" fmla="*/ 130 w 473"/>
                <a:gd name="T9" fmla="*/ 26 h 632"/>
                <a:gd name="T10" fmla="*/ 98 w 473"/>
                <a:gd name="T11" fmla="*/ 5 h 632"/>
                <a:gd name="T12" fmla="*/ 72 w 473"/>
                <a:gd name="T13" fmla="*/ 5 h 632"/>
                <a:gd name="T14" fmla="*/ 62 w 473"/>
                <a:gd name="T15" fmla="*/ 13 h 632"/>
                <a:gd name="T16" fmla="*/ 57 w 473"/>
                <a:gd name="T17" fmla="*/ 43 h 632"/>
                <a:gd name="T18" fmla="*/ 71 w 473"/>
                <a:gd name="T19" fmla="*/ 54 h 632"/>
                <a:gd name="T20" fmla="*/ 71 w 473"/>
                <a:gd name="T21" fmla="*/ 79 h 632"/>
                <a:gd name="T22" fmla="*/ 88 w 473"/>
                <a:gd name="T23" fmla="*/ 108 h 632"/>
                <a:gd name="T24" fmla="*/ 74 w 473"/>
                <a:gd name="T25" fmla="*/ 125 h 632"/>
                <a:gd name="T26" fmla="*/ 20 w 473"/>
                <a:gd name="T27" fmla="*/ 125 h 632"/>
                <a:gd name="T28" fmla="*/ 17 w 473"/>
                <a:gd name="T29" fmla="*/ 176 h 632"/>
                <a:gd name="T30" fmla="*/ 0 w 473"/>
                <a:gd name="T31" fmla="*/ 193 h 632"/>
                <a:gd name="T32" fmla="*/ 11 w 473"/>
                <a:gd name="T33" fmla="*/ 235 h 632"/>
                <a:gd name="T34" fmla="*/ 11 w 473"/>
                <a:gd name="T35" fmla="*/ 261 h 632"/>
                <a:gd name="T36" fmla="*/ 34 w 473"/>
                <a:gd name="T37" fmla="*/ 283 h 632"/>
                <a:gd name="T38" fmla="*/ 34 w 473"/>
                <a:gd name="T39" fmla="*/ 314 h 632"/>
                <a:gd name="T40" fmla="*/ 68 w 473"/>
                <a:gd name="T41" fmla="*/ 346 h 632"/>
                <a:gd name="T42" fmla="*/ 68 w 473"/>
                <a:gd name="T43" fmla="*/ 382 h 632"/>
                <a:gd name="T44" fmla="*/ 51 w 473"/>
                <a:gd name="T45" fmla="*/ 408 h 632"/>
                <a:gd name="T46" fmla="*/ 71 w 473"/>
                <a:gd name="T47" fmla="*/ 419 h 632"/>
                <a:gd name="T48" fmla="*/ 71 w 473"/>
                <a:gd name="T49" fmla="*/ 439 h 632"/>
                <a:gd name="T50" fmla="*/ 54 w 473"/>
                <a:gd name="T51" fmla="*/ 453 h 632"/>
                <a:gd name="T52" fmla="*/ 54 w 473"/>
                <a:gd name="T53" fmla="*/ 476 h 632"/>
                <a:gd name="T54" fmla="*/ 127 w 473"/>
                <a:gd name="T55" fmla="*/ 544 h 632"/>
                <a:gd name="T56" fmla="*/ 215 w 473"/>
                <a:gd name="T57" fmla="*/ 558 h 632"/>
                <a:gd name="T58" fmla="*/ 224 w 473"/>
                <a:gd name="T59" fmla="*/ 584 h 632"/>
                <a:gd name="T60" fmla="*/ 195 w 473"/>
                <a:gd name="T61" fmla="*/ 617 h 632"/>
                <a:gd name="T62" fmla="*/ 218 w 473"/>
                <a:gd name="T63" fmla="*/ 632 h 632"/>
                <a:gd name="T64" fmla="*/ 247 w 473"/>
                <a:gd name="T65" fmla="*/ 620 h 632"/>
                <a:gd name="T66" fmla="*/ 277 w 473"/>
                <a:gd name="T67" fmla="*/ 625 h 632"/>
                <a:gd name="T68" fmla="*/ 332 w 473"/>
                <a:gd name="T69" fmla="*/ 598 h 632"/>
                <a:gd name="T70" fmla="*/ 323 w 473"/>
                <a:gd name="T71" fmla="*/ 581 h 632"/>
                <a:gd name="T72" fmla="*/ 286 w 473"/>
                <a:gd name="T73" fmla="*/ 544 h 632"/>
                <a:gd name="T74" fmla="*/ 343 w 473"/>
                <a:gd name="T75" fmla="*/ 524 h 632"/>
                <a:gd name="T76" fmla="*/ 417 w 473"/>
                <a:gd name="T77" fmla="*/ 507 h 632"/>
                <a:gd name="T78" fmla="*/ 473 w 473"/>
                <a:gd name="T79" fmla="*/ 434 h 632"/>
                <a:gd name="T80" fmla="*/ 436 w 473"/>
                <a:gd name="T81" fmla="*/ 402 h 632"/>
                <a:gd name="T82" fmla="*/ 438 w 473"/>
                <a:gd name="T83" fmla="*/ 375 h 632"/>
                <a:gd name="T84" fmla="*/ 385 w 473"/>
                <a:gd name="T85" fmla="*/ 360 h 632"/>
                <a:gd name="T86" fmla="*/ 351 w 473"/>
                <a:gd name="T87" fmla="*/ 371 h 632"/>
                <a:gd name="T88" fmla="*/ 346 w 473"/>
                <a:gd name="T89" fmla="*/ 326 h 632"/>
                <a:gd name="T90" fmla="*/ 314 w 473"/>
                <a:gd name="T91" fmla="*/ 297 h 632"/>
                <a:gd name="T92" fmla="*/ 294 w 473"/>
                <a:gd name="T93" fmla="*/ 294 h 632"/>
                <a:gd name="T94" fmla="*/ 244 w 473"/>
                <a:gd name="T95" fmla="*/ 264 h 632"/>
                <a:gd name="T96" fmla="*/ 252 w 473"/>
                <a:gd name="T97" fmla="*/ 244 h 632"/>
                <a:gd name="T98" fmla="*/ 252 w 473"/>
                <a:gd name="T99" fmla="*/ 156 h 632"/>
                <a:gd name="T100" fmla="*/ 266 w 473"/>
                <a:gd name="T101" fmla="*/ 136 h 632"/>
                <a:gd name="T102" fmla="*/ 271 w 473"/>
                <a:gd name="T103" fmla="*/ 75 h 632"/>
                <a:gd name="T104" fmla="*/ 262 w 473"/>
                <a:gd name="T105" fmla="*/ 96 h 632"/>
                <a:gd name="T106" fmla="*/ 244 w 473"/>
                <a:gd name="T107" fmla="*/ 94 h 632"/>
                <a:gd name="T108" fmla="*/ 234 w 473"/>
                <a:gd name="T109" fmla="*/ 42 h 632"/>
                <a:gd name="T110" fmla="*/ 221 w 473"/>
                <a:gd name="T111" fmla="*/ 0 h 63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73"/>
                <a:gd name="T169" fmla="*/ 0 h 632"/>
                <a:gd name="T170" fmla="*/ 473 w 473"/>
                <a:gd name="T171" fmla="*/ 632 h 63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73" h="632">
                  <a:moveTo>
                    <a:pt x="221" y="0"/>
                  </a:moveTo>
                  <a:lnTo>
                    <a:pt x="192" y="2"/>
                  </a:lnTo>
                  <a:lnTo>
                    <a:pt x="169" y="26"/>
                  </a:lnTo>
                  <a:lnTo>
                    <a:pt x="153" y="5"/>
                  </a:lnTo>
                  <a:lnTo>
                    <a:pt x="130" y="26"/>
                  </a:lnTo>
                  <a:lnTo>
                    <a:pt x="98" y="5"/>
                  </a:lnTo>
                  <a:lnTo>
                    <a:pt x="72" y="5"/>
                  </a:lnTo>
                  <a:lnTo>
                    <a:pt x="62" y="13"/>
                  </a:lnTo>
                  <a:lnTo>
                    <a:pt x="57" y="43"/>
                  </a:lnTo>
                  <a:lnTo>
                    <a:pt x="71" y="54"/>
                  </a:lnTo>
                  <a:lnTo>
                    <a:pt x="71" y="79"/>
                  </a:lnTo>
                  <a:lnTo>
                    <a:pt x="88" y="108"/>
                  </a:lnTo>
                  <a:lnTo>
                    <a:pt x="74" y="125"/>
                  </a:lnTo>
                  <a:lnTo>
                    <a:pt x="20" y="125"/>
                  </a:lnTo>
                  <a:lnTo>
                    <a:pt x="17" y="176"/>
                  </a:lnTo>
                  <a:lnTo>
                    <a:pt x="0" y="193"/>
                  </a:lnTo>
                  <a:lnTo>
                    <a:pt x="11" y="235"/>
                  </a:lnTo>
                  <a:lnTo>
                    <a:pt x="11" y="261"/>
                  </a:lnTo>
                  <a:lnTo>
                    <a:pt x="34" y="283"/>
                  </a:lnTo>
                  <a:lnTo>
                    <a:pt x="34" y="314"/>
                  </a:lnTo>
                  <a:lnTo>
                    <a:pt x="68" y="346"/>
                  </a:lnTo>
                  <a:lnTo>
                    <a:pt x="68" y="382"/>
                  </a:lnTo>
                  <a:lnTo>
                    <a:pt x="51" y="408"/>
                  </a:lnTo>
                  <a:lnTo>
                    <a:pt x="71" y="419"/>
                  </a:lnTo>
                  <a:lnTo>
                    <a:pt x="71" y="439"/>
                  </a:lnTo>
                  <a:lnTo>
                    <a:pt x="54" y="453"/>
                  </a:lnTo>
                  <a:lnTo>
                    <a:pt x="54" y="476"/>
                  </a:lnTo>
                  <a:lnTo>
                    <a:pt x="127" y="544"/>
                  </a:lnTo>
                  <a:lnTo>
                    <a:pt x="215" y="558"/>
                  </a:lnTo>
                  <a:lnTo>
                    <a:pt x="224" y="584"/>
                  </a:lnTo>
                  <a:lnTo>
                    <a:pt x="195" y="617"/>
                  </a:lnTo>
                  <a:lnTo>
                    <a:pt x="218" y="632"/>
                  </a:lnTo>
                  <a:lnTo>
                    <a:pt x="247" y="620"/>
                  </a:lnTo>
                  <a:lnTo>
                    <a:pt x="277" y="625"/>
                  </a:lnTo>
                  <a:lnTo>
                    <a:pt x="332" y="598"/>
                  </a:lnTo>
                  <a:lnTo>
                    <a:pt x="323" y="581"/>
                  </a:lnTo>
                  <a:lnTo>
                    <a:pt x="286" y="544"/>
                  </a:lnTo>
                  <a:lnTo>
                    <a:pt x="343" y="524"/>
                  </a:lnTo>
                  <a:lnTo>
                    <a:pt x="417" y="507"/>
                  </a:lnTo>
                  <a:lnTo>
                    <a:pt x="473" y="434"/>
                  </a:lnTo>
                  <a:lnTo>
                    <a:pt x="436" y="402"/>
                  </a:lnTo>
                  <a:lnTo>
                    <a:pt x="438" y="375"/>
                  </a:lnTo>
                  <a:lnTo>
                    <a:pt x="385" y="360"/>
                  </a:lnTo>
                  <a:lnTo>
                    <a:pt x="351" y="371"/>
                  </a:lnTo>
                  <a:lnTo>
                    <a:pt x="346" y="326"/>
                  </a:lnTo>
                  <a:lnTo>
                    <a:pt x="314" y="297"/>
                  </a:lnTo>
                  <a:lnTo>
                    <a:pt x="294" y="294"/>
                  </a:lnTo>
                  <a:lnTo>
                    <a:pt x="244" y="264"/>
                  </a:lnTo>
                  <a:lnTo>
                    <a:pt x="252" y="244"/>
                  </a:lnTo>
                  <a:lnTo>
                    <a:pt x="252" y="156"/>
                  </a:lnTo>
                  <a:lnTo>
                    <a:pt x="266" y="136"/>
                  </a:lnTo>
                  <a:lnTo>
                    <a:pt x="271" y="75"/>
                  </a:lnTo>
                  <a:lnTo>
                    <a:pt x="262" y="96"/>
                  </a:lnTo>
                  <a:lnTo>
                    <a:pt x="244" y="94"/>
                  </a:lnTo>
                  <a:lnTo>
                    <a:pt x="234" y="42"/>
                  </a:lnTo>
                  <a:lnTo>
                    <a:pt x="221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69</a:t>
              </a:r>
            </a:p>
          </p:txBody>
        </p:sp>
        <p:sp>
          <p:nvSpPr>
            <p:cNvPr id="44" name="FR-73">
              <a:extLst>
                <a:ext uri="{FF2B5EF4-FFF2-40B4-BE49-F238E27FC236}">
                  <a16:creationId xmlns:a16="http://schemas.microsoft.com/office/drawing/2014/main" id="{C3B2577B-7C27-40AD-88B7-F797709A0EF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351381" y="5031346"/>
              <a:ext cx="384358" cy="290344"/>
            </a:xfrm>
            <a:custGeom>
              <a:avLst/>
              <a:gdLst>
                <a:gd name="T0" fmla="*/ 89 w 832"/>
                <a:gd name="T1" fmla="*/ 76 h 659"/>
                <a:gd name="T2" fmla="*/ 72 w 832"/>
                <a:gd name="T3" fmla="*/ 175 h 659"/>
                <a:gd name="T4" fmla="*/ 32 w 832"/>
                <a:gd name="T5" fmla="*/ 229 h 659"/>
                <a:gd name="T6" fmla="*/ 0 w 832"/>
                <a:gd name="T7" fmla="*/ 251 h 659"/>
                <a:gd name="T8" fmla="*/ 35 w 832"/>
                <a:gd name="T9" fmla="*/ 300 h 659"/>
                <a:gd name="T10" fmla="*/ 66 w 832"/>
                <a:gd name="T11" fmla="*/ 379 h 659"/>
                <a:gd name="T12" fmla="*/ 154 w 832"/>
                <a:gd name="T13" fmla="*/ 410 h 659"/>
                <a:gd name="T14" fmla="*/ 151 w 832"/>
                <a:gd name="T15" fmla="*/ 379 h 659"/>
                <a:gd name="T16" fmla="*/ 188 w 832"/>
                <a:gd name="T17" fmla="*/ 340 h 659"/>
                <a:gd name="T18" fmla="*/ 236 w 832"/>
                <a:gd name="T19" fmla="*/ 365 h 659"/>
                <a:gd name="T20" fmla="*/ 309 w 832"/>
                <a:gd name="T21" fmla="*/ 419 h 659"/>
                <a:gd name="T22" fmla="*/ 287 w 832"/>
                <a:gd name="T23" fmla="*/ 470 h 659"/>
                <a:gd name="T24" fmla="*/ 298 w 832"/>
                <a:gd name="T25" fmla="*/ 546 h 659"/>
                <a:gd name="T26" fmla="*/ 292 w 832"/>
                <a:gd name="T27" fmla="*/ 592 h 659"/>
                <a:gd name="T28" fmla="*/ 338 w 832"/>
                <a:gd name="T29" fmla="*/ 592 h 659"/>
                <a:gd name="T30" fmla="*/ 400 w 832"/>
                <a:gd name="T31" fmla="*/ 607 h 659"/>
                <a:gd name="T32" fmla="*/ 423 w 832"/>
                <a:gd name="T33" fmla="*/ 659 h 659"/>
                <a:gd name="T34" fmla="*/ 475 w 832"/>
                <a:gd name="T35" fmla="*/ 615 h 659"/>
                <a:gd name="T36" fmla="*/ 549 w 832"/>
                <a:gd name="T37" fmla="*/ 607 h 659"/>
                <a:gd name="T38" fmla="*/ 626 w 832"/>
                <a:gd name="T39" fmla="*/ 574 h 659"/>
                <a:gd name="T40" fmla="*/ 683 w 832"/>
                <a:gd name="T41" fmla="*/ 592 h 659"/>
                <a:gd name="T42" fmla="*/ 719 w 832"/>
                <a:gd name="T43" fmla="*/ 542 h 659"/>
                <a:gd name="T44" fmla="*/ 800 w 832"/>
                <a:gd name="T45" fmla="*/ 501 h 659"/>
                <a:gd name="T46" fmla="*/ 795 w 832"/>
                <a:gd name="T47" fmla="*/ 436 h 659"/>
                <a:gd name="T48" fmla="*/ 798 w 832"/>
                <a:gd name="T49" fmla="*/ 360 h 659"/>
                <a:gd name="T50" fmla="*/ 717 w 832"/>
                <a:gd name="T51" fmla="*/ 282 h 659"/>
                <a:gd name="T52" fmla="*/ 714 w 832"/>
                <a:gd name="T53" fmla="*/ 187 h 659"/>
                <a:gd name="T54" fmla="*/ 713 w 832"/>
                <a:gd name="T55" fmla="*/ 186 h 659"/>
                <a:gd name="T56" fmla="*/ 712 w 832"/>
                <a:gd name="T57" fmla="*/ 186 h 659"/>
                <a:gd name="T58" fmla="*/ 712 w 832"/>
                <a:gd name="T59" fmla="*/ 186 h 659"/>
                <a:gd name="T60" fmla="*/ 623 w 832"/>
                <a:gd name="T61" fmla="*/ 147 h 659"/>
                <a:gd name="T62" fmla="*/ 607 w 832"/>
                <a:gd name="T63" fmla="*/ 102 h 659"/>
                <a:gd name="T64" fmla="*/ 562 w 832"/>
                <a:gd name="T65" fmla="*/ 141 h 659"/>
                <a:gd name="T66" fmla="*/ 542 w 832"/>
                <a:gd name="T67" fmla="*/ 85 h 659"/>
                <a:gd name="T68" fmla="*/ 474 w 832"/>
                <a:gd name="T69" fmla="*/ 53 h 659"/>
                <a:gd name="T70" fmla="*/ 482 w 832"/>
                <a:gd name="T71" fmla="*/ 19 h 659"/>
                <a:gd name="T72" fmla="*/ 437 w 832"/>
                <a:gd name="T73" fmla="*/ 31 h 659"/>
                <a:gd name="T74" fmla="*/ 392 w 832"/>
                <a:gd name="T75" fmla="*/ 110 h 659"/>
                <a:gd name="T76" fmla="*/ 369 w 832"/>
                <a:gd name="T77" fmla="*/ 178 h 659"/>
                <a:gd name="T78" fmla="*/ 309 w 832"/>
                <a:gd name="T79" fmla="*/ 172 h 659"/>
                <a:gd name="T80" fmla="*/ 247 w 832"/>
                <a:gd name="T81" fmla="*/ 130 h 659"/>
                <a:gd name="T82" fmla="*/ 193 w 832"/>
                <a:gd name="T83" fmla="*/ 141 h 659"/>
                <a:gd name="T84" fmla="*/ 122 w 832"/>
                <a:gd name="T85" fmla="*/ 96 h 659"/>
                <a:gd name="T86" fmla="*/ 94 w 832"/>
                <a:gd name="T87" fmla="*/ 0 h 65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832"/>
                <a:gd name="T133" fmla="*/ 0 h 659"/>
                <a:gd name="T134" fmla="*/ 832 w 832"/>
                <a:gd name="T135" fmla="*/ 659 h 659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832" h="659">
                  <a:moveTo>
                    <a:pt x="94" y="0"/>
                  </a:moveTo>
                  <a:lnTo>
                    <a:pt x="89" y="76"/>
                  </a:lnTo>
                  <a:lnTo>
                    <a:pt x="72" y="90"/>
                  </a:lnTo>
                  <a:lnTo>
                    <a:pt x="72" y="175"/>
                  </a:lnTo>
                  <a:lnTo>
                    <a:pt x="37" y="181"/>
                  </a:lnTo>
                  <a:lnTo>
                    <a:pt x="32" y="229"/>
                  </a:lnTo>
                  <a:lnTo>
                    <a:pt x="1" y="252"/>
                  </a:lnTo>
                  <a:lnTo>
                    <a:pt x="0" y="251"/>
                  </a:lnTo>
                  <a:lnTo>
                    <a:pt x="4" y="266"/>
                  </a:lnTo>
                  <a:lnTo>
                    <a:pt x="35" y="300"/>
                  </a:lnTo>
                  <a:lnTo>
                    <a:pt x="35" y="322"/>
                  </a:lnTo>
                  <a:lnTo>
                    <a:pt x="66" y="379"/>
                  </a:lnTo>
                  <a:lnTo>
                    <a:pt x="131" y="393"/>
                  </a:lnTo>
                  <a:lnTo>
                    <a:pt x="154" y="410"/>
                  </a:lnTo>
                  <a:lnTo>
                    <a:pt x="162" y="402"/>
                  </a:lnTo>
                  <a:lnTo>
                    <a:pt x="151" y="379"/>
                  </a:lnTo>
                  <a:lnTo>
                    <a:pt x="168" y="342"/>
                  </a:lnTo>
                  <a:lnTo>
                    <a:pt x="188" y="340"/>
                  </a:lnTo>
                  <a:lnTo>
                    <a:pt x="222" y="385"/>
                  </a:lnTo>
                  <a:lnTo>
                    <a:pt x="236" y="365"/>
                  </a:lnTo>
                  <a:lnTo>
                    <a:pt x="256" y="365"/>
                  </a:lnTo>
                  <a:lnTo>
                    <a:pt x="309" y="419"/>
                  </a:lnTo>
                  <a:lnTo>
                    <a:pt x="312" y="455"/>
                  </a:lnTo>
                  <a:lnTo>
                    <a:pt x="287" y="470"/>
                  </a:lnTo>
                  <a:lnTo>
                    <a:pt x="275" y="523"/>
                  </a:lnTo>
                  <a:lnTo>
                    <a:pt x="298" y="546"/>
                  </a:lnTo>
                  <a:lnTo>
                    <a:pt x="298" y="569"/>
                  </a:lnTo>
                  <a:lnTo>
                    <a:pt x="292" y="592"/>
                  </a:lnTo>
                  <a:lnTo>
                    <a:pt x="309" y="575"/>
                  </a:lnTo>
                  <a:lnTo>
                    <a:pt x="338" y="592"/>
                  </a:lnTo>
                  <a:lnTo>
                    <a:pt x="353" y="612"/>
                  </a:lnTo>
                  <a:lnTo>
                    <a:pt x="400" y="607"/>
                  </a:lnTo>
                  <a:lnTo>
                    <a:pt x="415" y="622"/>
                  </a:lnTo>
                  <a:lnTo>
                    <a:pt x="423" y="659"/>
                  </a:lnTo>
                  <a:lnTo>
                    <a:pt x="470" y="654"/>
                  </a:lnTo>
                  <a:lnTo>
                    <a:pt x="475" y="615"/>
                  </a:lnTo>
                  <a:lnTo>
                    <a:pt x="499" y="604"/>
                  </a:lnTo>
                  <a:lnTo>
                    <a:pt x="549" y="607"/>
                  </a:lnTo>
                  <a:lnTo>
                    <a:pt x="548" y="605"/>
                  </a:lnTo>
                  <a:lnTo>
                    <a:pt x="626" y="574"/>
                  </a:lnTo>
                  <a:lnTo>
                    <a:pt x="654" y="592"/>
                  </a:lnTo>
                  <a:lnTo>
                    <a:pt x="683" y="592"/>
                  </a:lnTo>
                  <a:lnTo>
                    <a:pt x="686" y="561"/>
                  </a:lnTo>
                  <a:lnTo>
                    <a:pt x="719" y="542"/>
                  </a:lnTo>
                  <a:lnTo>
                    <a:pt x="732" y="527"/>
                  </a:lnTo>
                  <a:lnTo>
                    <a:pt x="800" y="501"/>
                  </a:lnTo>
                  <a:lnTo>
                    <a:pt x="808" y="457"/>
                  </a:lnTo>
                  <a:lnTo>
                    <a:pt x="795" y="436"/>
                  </a:lnTo>
                  <a:lnTo>
                    <a:pt x="832" y="373"/>
                  </a:lnTo>
                  <a:lnTo>
                    <a:pt x="798" y="360"/>
                  </a:lnTo>
                  <a:lnTo>
                    <a:pt x="787" y="324"/>
                  </a:lnTo>
                  <a:lnTo>
                    <a:pt x="717" y="282"/>
                  </a:lnTo>
                  <a:cubicBezTo>
                    <a:pt x="717" y="282"/>
                    <a:pt x="721" y="202"/>
                    <a:pt x="714" y="188"/>
                  </a:cubicBezTo>
                  <a:cubicBezTo>
                    <a:pt x="714" y="187"/>
                    <a:pt x="714" y="187"/>
                    <a:pt x="714" y="187"/>
                  </a:cubicBezTo>
                  <a:lnTo>
                    <a:pt x="713" y="186"/>
                  </a:lnTo>
                  <a:lnTo>
                    <a:pt x="712" y="186"/>
                  </a:lnTo>
                  <a:cubicBezTo>
                    <a:pt x="701" y="188"/>
                    <a:pt x="677" y="198"/>
                    <a:pt x="662" y="191"/>
                  </a:cubicBezTo>
                  <a:lnTo>
                    <a:pt x="623" y="147"/>
                  </a:lnTo>
                  <a:lnTo>
                    <a:pt x="624" y="104"/>
                  </a:lnTo>
                  <a:lnTo>
                    <a:pt x="607" y="102"/>
                  </a:lnTo>
                  <a:lnTo>
                    <a:pt x="587" y="124"/>
                  </a:lnTo>
                  <a:lnTo>
                    <a:pt x="562" y="141"/>
                  </a:lnTo>
                  <a:lnTo>
                    <a:pt x="567" y="127"/>
                  </a:lnTo>
                  <a:lnTo>
                    <a:pt x="542" y="85"/>
                  </a:lnTo>
                  <a:lnTo>
                    <a:pt x="499" y="85"/>
                  </a:lnTo>
                  <a:lnTo>
                    <a:pt x="474" y="53"/>
                  </a:lnTo>
                  <a:lnTo>
                    <a:pt x="488" y="36"/>
                  </a:lnTo>
                  <a:lnTo>
                    <a:pt x="482" y="19"/>
                  </a:lnTo>
                  <a:lnTo>
                    <a:pt x="462" y="14"/>
                  </a:lnTo>
                  <a:lnTo>
                    <a:pt x="437" y="31"/>
                  </a:lnTo>
                  <a:lnTo>
                    <a:pt x="417" y="90"/>
                  </a:lnTo>
                  <a:lnTo>
                    <a:pt x="392" y="110"/>
                  </a:lnTo>
                  <a:lnTo>
                    <a:pt x="380" y="155"/>
                  </a:lnTo>
                  <a:lnTo>
                    <a:pt x="369" y="178"/>
                  </a:lnTo>
                  <a:lnTo>
                    <a:pt x="324" y="187"/>
                  </a:lnTo>
                  <a:lnTo>
                    <a:pt x="309" y="172"/>
                  </a:lnTo>
                  <a:lnTo>
                    <a:pt x="270" y="130"/>
                  </a:lnTo>
                  <a:lnTo>
                    <a:pt x="247" y="130"/>
                  </a:lnTo>
                  <a:lnTo>
                    <a:pt x="239" y="147"/>
                  </a:lnTo>
                  <a:lnTo>
                    <a:pt x="193" y="141"/>
                  </a:lnTo>
                  <a:lnTo>
                    <a:pt x="174" y="104"/>
                  </a:lnTo>
                  <a:lnTo>
                    <a:pt x="122" y="96"/>
                  </a:lnTo>
                  <a:lnTo>
                    <a:pt x="122" y="22"/>
                  </a:lnTo>
                  <a:lnTo>
                    <a:pt x="94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73</a:t>
              </a:r>
            </a:p>
          </p:txBody>
        </p:sp>
        <p:sp>
          <p:nvSpPr>
            <p:cNvPr id="45" name="FR-07">
              <a:extLst>
                <a:ext uri="{FF2B5EF4-FFF2-40B4-BE49-F238E27FC236}">
                  <a16:creationId xmlns:a16="http://schemas.microsoft.com/office/drawing/2014/main" id="{9C99179B-D336-460F-95A3-81991AEF21B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924521" y="5234896"/>
              <a:ext cx="253159" cy="368327"/>
            </a:xfrm>
            <a:custGeom>
              <a:avLst/>
              <a:gdLst>
                <a:gd name="T0" fmla="*/ 461 w 548"/>
                <a:gd name="T1" fmla="*/ 0 h 836"/>
                <a:gd name="T2" fmla="*/ 401 w 548"/>
                <a:gd name="T3" fmla="*/ 36 h 836"/>
                <a:gd name="T4" fmla="*/ 389 w 548"/>
                <a:gd name="T5" fmla="*/ 87 h 836"/>
                <a:gd name="T6" fmla="*/ 344 w 548"/>
                <a:gd name="T7" fmla="*/ 95 h 836"/>
                <a:gd name="T8" fmla="*/ 320 w 548"/>
                <a:gd name="T9" fmla="*/ 102 h 836"/>
                <a:gd name="T10" fmla="*/ 321 w 548"/>
                <a:gd name="T11" fmla="*/ 103 h 836"/>
                <a:gd name="T12" fmla="*/ 306 w 548"/>
                <a:gd name="T13" fmla="*/ 166 h 836"/>
                <a:gd name="T14" fmla="*/ 269 w 548"/>
                <a:gd name="T15" fmla="*/ 181 h 836"/>
                <a:gd name="T16" fmla="*/ 253 w 548"/>
                <a:gd name="T17" fmla="*/ 208 h 836"/>
                <a:gd name="T18" fmla="*/ 264 w 548"/>
                <a:gd name="T19" fmla="*/ 241 h 836"/>
                <a:gd name="T20" fmla="*/ 271 w 548"/>
                <a:gd name="T21" fmla="*/ 260 h 836"/>
                <a:gd name="T22" fmla="*/ 233 w 548"/>
                <a:gd name="T23" fmla="*/ 260 h 836"/>
                <a:gd name="T24" fmla="*/ 230 w 548"/>
                <a:gd name="T25" fmla="*/ 309 h 836"/>
                <a:gd name="T26" fmla="*/ 188 w 548"/>
                <a:gd name="T27" fmla="*/ 312 h 836"/>
                <a:gd name="T28" fmla="*/ 167 w 548"/>
                <a:gd name="T29" fmla="*/ 377 h 836"/>
                <a:gd name="T30" fmla="*/ 105 w 548"/>
                <a:gd name="T31" fmla="*/ 377 h 836"/>
                <a:gd name="T32" fmla="*/ 37 w 548"/>
                <a:gd name="T33" fmla="*/ 426 h 836"/>
                <a:gd name="T34" fmla="*/ 0 w 548"/>
                <a:gd name="T35" fmla="*/ 486 h 836"/>
                <a:gd name="T36" fmla="*/ 6 w 548"/>
                <a:gd name="T37" fmla="*/ 494 h 836"/>
                <a:gd name="T38" fmla="*/ 24 w 548"/>
                <a:gd name="T39" fmla="*/ 590 h 836"/>
                <a:gd name="T40" fmla="*/ 68 w 548"/>
                <a:gd name="T41" fmla="*/ 638 h 836"/>
                <a:gd name="T42" fmla="*/ 61 w 548"/>
                <a:gd name="T43" fmla="*/ 693 h 836"/>
                <a:gd name="T44" fmla="*/ 116 w 548"/>
                <a:gd name="T45" fmla="*/ 726 h 836"/>
                <a:gd name="T46" fmla="*/ 116 w 548"/>
                <a:gd name="T47" fmla="*/ 800 h 836"/>
                <a:gd name="T48" fmla="*/ 146 w 548"/>
                <a:gd name="T49" fmla="*/ 785 h 836"/>
                <a:gd name="T50" fmla="*/ 208 w 548"/>
                <a:gd name="T51" fmla="*/ 825 h 836"/>
                <a:gd name="T52" fmla="*/ 238 w 548"/>
                <a:gd name="T53" fmla="*/ 836 h 836"/>
                <a:gd name="T54" fmla="*/ 245 w 548"/>
                <a:gd name="T55" fmla="*/ 785 h 836"/>
                <a:gd name="T56" fmla="*/ 282 w 548"/>
                <a:gd name="T57" fmla="*/ 778 h 836"/>
                <a:gd name="T58" fmla="*/ 293 w 548"/>
                <a:gd name="T59" fmla="*/ 818 h 836"/>
                <a:gd name="T60" fmla="*/ 330 w 548"/>
                <a:gd name="T61" fmla="*/ 814 h 836"/>
                <a:gd name="T62" fmla="*/ 337 w 548"/>
                <a:gd name="T63" fmla="*/ 774 h 836"/>
                <a:gd name="T64" fmla="*/ 422 w 548"/>
                <a:gd name="T65" fmla="*/ 821 h 836"/>
                <a:gd name="T66" fmla="*/ 436 w 548"/>
                <a:gd name="T67" fmla="*/ 793 h 836"/>
                <a:gd name="T68" fmla="*/ 471 w 548"/>
                <a:gd name="T69" fmla="*/ 788 h 836"/>
                <a:gd name="T70" fmla="*/ 474 w 548"/>
                <a:gd name="T71" fmla="*/ 733 h 836"/>
                <a:gd name="T72" fmla="*/ 466 w 548"/>
                <a:gd name="T73" fmla="*/ 721 h 836"/>
                <a:gd name="T74" fmla="*/ 455 w 548"/>
                <a:gd name="T75" fmla="*/ 719 h 836"/>
                <a:gd name="T76" fmla="*/ 455 w 548"/>
                <a:gd name="T77" fmla="*/ 699 h 836"/>
                <a:gd name="T78" fmla="*/ 463 w 548"/>
                <a:gd name="T79" fmla="*/ 679 h 836"/>
                <a:gd name="T80" fmla="*/ 449 w 548"/>
                <a:gd name="T81" fmla="*/ 656 h 836"/>
                <a:gd name="T82" fmla="*/ 457 w 548"/>
                <a:gd name="T83" fmla="*/ 605 h 836"/>
                <a:gd name="T84" fmla="*/ 491 w 548"/>
                <a:gd name="T85" fmla="*/ 565 h 836"/>
                <a:gd name="T86" fmla="*/ 491 w 548"/>
                <a:gd name="T87" fmla="*/ 509 h 836"/>
                <a:gd name="T88" fmla="*/ 477 w 548"/>
                <a:gd name="T89" fmla="*/ 444 h 836"/>
                <a:gd name="T90" fmla="*/ 503 w 548"/>
                <a:gd name="T91" fmla="*/ 438 h 836"/>
                <a:gd name="T92" fmla="*/ 508 w 548"/>
                <a:gd name="T93" fmla="*/ 410 h 836"/>
                <a:gd name="T94" fmla="*/ 534 w 548"/>
                <a:gd name="T95" fmla="*/ 362 h 836"/>
                <a:gd name="T96" fmla="*/ 548 w 548"/>
                <a:gd name="T97" fmla="*/ 325 h 836"/>
                <a:gd name="T98" fmla="*/ 526 w 548"/>
                <a:gd name="T99" fmla="*/ 268 h 836"/>
                <a:gd name="T100" fmla="*/ 511 w 548"/>
                <a:gd name="T101" fmla="*/ 223 h 836"/>
                <a:gd name="T102" fmla="*/ 491 w 548"/>
                <a:gd name="T103" fmla="*/ 144 h 836"/>
                <a:gd name="T104" fmla="*/ 491 w 548"/>
                <a:gd name="T105" fmla="*/ 38 h 836"/>
                <a:gd name="T106" fmla="*/ 477 w 548"/>
                <a:gd name="T107" fmla="*/ 33 h 836"/>
                <a:gd name="T108" fmla="*/ 461 w 548"/>
                <a:gd name="T109" fmla="*/ 0 h 8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48"/>
                <a:gd name="T166" fmla="*/ 0 h 836"/>
                <a:gd name="T167" fmla="*/ 548 w 548"/>
                <a:gd name="T168" fmla="*/ 836 h 8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48" h="836">
                  <a:moveTo>
                    <a:pt x="461" y="0"/>
                  </a:moveTo>
                  <a:lnTo>
                    <a:pt x="401" y="36"/>
                  </a:lnTo>
                  <a:lnTo>
                    <a:pt x="389" y="87"/>
                  </a:lnTo>
                  <a:lnTo>
                    <a:pt x="344" y="95"/>
                  </a:lnTo>
                  <a:lnTo>
                    <a:pt x="320" y="102"/>
                  </a:lnTo>
                  <a:lnTo>
                    <a:pt x="321" y="103"/>
                  </a:lnTo>
                  <a:lnTo>
                    <a:pt x="306" y="166"/>
                  </a:lnTo>
                  <a:lnTo>
                    <a:pt x="269" y="181"/>
                  </a:lnTo>
                  <a:lnTo>
                    <a:pt x="253" y="208"/>
                  </a:lnTo>
                  <a:lnTo>
                    <a:pt x="264" y="241"/>
                  </a:lnTo>
                  <a:lnTo>
                    <a:pt x="271" y="260"/>
                  </a:lnTo>
                  <a:lnTo>
                    <a:pt x="233" y="260"/>
                  </a:lnTo>
                  <a:lnTo>
                    <a:pt x="230" y="309"/>
                  </a:lnTo>
                  <a:lnTo>
                    <a:pt x="188" y="312"/>
                  </a:lnTo>
                  <a:lnTo>
                    <a:pt x="167" y="377"/>
                  </a:lnTo>
                  <a:lnTo>
                    <a:pt x="105" y="377"/>
                  </a:lnTo>
                  <a:lnTo>
                    <a:pt x="37" y="426"/>
                  </a:lnTo>
                  <a:lnTo>
                    <a:pt x="0" y="486"/>
                  </a:lnTo>
                  <a:lnTo>
                    <a:pt x="6" y="494"/>
                  </a:lnTo>
                  <a:lnTo>
                    <a:pt x="24" y="590"/>
                  </a:lnTo>
                  <a:lnTo>
                    <a:pt x="68" y="638"/>
                  </a:lnTo>
                  <a:lnTo>
                    <a:pt x="61" y="693"/>
                  </a:lnTo>
                  <a:lnTo>
                    <a:pt x="116" y="726"/>
                  </a:lnTo>
                  <a:lnTo>
                    <a:pt x="116" y="800"/>
                  </a:lnTo>
                  <a:lnTo>
                    <a:pt x="146" y="785"/>
                  </a:lnTo>
                  <a:lnTo>
                    <a:pt x="208" y="825"/>
                  </a:lnTo>
                  <a:lnTo>
                    <a:pt x="238" y="836"/>
                  </a:lnTo>
                  <a:lnTo>
                    <a:pt x="245" y="785"/>
                  </a:lnTo>
                  <a:lnTo>
                    <a:pt x="282" y="778"/>
                  </a:lnTo>
                  <a:lnTo>
                    <a:pt x="293" y="818"/>
                  </a:lnTo>
                  <a:lnTo>
                    <a:pt x="330" y="814"/>
                  </a:lnTo>
                  <a:lnTo>
                    <a:pt x="337" y="774"/>
                  </a:lnTo>
                  <a:lnTo>
                    <a:pt x="422" y="821"/>
                  </a:lnTo>
                  <a:lnTo>
                    <a:pt x="436" y="793"/>
                  </a:lnTo>
                  <a:lnTo>
                    <a:pt x="471" y="788"/>
                  </a:lnTo>
                  <a:lnTo>
                    <a:pt x="474" y="733"/>
                  </a:lnTo>
                  <a:lnTo>
                    <a:pt x="466" y="721"/>
                  </a:lnTo>
                  <a:lnTo>
                    <a:pt x="455" y="719"/>
                  </a:lnTo>
                  <a:lnTo>
                    <a:pt x="455" y="699"/>
                  </a:lnTo>
                  <a:lnTo>
                    <a:pt x="463" y="679"/>
                  </a:lnTo>
                  <a:lnTo>
                    <a:pt x="449" y="656"/>
                  </a:lnTo>
                  <a:lnTo>
                    <a:pt x="457" y="605"/>
                  </a:lnTo>
                  <a:lnTo>
                    <a:pt x="491" y="565"/>
                  </a:lnTo>
                  <a:lnTo>
                    <a:pt x="491" y="509"/>
                  </a:lnTo>
                  <a:lnTo>
                    <a:pt x="477" y="444"/>
                  </a:lnTo>
                  <a:lnTo>
                    <a:pt x="503" y="438"/>
                  </a:lnTo>
                  <a:lnTo>
                    <a:pt x="508" y="410"/>
                  </a:lnTo>
                  <a:lnTo>
                    <a:pt x="534" y="362"/>
                  </a:lnTo>
                  <a:lnTo>
                    <a:pt x="548" y="325"/>
                  </a:lnTo>
                  <a:lnTo>
                    <a:pt x="526" y="268"/>
                  </a:lnTo>
                  <a:lnTo>
                    <a:pt x="511" y="223"/>
                  </a:lnTo>
                  <a:lnTo>
                    <a:pt x="491" y="144"/>
                  </a:lnTo>
                  <a:lnTo>
                    <a:pt x="491" y="38"/>
                  </a:lnTo>
                  <a:lnTo>
                    <a:pt x="477" y="33"/>
                  </a:lnTo>
                  <a:lnTo>
                    <a:pt x="461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07</a:t>
              </a:r>
            </a:p>
          </p:txBody>
        </p:sp>
        <p:sp>
          <p:nvSpPr>
            <p:cNvPr id="46" name="FR-26">
              <a:extLst>
                <a:ext uri="{FF2B5EF4-FFF2-40B4-BE49-F238E27FC236}">
                  <a16:creationId xmlns:a16="http://schemas.microsoft.com/office/drawing/2014/main" id="{2A6226E7-A4B2-410A-9DD7-E7B649F8F22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131945" y="5239301"/>
              <a:ext cx="284573" cy="404895"/>
            </a:xfrm>
            <a:custGeom>
              <a:avLst/>
              <a:gdLst>
                <a:gd name="T0" fmla="*/ 105 w 616"/>
                <a:gd name="T1" fmla="*/ 26 h 919"/>
                <a:gd name="T2" fmla="*/ 42 w 616"/>
                <a:gd name="T3" fmla="*/ 28 h 919"/>
                <a:gd name="T4" fmla="*/ 62 w 616"/>
                <a:gd name="T5" fmla="*/ 213 h 919"/>
                <a:gd name="T6" fmla="*/ 99 w 616"/>
                <a:gd name="T7" fmla="*/ 315 h 919"/>
                <a:gd name="T8" fmla="*/ 59 w 616"/>
                <a:gd name="T9" fmla="*/ 400 h 919"/>
                <a:gd name="T10" fmla="*/ 28 w 616"/>
                <a:gd name="T11" fmla="*/ 434 h 919"/>
                <a:gd name="T12" fmla="*/ 42 w 616"/>
                <a:gd name="T13" fmla="*/ 555 h 919"/>
                <a:gd name="T14" fmla="*/ 0 w 616"/>
                <a:gd name="T15" fmla="*/ 646 h 919"/>
                <a:gd name="T16" fmla="*/ 6 w 616"/>
                <a:gd name="T17" fmla="*/ 689 h 919"/>
                <a:gd name="T18" fmla="*/ 17 w 616"/>
                <a:gd name="T19" fmla="*/ 711 h 919"/>
                <a:gd name="T20" fmla="*/ 22 w 616"/>
                <a:gd name="T21" fmla="*/ 778 h 919"/>
                <a:gd name="T22" fmla="*/ 72 w 616"/>
                <a:gd name="T23" fmla="*/ 791 h 919"/>
                <a:gd name="T24" fmla="*/ 75 w 616"/>
                <a:gd name="T25" fmla="*/ 856 h 919"/>
                <a:gd name="T26" fmla="*/ 148 w 616"/>
                <a:gd name="T27" fmla="*/ 815 h 919"/>
                <a:gd name="T28" fmla="*/ 112 w 616"/>
                <a:gd name="T29" fmla="*/ 788 h 919"/>
                <a:gd name="T30" fmla="*/ 132 w 616"/>
                <a:gd name="T31" fmla="*/ 698 h 919"/>
                <a:gd name="T32" fmla="*/ 205 w 616"/>
                <a:gd name="T33" fmla="*/ 729 h 919"/>
                <a:gd name="T34" fmla="*/ 179 w 616"/>
                <a:gd name="T35" fmla="*/ 796 h 919"/>
                <a:gd name="T36" fmla="*/ 265 w 616"/>
                <a:gd name="T37" fmla="*/ 773 h 919"/>
                <a:gd name="T38" fmla="*/ 252 w 616"/>
                <a:gd name="T39" fmla="*/ 843 h 919"/>
                <a:gd name="T40" fmla="*/ 380 w 616"/>
                <a:gd name="T41" fmla="*/ 854 h 919"/>
                <a:gd name="T42" fmla="*/ 429 w 616"/>
                <a:gd name="T43" fmla="*/ 916 h 919"/>
                <a:gd name="T44" fmla="*/ 487 w 616"/>
                <a:gd name="T45" fmla="*/ 898 h 919"/>
                <a:gd name="T46" fmla="*/ 521 w 616"/>
                <a:gd name="T47" fmla="*/ 877 h 919"/>
                <a:gd name="T48" fmla="*/ 547 w 616"/>
                <a:gd name="T49" fmla="*/ 799 h 919"/>
                <a:gd name="T50" fmla="*/ 505 w 616"/>
                <a:gd name="T51" fmla="*/ 760 h 919"/>
                <a:gd name="T52" fmla="*/ 406 w 616"/>
                <a:gd name="T53" fmla="*/ 692 h 919"/>
                <a:gd name="T54" fmla="*/ 411 w 616"/>
                <a:gd name="T55" fmla="*/ 653 h 919"/>
                <a:gd name="T56" fmla="*/ 458 w 616"/>
                <a:gd name="T57" fmla="*/ 632 h 919"/>
                <a:gd name="T58" fmla="*/ 523 w 616"/>
                <a:gd name="T59" fmla="*/ 617 h 919"/>
                <a:gd name="T60" fmla="*/ 497 w 616"/>
                <a:gd name="T61" fmla="*/ 562 h 919"/>
                <a:gd name="T62" fmla="*/ 567 w 616"/>
                <a:gd name="T63" fmla="*/ 507 h 919"/>
                <a:gd name="T64" fmla="*/ 616 w 616"/>
                <a:gd name="T65" fmla="*/ 479 h 919"/>
                <a:gd name="T66" fmla="*/ 552 w 616"/>
                <a:gd name="T67" fmla="*/ 459 h 919"/>
                <a:gd name="T68" fmla="*/ 501 w 616"/>
                <a:gd name="T69" fmla="*/ 437 h 919"/>
                <a:gd name="T70" fmla="*/ 430 w 616"/>
                <a:gd name="T71" fmla="*/ 417 h 919"/>
                <a:gd name="T72" fmla="*/ 414 w 616"/>
                <a:gd name="T73" fmla="*/ 190 h 919"/>
                <a:gd name="T74" fmla="*/ 394 w 616"/>
                <a:gd name="T75" fmla="*/ 210 h 919"/>
                <a:gd name="T76" fmla="*/ 309 w 616"/>
                <a:gd name="T77" fmla="*/ 210 h 919"/>
                <a:gd name="T78" fmla="*/ 244 w 616"/>
                <a:gd name="T79" fmla="*/ 202 h 919"/>
                <a:gd name="T80" fmla="*/ 252 w 616"/>
                <a:gd name="T81" fmla="*/ 148 h 919"/>
                <a:gd name="T82" fmla="*/ 258 w 616"/>
                <a:gd name="T83" fmla="*/ 80 h 919"/>
                <a:gd name="T84" fmla="*/ 190 w 616"/>
                <a:gd name="T85" fmla="*/ 40 h 91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6"/>
                <a:gd name="T130" fmla="*/ 0 h 919"/>
                <a:gd name="T131" fmla="*/ 616 w 616"/>
                <a:gd name="T132" fmla="*/ 919 h 919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6" h="919">
                  <a:moveTo>
                    <a:pt x="142" y="0"/>
                  </a:moveTo>
                  <a:lnTo>
                    <a:pt x="105" y="26"/>
                  </a:lnTo>
                  <a:lnTo>
                    <a:pt x="74" y="37"/>
                  </a:lnTo>
                  <a:lnTo>
                    <a:pt x="42" y="28"/>
                  </a:lnTo>
                  <a:lnTo>
                    <a:pt x="42" y="134"/>
                  </a:lnTo>
                  <a:lnTo>
                    <a:pt x="62" y="213"/>
                  </a:lnTo>
                  <a:lnTo>
                    <a:pt x="77" y="258"/>
                  </a:lnTo>
                  <a:lnTo>
                    <a:pt x="99" y="315"/>
                  </a:lnTo>
                  <a:lnTo>
                    <a:pt x="85" y="352"/>
                  </a:lnTo>
                  <a:lnTo>
                    <a:pt x="59" y="400"/>
                  </a:lnTo>
                  <a:lnTo>
                    <a:pt x="54" y="428"/>
                  </a:lnTo>
                  <a:lnTo>
                    <a:pt x="28" y="434"/>
                  </a:lnTo>
                  <a:lnTo>
                    <a:pt x="42" y="499"/>
                  </a:lnTo>
                  <a:lnTo>
                    <a:pt x="42" y="555"/>
                  </a:lnTo>
                  <a:lnTo>
                    <a:pt x="8" y="595"/>
                  </a:lnTo>
                  <a:lnTo>
                    <a:pt x="0" y="646"/>
                  </a:lnTo>
                  <a:lnTo>
                    <a:pt x="14" y="669"/>
                  </a:lnTo>
                  <a:lnTo>
                    <a:pt x="6" y="689"/>
                  </a:lnTo>
                  <a:lnTo>
                    <a:pt x="6" y="709"/>
                  </a:lnTo>
                  <a:lnTo>
                    <a:pt x="17" y="711"/>
                  </a:lnTo>
                  <a:lnTo>
                    <a:pt x="25" y="723"/>
                  </a:lnTo>
                  <a:lnTo>
                    <a:pt x="22" y="778"/>
                  </a:lnTo>
                  <a:lnTo>
                    <a:pt x="57" y="773"/>
                  </a:lnTo>
                  <a:lnTo>
                    <a:pt x="72" y="791"/>
                  </a:lnTo>
                  <a:lnTo>
                    <a:pt x="65" y="843"/>
                  </a:lnTo>
                  <a:lnTo>
                    <a:pt x="75" y="856"/>
                  </a:lnTo>
                  <a:lnTo>
                    <a:pt x="114" y="817"/>
                  </a:lnTo>
                  <a:lnTo>
                    <a:pt x="148" y="815"/>
                  </a:lnTo>
                  <a:lnTo>
                    <a:pt x="156" y="794"/>
                  </a:lnTo>
                  <a:lnTo>
                    <a:pt x="112" y="788"/>
                  </a:lnTo>
                  <a:lnTo>
                    <a:pt x="104" y="742"/>
                  </a:lnTo>
                  <a:lnTo>
                    <a:pt x="132" y="698"/>
                  </a:lnTo>
                  <a:lnTo>
                    <a:pt x="169" y="695"/>
                  </a:lnTo>
                  <a:lnTo>
                    <a:pt x="205" y="729"/>
                  </a:lnTo>
                  <a:lnTo>
                    <a:pt x="169" y="778"/>
                  </a:lnTo>
                  <a:lnTo>
                    <a:pt x="179" y="796"/>
                  </a:lnTo>
                  <a:lnTo>
                    <a:pt x="232" y="802"/>
                  </a:lnTo>
                  <a:lnTo>
                    <a:pt x="265" y="773"/>
                  </a:lnTo>
                  <a:lnTo>
                    <a:pt x="247" y="812"/>
                  </a:lnTo>
                  <a:lnTo>
                    <a:pt x="252" y="843"/>
                  </a:lnTo>
                  <a:lnTo>
                    <a:pt x="307" y="848"/>
                  </a:lnTo>
                  <a:lnTo>
                    <a:pt x="380" y="854"/>
                  </a:lnTo>
                  <a:lnTo>
                    <a:pt x="390" y="888"/>
                  </a:lnTo>
                  <a:lnTo>
                    <a:pt x="429" y="916"/>
                  </a:lnTo>
                  <a:lnTo>
                    <a:pt x="463" y="919"/>
                  </a:lnTo>
                  <a:lnTo>
                    <a:pt x="487" y="898"/>
                  </a:lnTo>
                  <a:lnTo>
                    <a:pt x="500" y="859"/>
                  </a:lnTo>
                  <a:lnTo>
                    <a:pt x="521" y="877"/>
                  </a:lnTo>
                  <a:lnTo>
                    <a:pt x="536" y="895"/>
                  </a:lnTo>
                  <a:lnTo>
                    <a:pt x="547" y="799"/>
                  </a:lnTo>
                  <a:lnTo>
                    <a:pt x="521" y="794"/>
                  </a:lnTo>
                  <a:lnTo>
                    <a:pt x="505" y="760"/>
                  </a:lnTo>
                  <a:lnTo>
                    <a:pt x="417" y="736"/>
                  </a:lnTo>
                  <a:lnTo>
                    <a:pt x="406" y="692"/>
                  </a:lnTo>
                  <a:lnTo>
                    <a:pt x="437" y="671"/>
                  </a:lnTo>
                  <a:lnTo>
                    <a:pt x="411" y="653"/>
                  </a:lnTo>
                  <a:lnTo>
                    <a:pt x="417" y="630"/>
                  </a:lnTo>
                  <a:lnTo>
                    <a:pt x="458" y="632"/>
                  </a:lnTo>
                  <a:lnTo>
                    <a:pt x="494" y="650"/>
                  </a:lnTo>
                  <a:lnTo>
                    <a:pt x="523" y="617"/>
                  </a:lnTo>
                  <a:lnTo>
                    <a:pt x="494" y="593"/>
                  </a:lnTo>
                  <a:lnTo>
                    <a:pt x="497" y="562"/>
                  </a:lnTo>
                  <a:lnTo>
                    <a:pt x="513" y="513"/>
                  </a:lnTo>
                  <a:lnTo>
                    <a:pt x="567" y="507"/>
                  </a:lnTo>
                  <a:lnTo>
                    <a:pt x="612" y="489"/>
                  </a:lnTo>
                  <a:lnTo>
                    <a:pt x="616" y="479"/>
                  </a:lnTo>
                  <a:lnTo>
                    <a:pt x="569" y="473"/>
                  </a:lnTo>
                  <a:lnTo>
                    <a:pt x="552" y="459"/>
                  </a:lnTo>
                  <a:lnTo>
                    <a:pt x="527" y="457"/>
                  </a:lnTo>
                  <a:lnTo>
                    <a:pt x="501" y="437"/>
                  </a:lnTo>
                  <a:lnTo>
                    <a:pt x="467" y="417"/>
                  </a:lnTo>
                  <a:lnTo>
                    <a:pt x="430" y="417"/>
                  </a:lnTo>
                  <a:lnTo>
                    <a:pt x="416" y="403"/>
                  </a:lnTo>
                  <a:lnTo>
                    <a:pt x="414" y="190"/>
                  </a:lnTo>
                  <a:lnTo>
                    <a:pt x="405" y="190"/>
                  </a:lnTo>
                  <a:lnTo>
                    <a:pt x="394" y="210"/>
                  </a:lnTo>
                  <a:lnTo>
                    <a:pt x="368" y="227"/>
                  </a:lnTo>
                  <a:lnTo>
                    <a:pt x="309" y="210"/>
                  </a:lnTo>
                  <a:lnTo>
                    <a:pt x="263" y="196"/>
                  </a:lnTo>
                  <a:lnTo>
                    <a:pt x="244" y="202"/>
                  </a:lnTo>
                  <a:lnTo>
                    <a:pt x="238" y="188"/>
                  </a:lnTo>
                  <a:lnTo>
                    <a:pt x="252" y="148"/>
                  </a:lnTo>
                  <a:lnTo>
                    <a:pt x="246" y="108"/>
                  </a:lnTo>
                  <a:lnTo>
                    <a:pt x="258" y="80"/>
                  </a:lnTo>
                  <a:lnTo>
                    <a:pt x="229" y="40"/>
                  </a:lnTo>
                  <a:lnTo>
                    <a:pt x="190" y="40"/>
                  </a:lnTo>
                  <a:lnTo>
                    <a:pt x="142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26</a:t>
              </a:r>
            </a:p>
          </p:txBody>
        </p:sp>
        <p:sp>
          <p:nvSpPr>
            <p:cNvPr id="47" name="FR-17">
              <a:extLst>
                <a:ext uri="{FF2B5EF4-FFF2-40B4-BE49-F238E27FC236}">
                  <a16:creationId xmlns:a16="http://schemas.microsoft.com/office/drawing/2014/main" id="{BC5190D4-8B00-4888-87C5-3CD3323C080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590354" y="4894766"/>
              <a:ext cx="380663" cy="429127"/>
            </a:xfrm>
            <a:custGeom>
              <a:avLst/>
              <a:gdLst>
                <a:gd name="T0" fmla="*/ 300 w 824"/>
                <a:gd name="T1" fmla="*/ 3 h 974"/>
                <a:gd name="T2" fmla="*/ 240 w 824"/>
                <a:gd name="T3" fmla="*/ 69 h 974"/>
                <a:gd name="T4" fmla="*/ 193 w 824"/>
                <a:gd name="T5" fmla="*/ 129 h 974"/>
                <a:gd name="T6" fmla="*/ 133 w 824"/>
                <a:gd name="T7" fmla="*/ 110 h 974"/>
                <a:gd name="T8" fmla="*/ 76 w 824"/>
                <a:gd name="T9" fmla="*/ 79 h 974"/>
                <a:gd name="T10" fmla="*/ 0 w 824"/>
                <a:gd name="T11" fmla="*/ 74 h 974"/>
                <a:gd name="T12" fmla="*/ 65 w 824"/>
                <a:gd name="T13" fmla="*/ 116 h 974"/>
                <a:gd name="T14" fmla="*/ 131 w 824"/>
                <a:gd name="T15" fmla="*/ 162 h 974"/>
                <a:gd name="T16" fmla="*/ 196 w 824"/>
                <a:gd name="T17" fmla="*/ 183 h 974"/>
                <a:gd name="T18" fmla="*/ 245 w 824"/>
                <a:gd name="T19" fmla="*/ 227 h 974"/>
                <a:gd name="T20" fmla="*/ 266 w 824"/>
                <a:gd name="T21" fmla="*/ 267 h 974"/>
                <a:gd name="T22" fmla="*/ 224 w 824"/>
                <a:gd name="T23" fmla="*/ 277 h 974"/>
                <a:gd name="T24" fmla="*/ 235 w 824"/>
                <a:gd name="T25" fmla="*/ 368 h 974"/>
                <a:gd name="T26" fmla="*/ 206 w 824"/>
                <a:gd name="T27" fmla="*/ 402 h 974"/>
                <a:gd name="T28" fmla="*/ 177 w 824"/>
                <a:gd name="T29" fmla="*/ 415 h 974"/>
                <a:gd name="T30" fmla="*/ 196 w 824"/>
                <a:gd name="T31" fmla="*/ 363 h 974"/>
                <a:gd name="T32" fmla="*/ 175 w 824"/>
                <a:gd name="T33" fmla="*/ 335 h 974"/>
                <a:gd name="T34" fmla="*/ 125 w 824"/>
                <a:gd name="T35" fmla="*/ 267 h 974"/>
                <a:gd name="T36" fmla="*/ 84 w 824"/>
                <a:gd name="T37" fmla="*/ 314 h 974"/>
                <a:gd name="T38" fmla="*/ 149 w 824"/>
                <a:gd name="T39" fmla="*/ 407 h 974"/>
                <a:gd name="T40" fmla="*/ 164 w 824"/>
                <a:gd name="T41" fmla="*/ 522 h 974"/>
                <a:gd name="T42" fmla="*/ 250 w 824"/>
                <a:gd name="T43" fmla="*/ 564 h 974"/>
                <a:gd name="T44" fmla="*/ 289 w 824"/>
                <a:gd name="T45" fmla="*/ 610 h 974"/>
                <a:gd name="T46" fmla="*/ 401 w 824"/>
                <a:gd name="T47" fmla="*/ 699 h 974"/>
                <a:gd name="T48" fmla="*/ 498 w 824"/>
                <a:gd name="T49" fmla="*/ 789 h 974"/>
                <a:gd name="T50" fmla="*/ 514 w 824"/>
                <a:gd name="T51" fmla="*/ 815 h 974"/>
                <a:gd name="T52" fmla="*/ 592 w 824"/>
                <a:gd name="T53" fmla="*/ 907 h 974"/>
                <a:gd name="T54" fmla="*/ 688 w 824"/>
                <a:gd name="T55" fmla="*/ 969 h 974"/>
                <a:gd name="T56" fmla="*/ 756 w 824"/>
                <a:gd name="T57" fmla="*/ 956 h 974"/>
                <a:gd name="T58" fmla="*/ 803 w 824"/>
                <a:gd name="T59" fmla="*/ 930 h 974"/>
                <a:gd name="T60" fmla="*/ 768 w 824"/>
                <a:gd name="T61" fmla="*/ 856 h 974"/>
                <a:gd name="T62" fmla="*/ 728 w 824"/>
                <a:gd name="T63" fmla="*/ 808 h 974"/>
                <a:gd name="T64" fmla="*/ 657 w 824"/>
                <a:gd name="T65" fmla="*/ 808 h 974"/>
                <a:gd name="T66" fmla="*/ 683 w 824"/>
                <a:gd name="T67" fmla="*/ 782 h 974"/>
                <a:gd name="T68" fmla="*/ 663 w 824"/>
                <a:gd name="T69" fmla="*/ 771 h 974"/>
                <a:gd name="T70" fmla="*/ 683 w 824"/>
                <a:gd name="T71" fmla="*/ 732 h 974"/>
                <a:gd name="T72" fmla="*/ 666 w 824"/>
                <a:gd name="T73" fmla="*/ 695 h 974"/>
                <a:gd name="T74" fmla="*/ 683 w 824"/>
                <a:gd name="T75" fmla="*/ 655 h 974"/>
                <a:gd name="T76" fmla="*/ 646 w 824"/>
                <a:gd name="T77" fmla="*/ 607 h 974"/>
                <a:gd name="T78" fmla="*/ 592 w 824"/>
                <a:gd name="T79" fmla="*/ 565 h 974"/>
                <a:gd name="T80" fmla="*/ 601 w 824"/>
                <a:gd name="T81" fmla="*/ 539 h 974"/>
                <a:gd name="T82" fmla="*/ 575 w 824"/>
                <a:gd name="T83" fmla="*/ 471 h 974"/>
                <a:gd name="T84" fmla="*/ 644 w 824"/>
                <a:gd name="T85" fmla="*/ 454 h 974"/>
                <a:gd name="T86" fmla="*/ 691 w 824"/>
                <a:gd name="T87" fmla="*/ 440 h 974"/>
                <a:gd name="T88" fmla="*/ 726 w 824"/>
                <a:gd name="T89" fmla="*/ 457 h 974"/>
                <a:gd name="T90" fmla="*/ 751 w 824"/>
                <a:gd name="T91" fmla="*/ 395 h 974"/>
                <a:gd name="T92" fmla="*/ 774 w 824"/>
                <a:gd name="T93" fmla="*/ 312 h 974"/>
                <a:gd name="T94" fmla="*/ 748 w 824"/>
                <a:gd name="T95" fmla="*/ 264 h 974"/>
                <a:gd name="T96" fmla="*/ 663 w 824"/>
                <a:gd name="T97" fmla="*/ 213 h 974"/>
                <a:gd name="T98" fmla="*/ 567 w 824"/>
                <a:gd name="T99" fmla="*/ 171 h 974"/>
                <a:gd name="T100" fmla="*/ 471 w 824"/>
                <a:gd name="T101" fmla="*/ 137 h 974"/>
                <a:gd name="T102" fmla="*/ 442 w 824"/>
                <a:gd name="T103" fmla="*/ 89 h 974"/>
                <a:gd name="T104" fmla="*/ 402 w 824"/>
                <a:gd name="T105" fmla="*/ 21 h 974"/>
                <a:gd name="T106" fmla="*/ 337 w 824"/>
                <a:gd name="T107" fmla="*/ 0 h 97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24"/>
                <a:gd name="T163" fmla="*/ 0 h 974"/>
                <a:gd name="T164" fmla="*/ 824 w 824"/>
                <a:gd name="T165" fmla="*/ 974 h 97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24" h="974">
                  <a:moveTo>
                    <a:pt x="337" y="0"/>
                  </a:moveTo>
                  <a:lnTo>
                    <a:pt x="300" y="3"/>
                  </a:lnTo>
                  <a:lnTo>
                    <a:pt x="221" y="51"/>
                  </a:lnTo>
                  <a:lnTo>
                    <a:pt x="240" y="69"/>
                  </a:lnTo>
                  <a:lnTo>
                    <a:pt x="198" y="102"/>
                  </a:lnTo>
                  <a:lnTo>
                    <a:pt x="193" y="129"/>
                  </a:lnTo>
                  <a:lnTo>
                    <a:pt x="154" y="134"/>
                  </a:lnTo>
                  <a:lnTo>
                    <a:pt x="133" y="110"/>
                  </a:lnTo>
                  <a:lnTo>
                    <a:pt x="81" y="105"/>
                  </a:lnTo>
                  <a:lnTo>
                    <a:pt x="76" y="79"/>
                  </a:lnTo>
                  <a:lnTo>
                    <a:pt x="44" y="58"/>
                  </a:lnTo>
                  <a:lnTo>
                    <a:pt x="0" y="74"/>
                  </a:lnTo>
                  <a:lnTo>
                    <a:pt x="29" y="116"/>
                  </a:lnTo>
                  <a:lnTo>
                    <a:pt x="65" y="116"/>
                  </a:lnTo>
                  <a:lnTo>
                    <a:pt x="102" y="139"/>
                  </a:lnTo>
                  <a:lnTo>
                    <a:pt x="131" y="162"/>
                  </a:lnTo>
                  <a:lnTo>
                    <a:pt x="185" y="160"/>
                  </a:lnTo>
                  <a:lnTo>
                    <a:pt x="196" y="183"/>
                  </a:lnTo>
                  <a:lnTo>
                    <a:pt x="232" y="191"/>
                  </a:lnTo>
                  <a:lnTo>
                    <a:pt x="245" y="227"/>
                  </a:lnTo>
                  <a:lnTo>
                    <a:pt x="269" y="238"/>
                  </a:lnTo>
                  <a:lnTo>
                    <a:pt x="266" y="267"/>
                  </a:lnTo>
                  <a:lnTo>
                    <a:pt x="235" y="262"/>
                  </a:lnTo>
                  <a:lnTo>
                    <a:pt x="224" y="277"/>
                  </a:lnTo>
                  <a:lnTo>
                    <a:pt x="248" y="311"/>
                  </a:lnTo>
                  <a:lnTo>
                    <a:pt x="235" y="368"/>
                  </a:lnTo>
                  <a:lnTo>
                    <a:pt x="204" y="366"/>
                  </a:lnTo>
                  <a:lnTo>
                    <a:pt x="206" y="402"/>
                  </a:lnTo>
                  <a:lnTo>
                    <a:pt x="214" y="415"/>
                  </a:lnTo>
                  <a:lnTo>
                    <a:pt x="177" y="415"/>
                  </a:lnTo>
                  <a:lnTo>
                    <a:pt x="172" y="394"/>
                  </a:lnTo>
                  <a:lnTo>
                    <a:pt x="196" y="363"/>
                  </a:lnTo>
                  <a:lnTo>
                    <a:pt x="188" y="345"/>
                  </a:lnTo>
                  <a:lnTo>
                    <a:pt x="175" y="335"/>
                  </a:lnTo>
                  <a:lnTo>
                    <a:pt x="169" y="272"/>
                  </a:lnTo>
                  <a:lnTo>
                    <a:pt x="125" y="267"/>
                  </a:lnTo>
                  <a:lnTo>
                    <a:pt x="89" y="222"/>
                  </a:lnTo>
                  <a:lnTo>
                    <a:pt x="84" y="314"/>
                  </a:lnTo>
                  <a:lnTo>
                    <a:pt x="144" y="358"/>
                  </a:lnTo>
                  <a:lnTo>
                    <a:pt x="149" y="407"/>
                  </a:lnTo>
                  <a:lnTo>
                    <a:pt x="159" y="465"/>
                  </a:lnTo>
                  <a:lnTo>
                    <a:pt x="164" y="522"/>
                  </a:lnTo>
                  <a:lnTo>
                    <a:pt x="196" y="519"/>
                  </a:lnTo>
                  <a:lnTo>
                    <a:pt x="250" y="564"/>
                  </a:lnTo>
                  <a:lnTo>
                    <a:pt x="287" y="585"/>
                  </a:lnTo>
                  <a:lnTo>
                    <a:pt x="289" y="610"/>
                  </a:lnTo>
                  <a:lnTo>
                    <a:pt x="318" y="616"/>
                  </a:lnTo>
                  <a:lnTo>
                    <a:pt x="401" y="699"/>
                  </a:lnTo>
                  <a:lnTo>
                    <a:pt x="421" y="789"/>
                  </a:lnTo>
                  <a:lnTo>
                    <a:pt x="498" y="789"/>
                  </a:lnTo>
                  <a:lnTo>
                    <a:pt x="511" y="776"/>
                  </a:lnTo>
                  <a:lnTo>
                    <a:pt x="514" y="815"/>
                  </a:lnTo>
                  <a:lnTo>
                    <a:pt x="581" y="823"/>
                  </a:lnTo>
                  <a:lnTo>
                    <a:pt x="592" y="907"/>
                  </a:lnTo>
                  <a:lnTo>
                    <a:pt x="629" y="909"/>
                  </a:lnTo>
                  <a:lnTo>
                    <a:pt x="688" y="969"/>
                  </a:lnTo>
                  <a:lnTo>
                    <a:pt x="719" y="974"/>
                  </a:lnTo>
                  <a:lnTo>
                    <a:pt x="756" y="956"/>
                  </a:lnTo>
                  <a:lnTo>
                    <a:pt x="782" y="974"/>
                  </a:lnTo>
                  <a:lnTo>
                    <a:pt x="803" y="930"/>
                  </a:lnTo>
                  <a:lnTo>
                    <a:pt x="824" y="894"/>
                  </a:lnTo>
                  <a:lnTo>
                    <a:pt x="768" y="856"/>
                  </a:lnTo>
                  <a:lnTo>
                    <a:pt x="751" y="833"/>
                  </a:lnTo>
                  <a:lnTo>
                    <a:pt x="728" y="808"/>
                  </a:lnTo>
                  <a:lnTo>
                    <a:pt x="674" y="817"/>
                  </a:lnTo>
                  <a:lnTo>
                    <a:pt x="657" y="808"/>
                  </a:lnTo>
                  <a:lnTo>
                    <a:pt x="655" y="794"/>
                  </a:lnTo>
                  <a:lnTo>
                    <a:pt x="683" y="782"/>
                  </a:lnTo>
                  <a:lnTo>
                    <a:pt x="683" y="777"/>
                  </a:lnTo>
                  <a:lnTo>
                    <a:pt x="663" y="771"/>
                  </a:lnTo>
                  <a:lnTo>
                    <a:pt x="649" y="760"/>
                  </a:lnTo>
                  <a:lnTo>
                    <a:pt x="683" y="732"/>
                  </a:lnTo>
                  <a:lnTo>
                    <a:pt x="683" y="712"/>
                  </a:lnTo>
                  <a:lnTo>
                    <a:pt x="666" y="695"/>
                  </a:lnTo>
                  <a:lnTo>
                    <a:pt x="677" y="683"/>
                  </a:lnTo>
                  <a:lnTo>
                    <a:pt x="683" y="655"/>
                  </a:lnTo>
                  <a:lnTo>
                    <a:pt x="663" y="635"/>
                  </a:lnTo>
                  <a:lnTo>
                    <a:pt x="646" y="607"/>
                  </a:lnTo>
                  <a:lnTo>
                    <a:pt x="615" y="579"/>
                  </a:lnTo>
                  <a:lnTo>
                    <a:pt x="592" y="565"/>
                  </a:lnTo>
                  <a:lnTo>
                    <a:pt x="612" y="542"/>
                  </a:lnTo>
                  <a:lnTo>
                    <a:pt x="601" y="539"/>
                  </a:lnTo>
                  <a:lnTo>
                    <a:pt x="598" y="480"/>
                  </a:lnTo>
                  <a:lnTo>
                    <a:pt x="575" y="471"/>
                  </a:lnTo>
                  <a:lnTo>
                    <a:pt x="606" y="454"/>
                  </a:lnTo>
                  <a:lnTo>
                    <a:pt x="644" y="454"/>
                  </a:lnTo>
                  <a:lnTo>
                    <a:pt x="660" y="440"/>
                  </a:lnTo>
                  <a:lnTo>
                    <a:pt x="691" y="440"/>
                  </a:lnTo>
                  <a:lnTo>
                    <a:pt x="697" y="454"/>
                  </a:lnTo>
                  <a:lnTo>
                    <a:pt x="726" y="457"/>
                  </a:lnTo>
                  <a:lnTo>
                    <a:pt x="745" y="448"/>
                  </a:lnTo>
                  <a:lnTo>
                    <a:pt x="751" y="395"/>
                  </a:lnTo>
                  <a:lnTo>
                    <a:pt x="774" y="312"/>
                  </a:lnTo>
                  <a:lnTo>
                    <a:pt x="754" y="292"/>
                  </a:lnTo>
                  <a:lnTo>
                    <a:pt x="748" y="264"/>
                  </a:lnTo>
                  <a:lnTo>
                    <a:pt x="711" y="247"/>
                  </a:lnTo>
                  <a:lnTo>
                    <a:pt x="663" y="213"/>
                  </a:lnTo>
                  <a:lnTo>
                    <a:pt x="604" y="219"/>
                  </a:lnTo>
                  <a:lnTo>
                    <a:pt x="567" y="171"/>
                  </a:lnTo>
                  <a:lnTo>
                    <a:pt x="513" y="168"/>
                  </a:lnTo>
                  <a:lnTo>
                    <a:pt x="471" y="137"/>
                  </a:lnTo>
                  <a:lnTo>
                    <a:pt x="471" y="120"/>
                  </a:lnTo>
                  <a:lnTo>
                    <a:pt x="442" y="89"/>
                  </a:lnTo>
                  <a:lnTo>
                    <a:pt x="441" y="50"/>
                  </a:lnTo>
                  <a:lnTo>
                    <a:pt x="402" y="21"/>
                  </a:lnTo>
                  <a:lnTo>
                    <a:pt x="352" y="42"/>
                  </a:lnTo>
                  <a:lnTo>
                    <a:pt x="337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17</a:t>
              </a:r>
            </a:p>
          </p:txBody>
        </p:sp>
        <p:sp>
          <p:nvSpPr>
            <p:cNvPr id="48" name="FR-19">
              <a:extLst>
                <a:ext uri="{FF2B5EF4-FFF2-40B4-BE49-F238E27FC236}">
                  <a16:creationId xmlns:a16="http://schemas.microsoft.com/office/drawing/2014/main" id="{895D361E-62E5-496A-AB42-D90D57227E1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271758" y="5112413"/>
              <a:ext cx="317373" cy="278448"/>
            </a:xfrm>
            <a:custGeom>
              <a:avLst/>
              <a:gdLst>
                <a:gd name="T0" fmla="*/ 403 w 687"/>
                <a:gd name="T1" fmla="*/ 28 h 632"/>
                <a:gd name="T2" fmla="*/ 344 w 687"/>
                <a:gd name="T3" fmla="*/ 65 h 632"/>
                <a:gd name="T4" fmla="*/ 296 w 687"/>
                <a:gd name="T5" fmla="*/ 56 h 632"/>
                <a:gd name="T6" fmla="*/ 245 w 687"/>
                <a:gd name="T7" fmla="*/ 93 h 632"/>
                <a:gd name="T8" fmla="*/ 199 w 687"/>
                <a:gd name="T9" fmla="*/ 130 h 632"/>
                <a:gd name="T10" fmla="*/ 129 w 687"/>
                <a:gd name="T11" fmla="*/ 144 h 632"/>
                <a:gd name="T12" fmla="*/ 92 w 687"/>
                <a:gd name="T13" fmla="*/ 170 h 632"/>
                <a:gd name="T14" fmla="*/ 26 w 687"/>
                <a:gd name="T15" fmla="*/ 201 h 632"/>
                <a:gd name="T16" fmla="*/ 23 w 687"/>
                <a:gd name="T17" fmla="*/ 259 h 632"/>
                <a:gd name="T18" fmla="*/ 0 w 687"/>
                <a:gd name="T19" fmla="*/ 329 h 632"/>
                <a:gd name="T20" fmla="*/ 21 w 687"/>
                <a:gd name="T21" fmla="*/ 376 h 632"/>
                <a:gd name="T22" fmla="*/ 29 w 687"/>
                <a:gd name="T23" fmla="*/ 426 h 632"/>
                <a:gd name="T24" fmla="*/ 31 w 687"/>
                <a:gd name="T25" fmla="*/ 467 h 632"/>
                <a:gd name="T26" fmla="*/ 86 w 687"/>
                <a:gd name="T27" fmla="*/ 522 h 632"/>
                <a:gd name="T28" fmla="*/ 115 w 687"/>
                <a:gd name="T29" fmla="*/ 555 h 632"/>
                <a:gd name="T30" fmla="*/ 237 w 687"/>
                <a:gd name="T31" fmla="*/ 558 h 632"/>
                <a:gd name="T32" fmla="*/ 318 w 687"/>
                <a:gd name="T33" fmla="*/ 628 h 632"/>
                <a:gd name="T34" fmla="*/ 376 w 687"/>
                <a:gd name="T35" fmla="*/ 610 h 632"/>
                <a:gd name="T36" fmla="*/ 446 w 687"/>
                <a:gd name="T37" fmla="*/ 591 h 632"/>
                <a:gd name="T38" fmla="*/ 481 w 687"/>
                <a:gd name="T39" fmla="*/ 576 h 632"/>
                <a:gd name="T40" fmla="*/ 455 w 687"/>
                <a:gd name="T41" fmla="*/ 535 h 632"/>
                <a:gd name="T42" fmla="*/ 497 w 687"/>
                <a:gd name="T43" fmla="*/ 509 h 632"/>
                <a:gd name="T44" fmla="*/ 521 w 687"/>
                <a:gd name="T45" fmla="*/ 446 h 632"/>
                <a:gd name="T46" fmla="*/ 546 w 687"/>
                <a:gd name="T47" fmla="*/ 353 h 632"/>
                <a:gd name="T48" fmla="*/ 596 w 687"/>
                <a:gd name="T49" fmla="*/ 251 h 632"/>
                <a:gd name="T50" fmla="*/ 646 w 687"/>
                <a:gd name="T51" fmla="*/ 293 h 632"/>
                <a:gd name="T52" fmla="*/ 687 w 687"/>
                <a:gd name="T53" fmla="*/ 274 h 632"/>
                <a:gd name="T54" fmla="*/ 687 w 687"/>
                <a:gd name="T55" fmla="*/ 196 h 632"/>
                <a:gd name="T56" fmla="*/ 664 w 687"/>
                <a:gd name="T57" fmla="*/ 134 h 632"/>
                <a:gd name="T58" fmla="*/ 687 w 687"/>
                <a:gd name="T59" fmla="*/ 58 h 632"/>
                <a:gd name="T60" fmla="*/ 676 w 687"/>
                <a:gd name="T61" fmla="*/ 16 h 632"/>
                <a:gd name="T62" fmla="*/ 599 w 687"/>
                <a:gd name="T63" fmla="*/ 36 h 632"/>
                <a:gd name="T64" fmla="*/ 551 w 687"/>
                <a:gd name="T65" fmla="*/ 62 h 632"/>
                <a:gd name="T66" fmla="*/ 514 w 687"/>
                <a:gd name="T67" fmla="*/ 19 h 632"/>
                <a:gd name="T68" fmla="*/ 434 w 687"/>
                <a:gd name="T69" fmla="*/ 0 h 63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687"/>
                <a:gd name="T106" fmla="*/ 0 h 632"/>
                <a:gd name="T107" fmla="*/ 687 w 687"/>
                <a:gd name="T108" fmla="*/ 632 h 63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687" h="632">
                  <a:moveTo>
                    <a:pt x="414" y="0"/>
                  </a:moveTo>
                  <a:lnTo>
                    <a:pt x="403" y="28"/>
                  </a:lnTo>
                  <a:lnTo>
                    <a:pt x="361" y="36"/>
                  </a:lnTo>
                  <a:lnTo>
                    <a:pt x="344" y="65"/>
                  </a:lnTo>
                  <a:lnTo>
                    <a:pt x="324" y="65"/>
                  </a:lnTo>
                  <a:lnTo>
                    <a:pt x="296" y="56"/>
                  </a:lnTo>
                  <a:lnTo>
                    <a:pt x="276" y="90"/>
                  </a:lnTo>
                  <a:lnTo>
                    <a:pt x="245" y="93"/>
                  </a:lnTo>
                  <a:lnTo>
                    <a:pt x="225" y="130"/>
                  </a:lnTo>
                  <a:lnTo>
                    <a:pt x="199" y="130"/>
                  </a:lnTo>
                  <a:lnTo>
                    <a:pt x="179" y="150"/>
                  </a:lnTo>
                  <a:lnTo>
                    <a:pt x="129" y="144"/>
                  </a:lnTo>
                  <a:lnTo>
                    <a:pt x="111" y="172"/>
                  </a:lnTo>
                  <a:lnTo>
                    <a:pt x="92" y="170"/>
                  </a:lnTo>
                  <a:lnTo>
                    <a:pt x="58" y="212"/>
                  </a:lnTo>
                  <a:lnTo>
                    <a:pt x="26" y="201"/>
                  </a:lnTo>
                  <a:lnTo>
                    <a:pt x="12" y="230"/>
                  </a:lnTo>
                  <a:lnTo>
                    <a:pt x="23" y="259"/>
                  </a:lnTo>
                  <a:lnTo>
                    <a:pt x="52" y="282"/>
                  </a:lnTo>
                  <a:lnTo>
                    <a:pt x="0" y="329"/>
                  </a:lnTo>
                  <a:lnTo>
                    <a:pt x="0" y="366"/>
                  </a:lnTo>
                  <a:lnTo>
                    <a:pt x="21" y="376"/>
                  </a:lnTo>
                  <a:lnTo>
                    <a:pt x="0" y="402"/>
                  </a:lnTo>
                  <a:lnTo>
                    <a:pt x="29" y="426"/>
                  </a:lnTo>
                  <a:lnTo>
                    <a:pt x="8" y="451"/>
                  </a:lnTo>
                  <a:lnTo>
                    <a:pt x="31" y="467"/>
                  </a:lnTo>
                  <a:lnTo>
                    <a:pt x="88" y="465"/>
                  </a:lnTo>
                  <a:lnTo>
                    <a:pt x="86" y="522"/>
                  </a:lnTo>
                  <a:lnTo>
                    <a:pt x="107" y="556"/>
                  </a:lnTo>
                  <a:lnTo>
                    <a:pt x="115" y="555"/>
                  </a:lnTo>
                  <a:lnTo>
                    <a:pt x="171" y="529"/>
                  </a:lnTo>
                  <a:lnTo>
                    <a:pt x="237" y="558"/>
                  </a:lnTo>
                  <a:lnTo>
                    <a:pt x="288" y="632"/>
                  </a:lnTo>
                  <a:lnTo>
                    <a:pt x="318" y="628"/>
                  </a:lnTo>
                  <a:lnTo>
                    <a:pt x="362" y="584"/>
                  </a:lnTo>
                  <a:lnTo>
                    <a:pt x="376" y="610"/>
                  </a:lnTo>
                  <a:lnTo>
                    <a:pt x="406" y="581"/>
                  </a:lnTo>
                  <a:lnTo>
                    <a:pt x="446" y="591"/>
                  </a:lnTo>
                  <a:lnTo>
                    <a:pt x="448" y="600"/>
                  </a:lnTo>
                  <a:lnTo>
                    <a:pt x="481" y="576"/>
                  </a:lnTo>
                  <a:lnTo>
                    <a:pt x="471" y="551"/>
                  </a:lnTo>
                  <a:lnTo>
                    <a:pt x="455" y="535"/>
                  </a:lnTo>
                  <a:lnTo>
                    <a:pt x="476" y="509"/>
                  </a:lnTo>
                  <a:lnTo>
                    <a:pt x="497" y="509"/>
                  </a:lnTo>
                  <a:lnTo>
                    <a:pt x="510" y="467"/>
                  </a:lnTo>
                  <a:lnTo>
                    <a:pt x="521" y="446"/>
                  </a:lnTo>
                  <a:lnTo>
                    <a:pt x="513" y="399"/>
                  </a:lnTo>
                  <a:lnTo>
                    <a:pt x="546" y="353"/>
                  </a:lnTo>
                  <a:lnTo>
                    <a:pt x="594" y="324"/>
                  </a:lnTo>
                  <a:lnTo>
                    <a:pt x="596" y="251"/>
                  </a:lnTo>
                  <a:lnTo>
                    <a:pt x="619" y="264"/>
                  </a:lnTo>
                  <a:lnTo>
                    <a:pt x="646" y="293"/>
                  </a:lnTo>
                  <a:lnTo>
                    <a:pt x="671" y="293"/>
                  </a:lnTo>
                  <a:lnTo>
                    <a:pt x="687" y="274"/>
                  </a:lnTo>
                  <a:lnTo>
                    <a:pt x="674" y="243"/>
                  </a:lnTo>
                  <a:lnTo>
                    <a:pt x="687" y="196"/>
                  </a:lnTo>
                  <a:lnTo>
                    <a:pt x="679" y="152"/>
                  </a:lnTo>
                  <a:lnTo>
                    <a:pt x="664" y="134"/>
                  </a:lnTo>
                  <a:lnTo>
                    <a:pt x="664" y="97"/>
                  </a:lnTo>
                  <a:lnTo>
                    <a:pt x="687" y="58"/>
                  </a:lnTo>
                  <a:lnTo>
                    <a:pt x="682" y="22"/>
                  </a:lnTo>
                  <a:lnTo>
                    <a:pt x="676" y="16"/>
                  </a:lnTo>
                  <a:lnTo>
                    <a:pt x="650" y="36"/>
                  </a:lnTo>
                  <a:lnTo>
                    <a:pt x="599" y="36"/>
                  </a:lnTo>
                  <a:lnTo>
                    <a:pt x="582" y="62"/>
                  </a:lnTo>
                  <a:lnTo>
                    <a:pt x="551" y="62"/>
                  </a:lnTo>
                  <a:lnTo>
                    <a:pt x="525" y="36"/>
                  </a:lnTo>
                  <a:lnTo>
                    <a:pt x="514" y="19"/>
                  </a:lnTo>
                  <a:lnTo>
                    <a:pt x="449" y="19"/>
                  </a:lnTo>
                  <a:lnTo>
                    <a:pt x="434" y="0"/>
                  </a:lnTo>
                  <a:lnTo>
                    <a:pt x="414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19</a:t>
              </a:r>
            </a:p>
          </p:txBody>
        </p:sp>
        <p:sp>
          <p:nvSpPr>
            <p:cNvPr id="49" name="FR-23">
              <a:extLst>
                <a:ext uri="{FF2B5EF4-FFF2-40B4-BE49-F238E27FC236}">
                  <a16:creationId xmlns:a16="http://schemas.microsoft.com/office/drawing/2014/main" id="{4B8ACA06-977F-4650-9694-AB82F3B630A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10102" y="4878905"/>
              <a:ext cx="300742" cy="260824"/>
            </a:xfrm>
            <a:custGeom>
              <a:avLst/>
              <a:gdLst>
                <a:gd name="T0" fmla="*/ 203 w 651"/>
                <a:gd name="T1" fmla="*/ 0 h 592"/>
                <a:gd name="T2" fmla="*/ 188 w 651"/>
                <a:gd name="T3" fmla="*/ 41 h 592"/>
                <a:gd name="T4" fmla="*/ 141 w 651"/>
                <a:gd name="T5" fmla="*/ 39 h 592"/>
                <a:gd name="T6" fmla="*/ 130 w 651"/>
                <a:gd name="T7" fmla="*/ 33 h 592"/>
                <a:gd name="T8" fmla="*/ 99 w 651"/>
                <a:gd name="T9" fmla="*/ 36 h 592"/>
                <a:gd name="T10" fmla="*/ 76 w 651"/>
                <a:gd name="T11" fmla="*/ 21 h 592"/>
                <a:gd name="T12" fmla="*/ 31 w 651"/>
                <a:gd name="T13" fmla="*/ 72 h 592"/>
                <a:gd name="T14" fmla="*/ 31 w 651"/>
                <a:gd name="T15" fmla="*/ 111 h 592"/>
                <a:gd name="T16" fmla="*/ 0 w 651"/>
                <a:gd name="T17" fmla="*/ 173 h 592"/>
                <a:gd name="T18" fmla="*/ 6 w 651"/>
                <a:gd name="T19" fmla="*/ 204 h 592"/>
                <a:gd name="T20" fmla="*/ 40 w 651"/>
                <a:gd name="T21" fmla="*/ 212 h 592"/>
                <a:gd name="T22" fmla="*/ 63 w 651"/>
                <a:gd name="T23" fmla="*/ 269 h 592"/>
                <a:gd name="T24" fmla="*/ 85 w 651"/>
                <a:gd name="T25" fmla="*/ 292 h 592"/>
                <a:gd name="T26" fmla="*/ 77 w 651"/>
                <a:gd name="T27" fmla="*/ 399 h 592"/>
                <a:gd name="T28" fmla="*/ 125 w 651"/>
                <a:gd name="T29" fmla="*/ 385 h 592"/>
                <a:gd name="T30" fmla="*/ 145 w 651"/>
                <a:gd name="T31" fmla="*/ 411 h 592"/>
                <a:gd name="T32" fmla="*/ 113 w 651"/>
                <a:gd name="T33" fmla="*/ 436 h 592"/>
                <a:gd name="T34" fmla="*/ 113 w 651"/>
                <a:gd name="T35" fmla="*/ 462 h 592"/>
                <a:gd name="T36" fmla="*/ 139 w 651"/>
                <a:gd name="T37" fmla="*/ 464 h 592"/>
                <a:gd name="T38" fmla="*/ 184 w 651"/>
                <a:gd name="T39" fmla="*/ 462 h 592"/>
                <a:gd name="T40" fmla="*/ 198 w 651"/>
                <a:gd name="T41" fmla="*/ 442 h 592"/>
                <a:gd name="T42" fmla="*/ 210 w 651"/>
                <a:gd name="T43" fmla="*/ 442 h 592"/>
                <a:gd name="T44" fmla="*/ 204 w 651"/>
                <a:gd name="T45" fmla="*/ 476 h 592"/>
                <a:gd name="T46" fmla="*/ 241 w 651"/>
                <a:gd name="T47" fmla="*/ 493 h 592"/>
                <a:gd name="T48" fmla="*/ 275 w 651"/>
                <a:gd name="T49" fmla="*/ 516 h 592"/>
                <a:gd name="T50" fmla="*/ 275 w 651"/>
                <a:gd name="T51" fmla="*/ 530 h 592"/>
                <a:gd name="T52" fmla="*/ 255 w 651"/>
                <a:gd name="T53" fmla="*/ 530 h 592"/>
                <a:gd name="T54" fmla="*/ 261 w 651"/>
                <a:gd name="T55" fmla="*/ 563 h 592"/>
                <a:gd name="T56" fmla="*/ 274 w 651"/>
                <a:gd name="T57" fmla="*/ 572 h 592"/>
                <a:gd name="T58" fmla="*/ 278 w 651"/>
                <a:gd name="T59" fmla="*/ 566 h 592"/>
                <a:gd name="T60" fmla="*/ 320 w 651"/>
                <a:gd name="T61" fmla="*/ 558 h 592"/>
                <a:gd name="T62" fmla="*/ 331 w 651"/>
                <a:gd name="T63" fmla="*/ 530 h 592"/>
                <a:gd name="T64" fmla="*/ 351 w 651"/>
                <a:gd name="T65" fmla="*/ 530 h 592"/>
                <a:gd name="T66" fmla="*/ 366 w 651"/>
                <a:gd name="T67" fmla="*/ 549 h 592"/>
                <a:gd name="T68" fmla="*/ 431 w 651"/>
                <a:gd name="T69" fmla="*/ 549 h 592"/>
                <a:gd name="T70" fmla="*/ 442 w 651"/>
                <a:gd name="T71" fmla="*/ 566 h 592"/>
                <a:gd name="T72" fmla="*/ 468 w 651"/>
                <a:gd name="T73" fmla="*/ 592 h 592"/>
                <a:gd name="T74" fmla="*/ 499 w 651"/>
                <a:gd name="T75" fmla="*/ 592 h 592"/>
                <a:gd name="T76" fmla="*/ 516 w 651"/>
                <a:gd name="T77" fmla="*/ 566 h 592"/>
                <a:gd name="T78" fmla="*/ 567 w 651"/>
                <a:gd name="T79" fmla="*/ 566 h 592"/>
                <a:gd name="T80" fmla="*/ 593 w 651"/>
                <a:gd name="T81" fmla="*/ 546 h 592"/>
                <a:gd name="T82" fmla="*/ 539 w 651"/>
                <a:gd name="T83" fmla="*/ 492 h 592"/>
                <a:gd name="T84" fmla="*/ 534 w 651"/>
                <a:gd name="T85" fmla="*/ 468 h 592"/>
                <a:gd name="T86" fmla="*/ 583 w 651"/>
                <a:gd name="T87" fmla="*/ 440 h 592"/>
                <a:gd name="T88" fmla="*/ 612 w 651"/>
                <a:gd name="T89" fmla="*/ 424 h 592"/>
                <a:gd name="T90" fmla="*/ 620 w 651"/>
                <a:gd name="T91" fmla="*/ 388 h 592"/>
                <a:gd name="T92" fmla="*/ 651 w 651"/>
                <a:gd name="T93" fmla="*/ 364 h 592"/>
                <a:gd name="T94" fmla="*/ 641 w 651"/>
                <a:gd name="T95" fmla="*/ 315 h 592"/>
                <a:gd name="T96" fmla="*/ 620 w 651"/>
                <a:gd name="T97" fmla="*/ 289 h 592"/>
                <a:gd name="T98" fmla="*/ 615 w 651"/>
                <a:gd name="T99" fmla="*/ 208 h 592"/>
                <a:gd name="T100" fmla="*/ 586 w 651"/>
                <a:gd name="T101" fmla="*/ 141 h 592"/>
                <a:gd name="T102" fmla="*/ 557 w 651"/>
                <a:gd name="T103" fmla="*/ 130 h 592"/>
                <a:gd name="T104" fmla="*/ 536 w 651"/>
                <a:gd name="T105" fmla="*/ 93 h 592"/>
                <a:gd name="T106" fmla="*/ 518 w 651"/>
                <a:gd name="T107" fmla="*/ 117 h 592"/>
                <a:gd name="T108" fmla="*/ 500 w 651"/>
                <a:gd name="T109" fmla="*/ 93 h 592"/>
                <a:gd name="T110" fmla="*/ 500 w 651"/>
                <a:gd name="T111" fmla="*/ 62 h 592"/>
                <a:gd name="T112" fmla="*/ 469 w 651"/>
                <a:gd name="T113" fmla="*/ 18 h 592"/>
                <a:gd name="T114" fmla="*/ 383 w 651"/>
                <a:gd name="T115" fmla="*/ 28 h 592"/>
                <a:gd name="T116" fmla="*/ 333 w 651"/>
                <a:gd name="T117" fmla="*/ 16 h 592"/>
                <a:gd name="T118" fmla="*/ 203 w 651"/>
                <a:gd name="T119" fmla="*/ 0 h 59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51"/>
                <a:gd name="T181" fmla="*/ 0 h 592"/>
                <a:gd name="T182" fmla="*/ 651 w 651"/>
                <a:gd name="T183" fmla="*/ 592 h 59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51" h="592">
                  <a:moveTo>
                    <a:pt x="203" y="0"/>
                  </a:moveTo>
                  <a:lnTo>
                    <a:pt x="188" y="41"/>
                  </a:lnTo>
                  <a:lnTo>
                    <a:pt x="141" y="39"/>
                  </a:lnTo>
                  <a:lnTo>
                    <a:pt x="130" y="33"/>
                  </a:lnTo>
                  <a:lnTo>
                    <a:pt x="99" y="36"/>
                  </a:lnTo>
                  <a:lnTo>
                    <a:pt x="76" y="21"/>
                  </a:lnTo>
                  <a:lnTo>
                    <a:pt x="31" y="72"/>
                  </a:lnTo>
                  <a:lnTo>
                    <a:pt x="31" y="111"/>
                  </a:lnTo>
                  <a:lnTo>
                    <a:pt x="0" y="173"/>
                  </a:lnTo>
                  <a:lnTo>
                    <a:pt x="6" y="204"/>
                  </a:lnTo>
                  <a:lnTo>
                    <a:pt x="40" y="212"/>
                  </a:lnTo>
                  <a:lnTo>
                    <a:pt x="63" y="269"/>
                  </a:lnTo>
                  <a:lnTo>
                    <a:pt x="85" y="292"/>
                  </a:lnTo>
                  <a:lnTo>
                    <a:pt x="77" y="399"/>
                  </a:lnTo>
                  <a:lnTo>
                    <a:pt x="125" y="385"/>
                  </a:lnTo>
                  <a:lnTo>
                    <a:pt x="145" y="411"/>
                  </a:lnTo>
                  <a:lnTo>
                    <a:pt x="113" y="436"/>
                  </a:lnTo>
                  <a:lnTo>
                    <a:pt x="113" y="462"/>
                  </a:lnTo>
                  <a:lnTo>
                    <a:pt x="139" y="464"/>
                  </a:lnTo>
                  <a:lnTo>
                    <a:pt x="184" y="462"/>
                  </a:lnTo>
                  <a:lnTo>
                    <a:pt x="198" y="442"/>
                  </a:lnTo>
                  <a:lnTo>
                    <a:pt x="210" y="442"/>
                  </a:lnTo>
                  <a:lnTo>
                    <a:pt x="204" y="476"/>
                  </a:lnTo>
                  <a:lnTo>
                    <a:pt x="241" y="493"/>
                  </a:lnTo>
                  <a:lnTo>
                    <a:pt x="275" y="516"/>
                  </a:lnTo>
                  <a:lnTo>
                    <a:pt x="275" y="530"/>
                  </a:lnTo>
                  <a:lnTo>
                    <a:pt x="255" y="530"/>
                  </a:lnTo>
                  <a:lnTo>
                    <a:pt x="261" y="563"/>
                  </a:lnTo>
                  <a:lnTo>
                    <a:pt x="274" y="572"/>
                  </a:lnTo>
                  <a:lnTo>
                    <a:pt x="278" y="566"/>
                  </a:lnTo>
                  <a:lnTo>
                    <a:pt x="320" y="558"/>
                  </a:lnTo>
                  <a:lnTo>
                    <a:pt x="331" y="530"/>
                  </a:lnTo>
                  <a:lnTo>
                    <a:pt x="351" y="530"/>
                  </a:lnTo>
                  <a:lnTo>
                    <a:pt x="366" y="549"/>
                  </a:lnTo>
                  <a:lnTo>
                    <a:pt x="431" y="549"/>
                  </a:lnTo>
                  <a:lnTo>
                    <a:pt x="442" y="566"/>
                  </a:lnTo>
                  <a:lnTo>
                    <a:pt x="468" y="592"/>
                  </a:lnTo>
                  <a:lnTo>
                    <a:pt x="499" y="592"/>
                  </a:lnTo>
                  <a:lnTo>
                    <a:pt x="516" y="566"/>
                  </a:lnTo>
                  <a:lnTo>
                    <a:pt x="567" y="566"/>
                  </a:lnTo>
                  <a:lnTo>
                    <a:pt x="593" y="546"/>
                  </a:lnTo>
                  <a:lnTo>
                    <a:pt x="539" y="492"/>
                  </a:lnTo>
                  <a:lnTo>
                    <a:pt x="534" y="468"/>
                  </a:lnTo>
                  <a:lnTo>
                    <a:pt x="583" y="440"/>
                  </a:lnTo>
                  <a:lnTo>
                    <a:pt x="612" y="424"/>
                  </a:lnTo>
                  <a:lnTo>
                    <a:pt x="620" y="388"/>
                  </a:lnTo>
                  <a:lnTo>
                    <a:pt x="651" y="364"/>
                  </a:lnTo>
                  <a:lnTo>
                    <a:pt x="641" y="315"/>
                  </a:lnTo>
                  <a:lnTo>
                    <a:pt x="620" y="289"/>
                  </a:lnTo>
                  <a:lnTo>
                    <a:pt x="615" y="208"/>
                  </a:lnTo>
                  <a:lnTo>
                    <a:pt x="586" y="141"/>
                  </a:lnTo>
                  <a:lnTo>
                    <a:pt x="557" y="130"/>
                  </a:lnTo>
                  <a:lnTo>
                    <a:pt x="536" y="93"/>
                  </a:lnTo>
                  <a:lnTo>
                    <a:pt x="518" y="117"/>
                  </a:lnTo>
                  <a:lnTo>
                    <a:pt x="500" y="93"/>
                  </a:lnTo>
                  <a:lnTo>
                    <a:pt x="500" y="62"/>
                  </a:lnTo>
                  <a:lnTo>
                    <a:pt x="469" y="18"/>
                  </a:lnTo>
                  <a:lnTo>
                    <a:pt x="383" y="28"/>
                  </a:lnTo>
                  <a:lnTo>
                    <a:pt x="333" y="16"/>
                  </a:lnTo>
                  <a:lnTo>
                    <a:pt x="203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23</a:t>
              </a:r>
            </a:p>
          </p:txBody>
        </p:sp>
        <p:sp>
          <p:nvSpPr>
            <p:cNvPr id="50" name="FR-87">
              <a:extLst>
                <a:ext uri="{FF2B5EF4-FFF2-40B4-BE49-F238E27FC236}">
                  <a16:creationId xmlns:a16="http://schemas.microsoft.com/office/drawing/2014/main" id="{61A2D652-56A2-4BA6-80A3-2F689DB1CD5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125776" y="4896088"/>
              <a:ext cx="311367" cy="317659"/>
            </a:xfrm>
            <a:custGeom>
              <a:avLst/>
              <a:gdLst>
                <a:gd name="T0" fmla="*/ 357 w 674"/>
                <a:gd name="T1" fmla="*/ 23 h 721"/>
                <a:gd name="T2" fmla="*/ 285 w 674"/>
                <a:gd name="T3" fmla="*/ 17 h 721"/>
                <a:gd name="T4" fmla="*/ 206 w 674"/>
                <a:gd name="T5" fmla="*/ 49 h 721"/>
                <a:gd name="T6" fmla="*/ 149 w 674"/>
                <a:gd name="T7" fmla="*/ 83 h 721"/>
                <a:gd name="T8" fmla="*/ 95 w 674"/>
                <a:gd name="T9" fmla="*/ 138 h 721"/>
                <a:gd name="T10" fmla="*/ 110 w 674"/>
                <a:gd name="T11" fmla="*/ 229 h 721"/>
                <a:gd name="T12" fmla="*/ 118 w 674"/>
                <a:gd name="T13" fmla="*/ 276 h 721"/>
                <a:gd name="T14" fmla="*/ 162 w 674"/>
                <a:gd name="T15" fmla="*/ 315 h 721"/>
                <a:gd name="T16" fmla="*/ 118 w 674"/>
                <a:gd name="T17" fmla="*/ 349 h 721"/>
                <a:gd name="T18" fmla="*/ 100 w 674"/>
                <a:gd name="T19" fmla="*/ 422 h 721"/>
                <a:gd name="T20" fmla="*/ 42 w 674"/>
                <a:gd name="T21" fmla="*/ 450 h 721"/>
                <a:gd name="T22" fmla="*/ 8 w 674"/>
                <a:gd name="T23" fmla="*/ 489 h 721"/>
                <a:gd name="T24" fmla="*/ 60 w 674"/>
                <a:gd name="T25" fmla="*/ 531 h 721"/>
                <a:gd name="T26" fmla="*/ 63 w 674"/>
                <a:gd name="T27" fmla="*/ 586 h 721"/>
                <a:gd name="T28" fmla="*/ 105 w 674"/>
                <a:gd name="T29" fmla="*/ 612 h 721"/>
                <a:gd name="T30" fmla="*/ 206 w 674"/>
                <a:gd name="T31" fmla="*/ 594 h 721"/>
                <a:gd name="T32" fmla="*/ 277 w 674"/>
                <a:gd name="T33" fmla="*/ 654 h 721"/>
                <a:gd name="T34" fmla="*/ 250 w 674"/>
                <a:gd name="T35" fmla="*/ 690 h 721"/>
                <a:gd name="T36" fmla="*/ 324 w 674"/>
                <a:gd name="T37" fmla="*/ 711 h 721"/>
                <a:gd name="T38" fmla="*/ 342 w 674"/>
                <a:gd name="T39" fmla="*/ 692 h 721"/>
                <a:gd name="T40" fmla="*/ 408 w 674"/>
                <a:gd name="T41" fmla="*/ 661 h 721"/>
                <a:gd name="T42" fmla="*/ 445 w 674"/>
                <a:gd name="T43" fmla="*/ 635 h 721"/>
                <a:gd name="T44" fmla="*/ 515 w 674"/>
                <a:gd name="T45" fmla="*/ 621 h 721"/>
                <a:gd name="T46" fmla="*/ 561 w 674"/>
                <a:gd name="T47" fmla="*/ 584 h 721"/>
                <a:gd name="T48" fmla="*/ 612 w 674"/>
                <a:gd name="T49" fmla="*/ 547 h 721"/>
                <a:gd name="T50" fmla="*/ 660 w 674"/>
                <a:gd name="T51" fmla="*/ 556 h 721"/>
                <a:gd name="T52" fmla="*/ 660 w 674"/>
                <a:gd name="T53" fmla="*/ 524 h 721"/>
                <a:gd name="T54" fmla="*/ 674 w 674"/>
                <a:gd name="T55" fmla="*/ 491 h 721"/>
                <a:gd name="T56" fmla="*/ 640 w 674"/>
                <a:gd name="T57" fmla="*/ 454 h 721"/>
                <a:gd name="T58" fmla="*/ 609 w 674"/>
                <a:gd name="T59" fmla="*/ 403 h 721"/>
                <a:gd name="T60" fmla="*/ 583 w 674"/>
                <a:gd name="T61" fmla="*/ 423 h 721"/>
                <a:gd name="T62" fmla="*/ 512 w 674"/>
                <a:gd name="T63" fmla="*/ 423 h 721"/>
                <a:gd name="T64" fmla="*/ 544 w 674"/>
                <a:gd name="T65" fmla="*/ 372 h 721"/>
                <a:gd name="T66" fmla="*/ 476 w 674"/>
                <a:gd name="T67" fmla="*/ 360 h 721"/>
                <a:gd name="T68" fmla="*/ 462 w 674"/>
                <a:gd name="T69" fmla="*/ 230 h 721"/>
                <a:gd name="T70" fmla="*/ 405 w 674"/>
                <a:gd name="T71" fmla="*/ 165 h 721"/>
                <a:gd name="T72" fmla="*/ 430 w 674"/>
                <a:gd name="T73" fmla="*/ 72 h 721"/>
                <a:gd name="T74" fmla="*/ 422 w 674"/>
                <a:gd name="T75" fmla="*/ 42 h 72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674"/>
                <a:gd name="T115" fmla="*/ 0 h 721"/>
                <a:gd name="T116" fmla="*/ 674 w 674"/>
                <a:gd name="T117" fmla="*/ 721 h 721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674" h="721">
                  <a:moveTo>
                    <a:pt x="381" y="0"/>
                  </a:moveTo>
                  <a:lnTo>
                    <a:pt x="357" y="23"/>
                  </a:lnTo>
                  <a:lnTo>
                    <a:pt x="292" y="18"/>
                  </a:lnTo>
                  <a:lnTo>
                    <a:pt x="285" y="17"/>
                  </a:lnTo>
                  <a:lnTo>
                    <a:pt x="235" y="26"/>
                  </a:lnTo>
                  <a:lnTo>
                    <a:pt x="206" y="49"/>
                  </a:lnTo>
                  <a:lnTo>
                    <a:pt x="206" y="81"/>
                  </a:lnTo>
                  <a:lnTo>
                    <a:pt x="149" y="83"/>
                  </a:lnTo>
                  <a:lnTo>
                    <a:pt x="115" y="122"/>
                  </a:lnTo>
                  <a:lnTo>
                    <a:pt x="95" y="138"/>
                  </a:lnTo>
                  <a:lnTo>
                    <a:pt x="112" y="159"/>
                  </a:lnTo>
                  <a:lnTo>
                    <a:pt x="110" y="229"/>
                  </a:lnTo>
                  <a:lnTo>
                    <a:pt x="97" y="252"/>
                  </a:lnTo>
                  <a:lnTo>
                    <a:pt x="118" y="276"/>
                  </a:lnTo>
                  <a:lnTo>
                    <a:pt x="154" y="279"/>
                  </a:lnTo>
                  <a:lnTo>
                    <a:pt x="162" y="315"/>
                  </a:lnTo>
                  <a:lnTo>
                    <a:pt x="165" y="338"/>
                  </a:lnTo>
                  <a:lnTo>
                    <a:pt x="118" y="349"/>
                  </a:lnTo>
                  <a:lnTo>
                    <a:pt x="95" y="357"/>
                  </a:lnTo>
                  <a:lnTo>
                    <a:pt x="100" y="422"/>
                  </a:lnTo>
                  <a:lnTo>
                    <a:pt x="68" y="442"/>
                  </a:lnTo>
                  <a:lnTo>
                    <a:pt x="42" y="450"/>
                  </a:lnTo>
                  <a:lnTo>
                    <a:pt x="29" y="487"/>
                  </a:lnTo>
                  <a:lnTo>
                    <a:pt x="8" y="489"/>
                  </a:lnTo>
                  <a:lnTo>
                    <a:pt x="0" y="529"/>
                  </a:lnTo>
                  <a:lnTo>
                    <a:pt x="60" y="531"/>
                  </a:lnTo>
                  <a:lnTo>
                    <a:pt x="74" y="557"/>
                  </a:lnTo>
                  <a:lnTo>
                    <a:pt x="63" y="586"/>
                  </a:lnTo>
                  <a:lnTo>
                    <a:pt x="87" y="617"/>
                  </a:lnTo>
                  <a:lnTo>
                    <a:pt x="105" y="612"/>
                  </a:lnTo>
                  <a:lnTo>
                    <a:pt x="123" y="586"/>
                  </a:lnTo>
                  <a:lnTo>
                    <a:pt x="206" y="594"/>
                  </a:lnTo>
                  <a:lnTo>
                    <a:pt x="220" y="646"/>
                  </a:lnTo>
                  <a:lnTo>
                    <a:pt x="277" y="654"/>
                  </a:lnTo>
                  <a:lnTo>
                    <a:pt x="290" y="672"/>
                  </a:lnTo>
                  <a:lnTo>
                    <a:pt x="250" y="690"/>
                  </a:lnTo>
                  <a:lnTo>
                    <a:pt x="269" y="703"/>
                  </a:lnTo>
                  <a:lnTo>
                    <a:pt x="324" y="711"/>
                  </a:lnTo>
                  <a:lnTo>
                    <a:pt x="328" y="721"/>
                  </a:lnTo>
                  <a:lnTo>
                    <a:pt x="342" y="692"/>
                  </a:lnTo>
                  <a:lnTo>
                    <a:pt x="374" y="703"/>
                  </a:lnTo>
                  <a:lnTo>
                    <a:pt x="408" y="661"/>
                  </a:lnTo>
                  <a:lnTo>
                    <a:pt x="427" y="663"/>
                  </a:lnTo>
                  <a:lnTo>
                    <a:pt x="445" y="635"/>
                  </a:lnTo>
                  <a:lnTo>
                    <a:pt x="495" y="641"/>
                  </a:lnTo>
                  <a:lnTo>
                    <a:pt x="515" y="621"/>
                  </a:lnTo>
                  <a:lnTo>
                    <a:pt x="541" y="621"/>
                  </a:lnTo>
                  <a:lnTo>
                    <a:pt x="561" y="584"/>
                  </a:lnTo>
                  <a:lnTo>
                    <a:pt x="592" y="581"/>
                  </a:lnTo>
                  <a:lnTo>
                    <a:pt x="612" y="547"/>
                  </a:lnTo>
                  <a:lnTo>
                    <a:pt x="640" y="556"/>
                  </a:lnTo>
                  <a:lnTo>
                    <a:pt x="660" y="556"/>
                  </a:lnTo>
                  <a:lnTo>
                    <a:pt x="673" y="533"/>
                  </a:lnTo>
                  <a:lnTo>
                    <a:pt x="660" y="524"/>
                  </a:lnTo>
                  <a:lnTo>
                    <a:pt x="654" y="491"/>
                  </a:lnTo>
                  <a:lnTo>
                    <a:pt x="674" y="491"/>
                  </a:lnTo>
                  <a:lnTo>
                    <a:pt x="674" y="477"/>
                  </a:lnTo>
                  <a:lnTo>
                    <a:pt x="640" y="454"/>
                  </a:lnTo>
                  <a:lnTo>
                    <a:pt x="603" y="437"/>
                  </a:lnTo>
                  <a:lnTo>
                    <a:pt x="609" y="403"/>
                  </a:lnTo>
                  <a:lnTo>
                    <a:pt x="597" y="403"/>
                  </a:lnTo>
                  <a:lnTo>
                    <a:pt x="583" y="423"/>
                  </a:lnTo>
                  <a:lnTo>
                    <a:pt x="538" y="425"/>
                  </a:lnTo>
                  <a:lnTo>
                    <a:pt x="512" y="423"/>
                  </a:lnTo>
                  <a:lnTo>
                    <a:pt x="512" y="397"/>
                  </a:lnTo>
                  <a:lnTo>
                    <a:pt x="544" y="372"/>
                  </a:lnTo>
                  <a:lnTo>
                    <a:pt x="524" y="346"/>
                  </a:lnTo>
                  <a:lnTo>
                    <a:pt x="476" y="360"/>
                  </a:lnTo>
                  <a:lnTo>
                    <a:pt x="484" y="253"/>
                  </a:lnTo>
                  <a:lnTo>
                    <a:pt x="462" y="230"/>
                  </a:lnTo>
                  <a:lnTo>
                    <a:pt x="439" y="173"/>
                  </a:lnTo>
                  <a:lnTo>
                    <a:pt x="405" y="165"/>
                  </a:lnTo>
                  <a:lnTo>
                    <a:pt x="399" y="134"/>
                  </a:lnTo>
                  <a:lnTo>
                    <a:pt x="430" y="72"/>
                  </a:lnTo>
                  <a:lnTo>
                    <a:pt x="430" y="33"/>
                  </a:lnTo>
                  <a:lnTo>
                    <a:pt x="422" y="42"/>
                  </a:lnTo>
                  <a:lnTo>
                    <a:pt x="381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87</a:t>
              </a:r>
            </a:p>
          </p:txBody>
        </p:sp>
        <p:sp>
          <p:nvSpPr>
            <p:cNvPr id="51" name="FR-86">
              <a:extLst>
                <a:ext uri="{FF2B5EF4-FFF2-40B4-BE49-F238E27FC236}">
                  <a16:creationId xmlns:a16="http://schemas.microsoft.com/office/drawing/2014/main" id="{DE9E004E-F948-4565-84D4-58AC2081A22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960391" y="4630857"/>
              <a:ext cx="308596" cy="376698"/>
            </a:xfrm>
            <a:custGeom>
              <a:avLst/>
              <a:gdLst>
                <a:gd name="T0" fmla="*/ 12 w 668"/>
                <a:gd name="T1" fmla="*/ 52 h 855"/>
                <a:gd name="T2" fmla="*/ 4 w 668"/>
                <a:gd name="T3" fmla="*/ 138 h 855"/>
                <a:gd name="T4" fmla="*/ 29 w 668"/>
                <a:gd name="T5" fmla="*/ 164 h 855"/>
                <a:gd name="T6" fmla="*/ 52 w 668"/>
                <a:gd name="T7" fmla="*/ 240 h 855"/>
                <a:gd name="T8" fmla="*/ 43 w 668"/>
                <a:gd name="T9" fmla="*/ 274 h 855"/>
                <a:gd name="T10" fmla="*/ 32 w 668"/>
                <a:gd name="T11" fmla="*/ 302 h 855"/>
                <a:gd name="T12" fmla="*/ 52 w 668"/>
                <a:gd name="T13" fmla="*/ 339 h 855"/>
                <a:gd name="T14" fmla="*/ 15 w 668"/>
                <a:gd name="T15" fmla="*/ 404 h 855"/>
                <a:gd name="T16" fmla="*/ 52 w 668"/>
                <a:gd name="T17" fmla="*/ 436 h 855"/>
                <a:gd name="T18" fmla="*/ 38 w 668"/>
                <a:gd name="T19" fmla="*/ 481 h 855"/>
                <a:gd name="T20" fmla="*/ 21 w 668"/>
                <a:gd name="T21" fmla="*/ 529 h 855"/>
                <a:gd name="T22" fmla="*/ 32 w 668"/>
                <a:gd name="T23" fmla="*/ 591 h 855"/>
                <a:gd name="T24" fmla="*/ 43 w 668"/>
                <a:gd name="T25" fmla="*/ 625 h 855"/>
                <a:gd name="T26" fmla="*/ 69 w 668"/>
                <a:gd name="T27" fmla="*/ 668 h 855"/>
                <a:gd name="T28" fmla="*/ 80 w 668"/>
                <a:gd name="T29" fmla="*/ 636 h 855"/>
                <a:gd name="T30" fmla="*/ 120 w 668"/>
                <a:gd name="T31" fmla="*/ 636 h 855"/>
                <a:gd name="T32" fmla="*/ 103 w 668"/>
                <a:gd name="T33" fmla="*/ 699 h 855"/>
                <a:gd name="T34" fmla="*/ 108 w 668"/>
                <a:gd name="T35" fmla="*/ 764 h 855"/>
                <a:gd name="T36" fmla="*/ 140 w 668"/>
                <a:gd name="T37" fmla="*/ 801 h 855"/>
                <a:gd name="T38" fmla="*/ 137 w 668"/>
                <a:gd name="T39" fmla="*/ 849 h 855"/>
                <a:gd name="T40" fmla="*/ 222 w 668"/>
                <a:gd name="T41" fmla="*/ 832 h 855"/>
                <a:gd name="T42" fmla="*/ 276 w 668"/>
                <a:gd name="T43" fmla="*/ 844 h 855"/>
                <a:gd name="T44" fmla="*/ 295 w 668"/>
                <a:gd name="T45" fmla="*/ 789 h 855"/>
                <a:gd name="T46" fmla="*/ 332 w 668"/>
                <a:gd name="T47" fmla="*/ 841 h 855"/>
                <a:gd name="T48" fmla="*/ 400 w 668"/>
                <a:gd name="T49" fmla="*/ 798 h 855"/>
                <a:gd name="T50" fmla="*/ 469 w 668"/>
                <a:gd name="T51" fmla="*/ 810 h 855"/>
                <a:gd name="T52" fmla="*/ 453 w 668"/>
                <a:gd name="T53" fmla="*/ 740 h 855"/>
                <a:gd name="T54" fmla="*/ 507 w 668"/>
                <a:gd name="T55" fmla="*/ 685 h 855"/>
                <a:gd name="T56" fmla="*/ 564 w 668"/>
                <a:gd name="T57" fmla="*/ 651 h 855"/>
                <a:gd name="T58" fmla="*/ 663 w 668"/>
                <a:gd name="T59" fmla="*/ 615 h 855"/>
                <a:gd name="T60" fmla="*/ 640 w 668"/>
                <a:gd name="T61" fmla="*/ 560 h 855"/>
                <a:gd name="T62" fmla="*/ 583 w 668"/>
                <a:gd name="T63" fmla="*/ 500 h 855"/>
                <a:gd name="T64" fmla="*/ 507 w 668"/>
                <a:gd name="T65" fmla="*/ 435 h 855"/>
                <a:gd name="T66" fmla="*/ 518 w 668"/>
                <a:gd name="T67" fmla="*/ 354 h 855"/>
                <a:gd name="T68" fmla="*/ 465 w 668"/>
                <a:gd name="T69" fmla="*/ 271 h 855"/>
                <a:gd name="T70" fmla="*/ 405 w 668"/>
                <a:gd name="T71" fmla="*/ 162 h 855"/>
                <a:gd name="T72" fmla="*/ 366 w 668"/>
                <a:gd name="T73" fmla="*/ 125 h 855"/>
                <a:gd name="T74" fmla="*/ 351 w 668"/>
                <a:gd name="T75" fmla="*/ 167 h 855"/>
                <a:gd name="T76" fmla="*/ 205 w 668"/>
                <a:gd name="T77" fmla="*/ 183 h 855"/>
                <a:gd name="T78" fmla="*/ 208 w 668"/>
                <a:gd name="T79" fmla="*/ 102 h 855"/>
                <a:gd name="T80" fmla="*/ 145 w 668"/>
                <a:gd name="T81" fmla="*/ 52 h 855"/>
                <a:gd name="T82" fmla="*/ 85 w 668"/>
                <a:gd name="T83" fmla="*/ 0 h 85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668"/>
                <a:gd name="T127" fmla="*/ 0 h 855"/>
                <a:gd name="T128" fmla="*/ 668 w 668"/>
                <a:gd name="T129" fmla="*/ 855 h 85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668" h="855">
                  <a:moveTo>
                    <a:pt x="62" y="0"/>
                  </a:moveTo>
                  <a:lnTo>
                    <a:pt x="12" y="52"/>
                  </a:lnTo>
                  <a:lnTo>
                    <a:pt x="0" y="74"/>
                  </a:lnTo>
                  <a:lnTo>
                    <a:pt x="4" y="138"/>
                  </a:lnTo>
                  <a:lnTo>
                    <a:pt x="26" y="135"/>
                  </a:lnTo>
                  <a:lnTo>
                    <a:pt x="29" y="164"/>
                  </a:lnTo>
                  <a:lnTo>
                    <a:pt x="38" y="209"/>
                  </a:lnTo>
                  <a:lnTo>
                    <a:pt x="52" y="240"/>
                  </a:lnTo>
                  <a:lnTo>
                    <a:pt x="35" y="260"/>
                  </a:lnTo>
                  <a:lnTo>
                    <a:pt x="43" y="274"/>
                  </a:lnTo>
                  <a:lnTo>
                    <a:pt x="32" y="294"/>
                  </a:lnTo>
                  <a:lnTo>
                    <a:pt x="32" y="302"/>
                  </a:lnTo>
                  <a:lnTo>
                    <a:pt x="52" y="325"/>
                  </a:lnTo>
                  <a:lnTo>
                    <a:pt x="52" y="339"/>
                  </a:lnTo>
                  <a:lnTo>
                    <a:pt x="43" y="362"/>
                  </a:lnTo>
                  <a:lnTo>
                    <a:pt x="15" y="404"/>
                  </a:lnTo>
                  <a:lnTo>
                    <a:pt x="43" y="416"/>
                  </a:lnTo>
                  <a:lnTo>
                    <a:pt x="52" y="436"/>
                  </a:lnTo>
                  <a:lnTo>
                    <a:pt x="40" y="466"/>
                  </a:lnTo>
                  <a:lnTo>
                    <a:pt x="38" y="481"/>
                  </a:lnTo>
                  <a:lnTo>
                    <a:pt x="21" y="509"/>
                  </a:lnTo>
                  <a:lnTo>
                    <a:pt x="21" y="529"/>
                  </a:lnTo>
                  <a:lnTo>
                    <a:pt x="32" y="532"/>
                  </a:lnTo>
                  <a:lnTo>
                    <a:pt x="32" y="591"/>
                  </a:lnTo>
                  <a:lnTo>
                    <a:pt x="52" y="606"/>
                  </a:lnTo>
                  <a:lnTo>
                    <a:pt x="43" y="625"/>
                  </a:lnTo>
                  <a:lnTo>
                    <a:pt x="46" y="642"/>
                  </a:lnTo>
                  <a:lnTo>
                    <a:pt x="69" y="668"/>
                  </a:lnTo>
                  <a:lnTo>
                    <a:pt x="80" y="651"/>
                  </a:lnTo>
                  <a:lnTo>
                    <a:pt x="80" y="636"/>
                  </a:lnTo>
                  <a:lnTo>
                    <a:pt x="103" y="625"/>
                  </a:lnTo>
                  <a:lnTo>
                    <a:pt x="120" y="636"/>
                  </a:lnTo>
                  <a:lnTo>
                    <a:pt x="120" y="679"/>
                  </a:lnTo>
                  <a:lnTo>
                    <a:pt x="103" y="699"/>
                  </a:lnTo>
                  <a:lnTo>
                    <a:pt x="89" y="733"/>
                  </a:lnTo>
                  <a:lnTo>
                    <a:pt x="108" y="764"/>
                  </a:lnTo>
                  <a:lnTo>
                    <a:pt x="148" y="775"/>
                  </a:lnTo>
                  <a:lnTo>
                    <a:pt x="140" y="801"/>
                  </a:lnTo>
                  <a:lnTo>
                    <a:pt x="103" y="807"/>
                  </a:lnTo>
                  <a:lnTo>
                    <a:pt x="137" y="849"/>
                  </a:lnTo>
                  <a:lnTo>
                    <a:pt x="182" y="846"/>
                  </a:lnTo>
                  <a:lnTo>
                    <a:pt x="222" y="832"/>
                  </a:lnTo>
                  <a:lnTo>
                    <a:pt x="262" y="855"/>
                  </a:lnTo>
                  <a:lnTo>
                    <a:pt x="276" y="844"/>
                  </a:lnTo>
                  <a:lnTo>
                    <a:pt x="273" y="806"/>
                  </a:lnTo>
                  <a:lnTo>
                    <a:pt x="295" y="789"/>
                  </a:lnTo>
                  <a:lnTo>
                    <a:pt x="315" y="824"/>
                  </a:lnTo>
                  <a:lnTo>
                    <a:pt x="332" y="841"/>
                  </a:lnTo>
                  <a:lnTo>
                    <a:pt x="380" y="821"/>
                  </a:lnTo>
                  <a:lnTo>
                    <a:pt x="400" y="798"/>
                  </a:lnTo>
                  <a:lnTo>
                    <a:pt x="445" y="798"/>
                  </a:lnTo>
                  <a:lnTo>
                    <a:pt x="469" y="810"/>
                  </a:lnTo>
                  <a:lnTo>
                    <a:pt x="470" y="761"/>
                  </a:lnTo>
                  <a:lnTo>
                    <a:pt x="453" y="740"/>
                  </a:lnTo>
                  <a:lnTo>
                    <a:pt x="473" y="724"/>
                  </a:lnTo>
                  <a:lnTo>
                    <a:pt x="507" y="685"/>
                  </a:lnTo>
                  <a:lnTo>
                    <a:pt x="564" y="683"/>
                  </a:lnTo>
                  <a:lnTo>
                    <a:pt x="564" y="651"/>
                  </a:lnTo>
                  <a:lnTo>
                    <a:pt x="593" y="628"/>
                  </a:lnTo>
                  <a:lnTo>
                    <a:pt x="663" y="615"/>
                  </a:lnTo>
                  <a:lnTo>
                    <a:pt x="668" y="576"/>
                  </a:lnTo>
                  <a:lnTo>
                    <a:pt x="640" y="560"/>
                  </a:lnTo>
                  <a:lnTo>
                    <a:pt x="624" y="506"/>
                  </a:lnTo>
                  <a:lnTo>
                    <a:pt x="583" y="500"/>
                  </a:lnTo>
                  <a:lnTo>
                    <a:pt x="557" y="474"/>
                  </a:lnTo>
                  <a:lnTo>
                    <a:pt x="507" y="435"/>
                  </a:lnTo>
                  <a:lnTo>
                    <a:pt x="518" y="404"/>
                  </a:lnTo>
                  <a:lnTo>
                    <a:pt x="518" y="354"/>
                  </a:lnTo>
                  <a:lnTo>
                    <a:pt x="470" y="308"/>
                  </a:lnTo>
                  <a:lnTo>
                    <a:pt x="465" y="271"/>
                  </a:lnTo>
                  <a:lnTo>
                    <a:pt x="421" y="224"/>
                  </a:lnTo>
                  <a:lnTo>
                    <a:pt x="405" y="162"/>
                  </a:lnTo>
                  <a:lnTo>
                    <a:pt x="387" y="154"/>
                  </a:lnTo>
                  <a:lnTo>
                    <a:pt x="366" y="125"/>
                  </a:lnTo>
                  <a:lnTo>
                    <a:pt x="345" y="138"/>
                  </a:lnTo>
                  <a:lnTo>
                    <a:pt x="351" y="167"/>
                  </a:lnTo>
                  <a:lnTo>
                    <a:pt x="283" y="183"/>
                  </a:lnTo>
                  <a:lnTo>
                    <a:pt x="205" y="183"/>
                  </a:lnTo>
                  <a:lnTo>
                    <a:pt x="208" y="151"/>
                  </a:lnTo>
                  <a:lnTo>
                    <a:pt x="208" y="102"/>
                  </a:lnTo>
                  <a:lnTo>
                    <a:pt x="145" y="84"/>
                  </a:lnTo>
                  <a:lnTo>
                    <a:pt x="145" y="52"/>
                  </a:lnTo>
                  <a:lnTo>
                    <a:pt x="95" y="42"/>
                  </a:lnTo>
                  <a:lnTo>
                    <a:pt x="85" y="0"/>
                  </a:lnTo>
                  <a:lnTo>
                    <a:pt x="62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86</a:t>
              </a:r>
            </a:p>
          </p:txBody>
        </p:sp>
        <p:sp>
          <p:nvSpPr>
            <p:cNvPr id="52" name="FR-16">
              <a:extLst>
                <a:ext uri="{FF2B5EF4-FFF2-40B4-BE49-F238E27FC236}">
                  <a16:creationId xmlns:a16="http://schemas.microsoft.com/office/drawing/2014/main" id="{FFB1E9DE-078C-4422-AE55-2022DF970F6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855986" y="4978477"/>
              <a:ext cx="346015" cy="310170"/>
            </a:xfrm>
            <a:custGeom>
              <a:avLst/>
              <a:gdLst>
                <a:gd name="T0" fmla="*/ 499 w 749"/>
                <a:gd name="T1" fmla="*/ 17 h 704"/>
                <a:gd name="T2" fmla="*/ 488 w 749"/>
                <a:gd name="T3" fmla="*/ 66 h 704"/>
                <a:gd name="T4" fmla="*/ 408 w 749"/>
                <a:gd name="T5" fmla="*/ 57 h 704"/>
                <a:gd name="T6" fmla="*/ 329 w 749"/>
                <a:gd name="T7" fmla="*/ 18 h 704"/>
                <a:gd name="T8" fmla="*/ 272 w 749"/>
                <a:gd name="T9" fmla="*/ 43 h 704"/>
                <a:gd name="T10" fmla="*/ 238 w 749"/>
                <a:gd name="T11" fmla="*/ 71 h 704"/>
                <a:gd name="T12" fmla="*/ 224 w 749"/>
                <a:gd name="T13" fmla="*/ 108 h 704"/>
                <a:gd name="T14" fmla="*/ 176 w 749"/>
                <a:gd name="T15" fmla="*/ 205 h 704"/>
                <a:gd name="T16" fmla="*/ 151 w 749"/>
                <a:gd name="T17" fmla="*/ 267 h 704"/>
                <a:gd name="T18" fmla="*/ 116 w 749"/>
                <a:gd name="T19" fmla="*/ 250 h 704"/>
                <a:gd name="T20" fmla="*/ 69 w 749"/>
                <a:gd name="T21" fmla="*/ 264 h 704"/>
                <a:gd name="T22" fmla="*/ 0 w 749"/>
                <a:gd name="T23" fmla="*/ 281 h 704"/>
                <a:gd name="T24" fmla="*/ 26 w 749"/>
                <a:gd name="T25" fmla="*/ 349 h 704"/>
                <a:gd name="T26" fmla="*/ 17 w 749"/>
                <a:gd name="T27" fmla="*/ 375 h 704"/>
                <a:gd name="T28" fmla="*/ 71 w 749"/>
                <a:gd name="T29" fmla="*/ 417 h 704"/>
                <a:gd name="T30" fmla="*/ 108 w 749"/>
                <a:gd name="T31" fmla="*/ 465 h 704"/>
                <a:gd name="T32" fmla="*/ 91 w 749"/>
                <a:gd name="T33" fmla="*/ 505 h 704"/>
                <a:gd name="T34" fmla="*/ 108 w 749"/>
                <a:gd name="T35" fmla="*/ 542 h 704"/>
                <a:gd name="T36" fmla="*/ 88 w 749"/>
                <a:gd name="T37" fmla="*/ 581 h 704"/>
                <a:gd name="T38" fmla="*/ 108 w 749"/>
                <a:gd name="T39" fmla="*/ 592 h 704"/>
                <a:gd name="T40" fmla="*/ 82 w 749"/>
                <a:gd name="T41" fmla="*/ 618 h 704"/>
                <a:gd name="T42" fmla="*/ 153 w 749"/>
                <a:gd name="T43" fmla="*/ 618 h 704"/>
                <a:gd name="T44" fmla="*/ 193 w 749"/>
                <a:gd name="T45" fmla="*/ 666 h 704"/>
                <a:gd name="T46" fmla="*/ 256 w 749"/>
                <a:gd name="T47" fmla="*/ 690 h 704"/>
                <a:gd name="T48" fmla="*/ 334 w 749"/>
                <a:gd name="T49" fmla="*/ 672 h 704"/>
                <a:gd name="T50" fmla="*/ 384 w 749"/>
                <a:gd name="T51" fmla="*/ 534 h 704"/>
                <a:gd name="T52" fmla="*/ 509 w 749"/>
                <a:gd name="T53" fmla="*/ 388 h 704"/>
                <a:gd name="T54" fmla="*/ 569 w 749"/>
                <a:gd name="T55" fmla="*/ 342 h 704"/>
                <a:gd name="T56" fmla="*/ 592 w 749"/>
                <a:gd name="T57" fmla="*/ 302 h 704"/>
                <a:gd name="T58" fmla="*/ 626 w 749"/>
                <a:gd name="T59" fmla="*/ 263 h 704"/>
                <a:gd name="T60" fmla="*/ 684 w 749"/>
                <a:gd name="T61" fmla="*/ 235 h 704"/>
                <a:gd name="T62" fmla="*/ 702 w 749"/>
                <a:gd name="T63" fmla="*/ 162 h 704"/>
                <a:gd name="T64" fmla="*/ 746 w 749"/>
                <a:gd name="T65" fmla="*/ 128 h 704"/>
                <a:gd name="T66" fmla="*/ 702 w 749"/>
                <a:gd name="T67" fmla="*/ 89 h 704"/>
                <a:gd name="T68" fmla="*/ 694 w 749"/>
                <a:gd name="T69" fmla="*/ 42 h 704"/>
                <a:gd name="T70" fmla="*/ 671 w 749"/>
                <a:gd name="T71" fmla="*/ 9 h 704"/>
                <a:gd name="T72" fmla="*/ 606 w 749"/>
                <a:gd name="T73" fmla="*/ 32 h 704"/>
                <a:gd name="T74" fmla="*/ 541 w 749"/>
                <a:gd name="T75" fmla="*/ 35 h 70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749"/>
                <a:gd name="T115" fmla="*/ 0 h 704"/>
                <a:gd name="T116" fmla="*/ 749 w 749"/>
                <a:gd name="T117" fmla="*/ 704 h 704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749" h="704">
                  <a:moveTo>
                    <a:pt x="521" y="0"/>
                  </a:moveTo>
                  <a:lnTo>
                    <a:pt x="499" y="17"/>
                  </a:lnTo>
                  <a:lnTo>
                    <a:pt x="502" y="55"/>
                  </a:lnTo>
                  <a:lnTo>
                    <a:pt x="488" y="66"/>
                  </a:lnTo>
                  <a:lnTo>
                    <a:pt x="448" y="43"/>
                  </a:lnTo>
                  <a:lnTo>
                    <a:pt x="408" y="57"/>
                  </a:lnTo>
                  <a:lnTo>
                    <a:pt x="363" y="60"/>
                  </a:lnTo>
                  <a:lnTo>
                    <a:pt x="329" y="18"/>
                  </a:lnTo>
                  <a:lnTo>
                    <a:pt x="318" y="20"/>
                  </a:lnTo>
                  <a:lnTo>
                    <a:pt x="272" y="43"/>
                  </a:lnTo>
                  <a:lnTo>
                    <a:pt x="238" y="52"/>
                  </a:lnTo>
                  <a:lnTo>
                    <a:pt x="238" y="71"/>
                  </a:lnTo>
                  <a:lnTo>
                    <a:pt x="219" y="94"/>
                  </a:lnTo>
                  <a:lnTo>
                    <a:pt x="224" y="108"/>
                  </a:lnTo>
                  <a:lnTo>
                    <a:pt x="199" y="122"/>
                  </a:lnTo>
                  <a:lnTo>
                    <a:pt x="176" y="205"/>
                  </a:lnTo>
                  <a:lnTo>
                    <a:pt x="170" y="258"/>
                  </a:lnTo>
                  <a:lnTo>
                    <a:pt x="151" y="267"/>
                  </a:lnTo>
                  <a:lnTo>
                    <a:pt x="122" y="264"/>
                  </a:lnTo>
                  <a:lnTo>
                    <a:pt x="116" y="250"/>
                  </a:lnTo>
                  <a:lnTo>
                    <a:pt x="85" y="250"/>
                  </a:lnTo>
                  <a:lnTo>
                    <a:pt x="69" y="264"/>
                  </a:lnTo>
                  <a:lnTo>
                    <a:pt x="31" y="264"/>
                  </a:lnTo>
                  <a:lnTo>
                    <a:pt x="0" y="281"/>
                  </a:lnTo>
                  <a:lnTo>
                    <a:pt x="23" y="290"/>
                  </a:lnTo>
                  <a:lnTo>
                    <a:pt x="26" y="349"/>
                  </a:lnTo>
                  <a:lnTo>
                    <a:pt x="37" y="352"/>
                  </a:lnTo>
                  <a:lnTo>
                    <a:pt x="17" y="375"/>
                  </a:lnTo>
                  <a:lnTo>
                    <a:pt x="40" y="389"/>
                  </a:lnTo>
                  <a:lnTo>
                    <a:pt x="71" y="417"/>
                  </a:lnTo>
                  <a:lnTo>
                    <a:pt x="88" y="445"/>
                  </a:lnTo>
                  <a:lnTo>
                    <a:pt x="108" y="465"/>
                  </a:lnTo>
                  <a:lnTo>
                    <a:pt x="102" y="493"/>
                  </a:lnTo>
                  <a:lnTo>
                    <a:pt x="91" y="505"/>
                  </a:lnTo>
                  <a:lnTo>
                    <a:pt x="108" y="522"/>
                  </a:lnTo>
                  <a:lnTo>
                    <a:pt x="108" y="542"/>
                  </a:lnTo>
                  <a:lnTo>
                    <a:pt x="74" y="570"/>
                  </a:lnTo>
                  <a:lnTo>
                    <a:pt x="88" y="581"/>
                  </a:lnTo>
                  <a:lnTo>
                    <a:pt x="108" y="587"/>
                  </a:lnTo>
                  <a:lnTo>
                    <a:pt x="108" y="592"/>
                  </a:lnTo>
                  <a:lnTo>
                    <a:pt x="80" y="604"/>
                  </a:lnTo>
                  <a:lnTo>
                    <a:pt x="82" y="618"/>
                  </a:lnTo>
                  <a:lnTo>
                    <a:pt x="99" y="627"/>
                  </a:lnTo>
                  <a:lnTo>
                    <a:pt x="153" y="618"/>
                  </a:lnTo>
                  <a:lnTo>
                    <a:pt x="176" y="643"/>
                  </a:lnTo>
                  <a:lnTo>
                    <a:pt x="193" y="666"/>
                  </a:lnTo>
                  <a:lnTo>
                    <a:pt x="249" y="704"/>
                  </a:lnTo>
                  <a:lnTo>
                    <a:pt x="256" y="690"/>
                  </a:lnTo>
                  <a:lnTo>
                    <a:pt x="309" y="696"/>
                  </a:lnTo>
                  <a:lnTo>
                    <a:pt x="334" y="672"/>
                  </a:lnTo>
                  <a:lnTo>
                    <a:pt x="381" y="625"/>
                  </a:lnTo>
                  <a:lnTo>
                    <a:pt x="384" y="534"/>
                  </a:lnTo>
                  <a:lnTo>
                    <a:pt x="506" y="451"/>
                  </a:lnTo>
                  <a:lnTo>
                    <a:pt x="509" y="388"/>
                  </a:lnTo>
                  <a:lnTo>
                    <a:pt x="546" y="383"/>
                  </a:lnTo>
                  <a:lnTo>
                    <a:pt x="569" y="342"/>
                  </a:lnTo>
                  <a:lnTo>
                    <a:pt x="584" y="342"/>
                  </a:lnTo>
                  <a:lnTo>
                    <a:pt x="592" y="302"/>
                  </a:lnTo>
                  <a:lnTo>
                    <a:pt x="613" y="300"/>
                  </a:lnTo>
                  <a:lnTo>
                    <a:pt x="626" y="263"/>
                  </a:lnTo>
                  <a:lnTo>
                    <a:pt x="652" y="255"/>
                  </a:lnTo>
                  <a:lnTo>
                    <a:pt x="684" y="235"/>
                  </a:lnTo>
                  <a:lnTo>
                    <a:pt x="679" y="170"/>
                  </a:lnTo>
                  <a:lnTo>
                    <a:pt x="702" y="162"/>
                  </a:lnTo>
                  <a:lnTo>
                    <a:pt x="749" y="151"/>
                  </a:lnTo>
                  <a:lnTo>
                    <a:pt x="746" y="128"/>
                  </a:lnTo>
                  <a:lnTo>
                    <a:pt x="738" y="92"/>
                  </a:lnTo>
                  <a:lnTo>
                    <a:pt x="702" y="89"/>
                  </a:lnTo>
                  <a:lnTo>
                    <a:pt x="681" y="65"/>
                  </a:lnTo>
                  <a:lnTo>
                    <a:pt x="694" y="42"/>
                  </a:lnTo>
                  <a:lnTo>
                    <a:pt x="695" y="21"/>
                  </a:lnTo>
                  <a:lnTo>
                    <a:pt x="671" y="9"/>
                  </a:lnTo>
                  <a:lnTo>
                    <a:pt x="626" y="9"/>
                  </a:lnTo>
                  <a:lnTo>
                    <a:pt x="606" y="32"/>
                  </a:lnTo>
                  <a:lnTo>
                    <a:pt x="558" y="52"/>
                  </a:lnTo>
                  <a:lnTo>
                    <a:pt x="541" y="35"/>
                  </a:lnTo>
                  <a:lnTo>
                    <a:pt x="521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16</a:t>
              </a:r>
            </a:p>
          </p:txBody>
        </p:sp>
        <p:sp>
          <p:nvSpPr>
            <p:cNvPr id="53" name="FR-79">
              <a:extLst>
                <a:ext uri="{FF2B5EF4-FFF2-40B4-BE49-F238E27FC236}">
                  <a16:creationId xmlns:a16="http://schemas.microsoft.com/office/drawing/2014/main" id="{EB65C621-4788-48E9-ADD2-5DA6EAE5C76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770984" y="4652887"/>
              <a:ext cx="257779" cy="379341"/>
            </a:xfrm>
            <a:custGeom>
              <a:avLst/>
              <a:gdLst>
                <a:gd name="T0" fmla="*/ 308 w 558"/>
                <a:gd name="T1" fmla="*/ 2 h 861"/>
                <a:gd name="T2" fmla="*/ 172 w 558"/>
                <a:gd name="T3" fmla="*/ 21 h 861"/>
                <a:gd name="T4" fmla="*/ 136 w 558"/>
                <a:gd name="T5" fmla="*/ 81 h 861"/>
                <a:gd name="T6" fmla="*/ 0 w 558"/>
                <a:gd name="T7" fmla="*/ 86 h 861"/>
                <a:gd name="T8" fmla="*/ 26 w 558"/>
                <a:gd name="T9" fmla="*/ 154 h 861"/>
                <a:gd name="T10" fmla="*/ 73 w 558"/>
                <a:gd name="T11" fmla="*/ 239 h 861"/>
                <a:gd name="T12" fmla="*/ 97 w 558"/>
                <a:gd name="T13" fmla="*/ 310 h 861"/>
                <a:gd name="T14" fmla="*/ 130 w 558"/>
                <a:gd name="T15" fmla="*/ 421 h 861"/>
                <a:gd name="T16" fmla="*/ 133 w 558"/>
                <a:gd name="T17" fmla="*/ 474 h 861"/>
                <a:gd name="T18" fmla="*/ 118 w 558"/>
                <a:gd name="T19" fmla="*/ 529 h 861"/>
                <a:gd name="T20" fmla="*/ 164 w 558"/>
                <a:gd name="T21" fmla="*/ 539 h 861"/>
                <a:gd name="T22" fmla="*/ 115 w 558"/>
                <a:gd name="T23" fmla="*/ 578 h 861"/>
                <a:gd name="T24" fmla="*/ 53 w 558"/>
                <a:gd name="T25" fmla="*/ 601 h 861"/>
                <a:gd name="T26" fmla="*/ 51 w 558"/>
                <a:gd name="T27" fmla="*/ 638 h 861"/>
                <a:gd name="T28" fmla="*/ 80 w 558"/>
                <a:gd name="T29" fmla="*/ 686 h 861"/>
                <a:gd name="T30" fmla="*/ 176 w 558"/>
                <a:gd name="T31" fmla="*/ 720 h 861"/>
                <a:gd name="T32" fmla="*/ 272 w 558"/>
                <a:gd name="T33" fmla="*/ 762 h 861"/>
                <a:gd name="T34" fmla="*/ 357 w 558"/>
                <a:gd name="T35" fmla="*/ 813 h 861"/>
                <a:gd name="T36" fmla="*/ 383 w 558"/>
                <a:gd name="T37" fmla="*/ 861 h 861"/>
                <a:gd name="T38" fmla="*/ 403 w 558"/>
                <a:gd name="T39" fmla="*/ 833 h 861"/>
                <a:gd name="T40" fmla="*/ 422 w 558"/>
                <a:gd name="T41" fmla="*/ 791 h 861"/>
                <a:gd name="T42" fmla="*/ 502 w 558"/>
                <a:gd name="T43" fmla="*/ 759 h 861"/>
                <a:gd name="T44" fmla="*/ 558 w 558"/>
                <a:gd name="T45" fmla="*/ 725 h 861"/>
                <a:gd name="T46" fmla="*/ 499 w 558"/>
                <a:gd name="T47" fmla="*/ 683 h 861"/>
                <a:gd name="T48" fmla="*/ 530 w 558"/>
                <a:gd name="T49" fmla="*/ 629 h 861"/>
                <a:gd name="T50" fmla="*/ 513 w 558"/>
                <a:gd name="T51" fmla="*/ 575 h 861"/>
                <a:gd name="T52" fmla="*/ 490 w 558"/>
                <a:gd name="T53" fmla="*/ 601 h 861"/>
                <a:gd name="T54" fmla="*/ 456 w 558"/>
                <a:gd name="T55" fmla="*/ 592 h 861"/>
                <a:gd name="T56" fmla="*/ 462 w 558"/>
                <a:gd name="T57" fmla="*/ 556 h 861"/>
                <a:gd name="T58" fmla="*/ 442 w 558"/>
                <a:gd name="T59" fmla="*/ 482 h 861"/>
                <a:gd name="T60" fmla="*/ 431 w 558"/>
                <a:gd name="T61" fmla="*/ 459 h 861"/>
                <a:gd name="T62" fmla="*/ 450 w 558"/>
                <a:gd name="T63" fmla="*/ 416 h 861"/>
                <a:gd name="T64" fmla="*/ 453 w 558"/>
                <a:gd name="T65" fmla="*/ 366 h 861"/>
                <a:gd name="T66" fmla="*/ 453 w 558"/>
                <a:gd name="T67" fmla="*/ 312 h 861"/>
                <a:gd name="T68" fmla="*/ 462 w 558"/>
                <a:gd name="T69" fmla="*/ 275 h 861"/>
                <a:gd name="T70" fmla="*/ 442 w 558"/>
                <a:gd name="T71" fmla="*/ 244 h 861"/>
                <a:gd name="T72" fmla="*/ 445 w 558"/>
                <a:gd name="T73" fmla="*/ 210 h 861"/>
                <a:gd name="T74" fmla="*/ 448 w 558"/>
                <a:gd name="T75" fmla="*/ 159 h 861"/>
                <a:gd name="T76" fmla="*/ 436 w 558"/>
                <a:gd name="T77" fmla="*/ 85 h 861"/>
                <a:gd name="T78" fmla="*/ 410 w 558"/>
                <a:gd name="T79" fmla="*/ 24 h 861"/>
                <a:gd name="T80" fmla="*/ 386 w 558"/>
                <a:gd name="T81" fmla="*/ 18 h 86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558"/>
                <a:gd name="T124" fmla="*/ 0 h 861"/>
                <a:gd name="T125" fmla="*/ 558 w 558"/>
                <a:gd name="T126" fmla="*/ 861 h 861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558" h="861">
                  <a:moveTo>
                    <a:pt x="378" y="0"/>
                  </a:moveTo>
                  <a:lnTo>
                    <a:pt x="308" y="2"/>
                  </a:lnTo>
                  <a:lnTo>
                    <a:pt x="243" y="15"/>
                  </a:lnTo>
                  <a:lnTo>
                    <a:pt x="172" y="21"/>
                  </a:lnTo>
                  <a:lnTo>
                    <a:pt x="172" y="57"/>
                  </a:lnTo>
                  <a:lnTo>
                    <a:pt x="136" y="81"/>
                  </a:lnTo>
                  <a:lnTo>
                    <a:pt x="55" y="62"/>
                  </a:lnTo>
                  <a:lnTo>
                    <a:pt x="0" y="86"/>
                  </a:lnTo>
                  <a:lnTo>
                    <a:pt x="26" y="122"/>
                  </a:lnTo>
                  <a:lnTo>
                    <a:pt x="26" y="154"/>
                  </a:lnTo>
                  <a:lnTo>
                    <a:pt x="89" y="206"/>
                  </a:lnTo>
                  <a:lnTo>
                    <a:pt x="73" y="239"/>
                  </a:lnTo>
                  <a:lnTo>
                    <a:pt x="115" y="286"/>
                  </a:lnTo>
                  <a:lnTo>
                    <a:pt x="97" y="310"/>
                  </a:lnTo>
                  <a:lnTo>
                    <a:pt x="123" y="349"/>
                  </a:lnTo>
                  <a:lnTo>
                    <a:pt x="130" y="421"/>
                  </a:lnTo>
                  <a:lnTo>
                    <a:pt x="115" y="442"/>
                  </a:lnTo>
                  <a:lnTo>
                    <a:pt x="133" y="474"/>
                  </a:lnTo>
                  <a:lnTo>
                    <a:pt x="115" y="508"/>
                  </a:lnTo>
                  <a:lnTo>
                    <a:pt x="118" y="529"/>
                  </a:lnTo>
                  <a:lnTo>
                    <a:pt x="138" y="513"/>
                  </a:lnTo>
                  <a:lnTo>
                    <a:pt x="164" y="539"/>
                  </a:lnTo>
                  <a:lnTo>
                    <a:pt x="128" y="562"/>
                  </a:lnTo>
                  <a:lnTo>
                    <a:pt x="115" y="578"/>
                  </a:lnTo>
                  <a:lnTo>
                    <a:pt x="86" y="586"/>
                  </a:lnTo>
                  <a:lnTo>
                    <a:pt x="53" y="601"/>
                  </a:lnTo>
                  <a:lnTo>
                    <a:pt x="50" y="599"/>
                  </a:lnTo>
                  <a:lnTo>
                    <a:pt x="51" y="638"/>
                  </a:lnTo>
                  <a:lnTo>
                    <a:pt x="80" y="669"/>
                  </a:lnTo>
                  <a:lnTo>
                    <a:pt x="80" y="686"/>
                  </a:lnTo>
                  <a:lnTo>
                    <a:pt x="122" y="717"/>
                  </a:lnTo>
                  <a:lnTo>
                    <a:pt x="176" y="720"/>
                  </a:lnTo>
                  <a:lnTo>
                    <a:pt x="213" y="768"/>
                  </a:lnTo>
                  <a:lnTo>
                    <a:pt x="272" y="762"/>
                  </a:lnTo>
                  <a:lnTo>
                    <a:pt x="320" y="796"/>
                  </a:lnTo>
                  <a:lnTo>
                    <a:pt x="357" y="813"/>
                  </a:lnTo>
                  <a:lnTo>
                    <a:pt x="363" y="841"/>
                  </a:lnTo>
                  <a:lnTo>
                    <a:pt x="383" y="861"/>
                  </a:lnTo>
                  <a:lnTo>
                    <a:pt x="408" y="847"/>
                  </a:lnTo>
                  <a:lnTo>
                    <a:pt x="403" y="833"/>
                  </a:lnTo>
                  <a:lnTo>
                    <a:pt x="422" y="810"/>
                  </a:lnTo>
                  <a:lnTo>
                    <a:pt x="422" y="791"/>
                  </a:lnTo>
                  <a:lnTo>
                    <a:pt x="456" y="782"/>
                  </a:lnTo>
                  <a:lnTo>
                    <a:pt x="502" y="759"/>
                  </a:lnTo>
                  <a:lnTo>
                    <a:pt x="550" y="751"/>
                  </a:lnTo>
                  <a:lnTo>
                    <a:pt x="558" y="725"/>
                  </a:lnTo>
                  <a:lnTo>
                    <a:pt x="518" y="714"/>
                  </a:lnTo>
                  <a:lnTo>
                    <a:pt x="499" y="683"/>
                  </a:lnTo>
                  <a:lnTo>
                    <a:pt x="513" y="649"/>
                  </a:lnTo>
                  <a:lnTo>
                    <a:pt x="530" y="629"/>
                  </a:lnTo>
                  <a:lnTo>
                    <a:pt x="530" y="586"/>
                  </a:lnTo>
                  <a:lnTo>
                    <a:pt x="513" y="575"/>
                  </a:lnTo>
                  <a:lnTo>
                    <a:pt x="490" y="586"/>
                  </a:lnTo>
                  <a:lnTo>
                    <a:pt x="490" y="601"/>
                  </a:lnTo>
                  <a:lnTo>
                    <a:pt x="479" y="618"/>
                  </a:lnTo>
                  <a:lnTo>
                    <a:pt x="456" y="592"/>
                  </a:lnTo>
                  <a:lnTo>
                    <a:pt x="453" y="575"/>
                  </a:lnTo>
                  <a:lnTo>
                    <a:pt x="462" y="556"/>
                  </a:lnTo>
                  <a:lnTo>
                    <a:pt x="442" y="541"/>
                  </a:lnTo>
                  <a:lnTo>
                    <a:pt x="442" y="482"/>
                  </a:lnTo>
                  <a:lnTo>
                    <a:pt x="431" y="479"/>
                  </a:lnTo>
                  <a:lnTo>
                    <a:pt x="431" y="459"/>
                  </a:lnTo>
                  <a:lnTo>
                    <a:pt x="448" y="431"/>
                  </a:lnTo>
                  <a:lnTo>
                    <a:pt x="450" y="416"/>
                  </a:lnTo>
                  <a:lnTo>
                    <a:pt x="462" y="386"/>
                  </a:lnTo>
                  <a:lnTo>
                    <a:pt x="453" y="366"/>
                  </a:lnTo>
                  <a:lnTo>
                    <a:pt x="425" y="354"/>
                  </a:lnTo>
                  <a:lnTo>
                    <a:pt x="453" y="312"/>
                  </a:lnTo>
                  <a:lnTo>
                    <a:pt x="462" y="289"/>
                  </a:lnTo>
                  <a:lnTo>
                    <a:pt x="462" y="275"/>
                  </a:lnTo>
                  <a:lnTo>
                    <a:pt x="442" y="252"/>
                  </a:lnTo>
                  <a:lnTo>
                    <a:pt x="442" y="244"/>
                  </a:lnTo>
                  <a:lnTo>
                    <a:pt x="453" y="224"/>
                  </a:lnTo>
                  <a:lnTo>
                    <a:pt x="445" y="210"/>
                  </a:lnTo>
                  <a:lnTo>
                    <a:pt x="462" y="190"/>
                  </a:lnTo>
                  <a:lnTo>
                    <a:pt x="448" y="159"/>
                  </a:lnTo>
                  <a:lnTo>
                    <a:pt x="439" y="114"/>
                  </a:lnTo>
                  <a:lnTo>
                    <a:pt x="436" y="85"/>
                  </a:lnTo>
                  <a:lnTo>
                    <a:pt x="414" y="88"/>
                  </a:lnTo>
                  <a:lnTo>
                    <a:pt x="410" y="24"/>
                  </a:lnTo>
                  <a:lnTo>
                    <a:pt x="404" y="34"/>
                  </a:lnTo>
                  <a:lnTo>
                    <a:pt x="386" y="18"/>
                  </a:lnTo>
                  <a:lnTo>
                    <a:pt x="37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79</a:t>
              </a:r>
            </a:p>
          </p:txBody>
        </p:sp>
        <p:sp>
          <p:nvSpPr>
            <p:cNvPr id="54" name="FR-22">
              <a:extLst>
                <a:ext uri="{FF2B5EF4-FFF2-40B4-BE49-F238E27FC236}">
                  <a16:creationId xmlns:a16="http://schemas.microsoft.com/office/drawing/2014/main" id="{7123A36E-942A-4C42-B0E7-373A36C3B3F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151945" y="4029023"/>
              <a:ext cx="401451" cy="271399"/>
            </a:xfrm>
            <a:custGeom>
              <a:avLst/>
              <a:gdLst>
                <a:gd name="T0" fmla="*/ 202 w 869"/>
                <a:gd name="T1" fmla="*/ 18 h 616"/>
                <a:gd name="T2" fmla="*/ 129 w 869"/>
                <a:gd name="T3" fmla="*/ 44 h 616"/>
                <a:gd name="T4" fmla="*/ 33 w 869"/>
                <a:gd name="T5" fmla="*/ 50 h 616"/>
                <a:gd name="T6" fmla="*/ 17 w 869"/>
                <a:gd name="T7" fmla="*/ 127 h 616"/>
                <a:gd name="T8" fmla="*/ 0 w 869"/>
                <a:gd name="T9" fmla="*/ 197 h 616"/>
                <a:gd name="T10" fmla="*/ 30 w 869"/>
                <a:gd name="T11" fmla="*/ 227 h 616"/>
                <a:gd name="T12" fmla="*/ 33 w 869"/>
                <a:gd name="T13" fmla="*/ 263 h 616"/>
                <a:gd name="T14" fmla="*/ 20 w 869"/>
                <a:gd name="T15" fmla="*/ 300 h 616"/>
                <a:gd name="T16" fmla="*/ 22 w 869"/>
                <a:gd name="T17" fmla="*/ 319 h 616"/>
                <a:gd name="T18" fmla="*/ 41 w 869"/>
                <a:gd name="T19" fmla="*/ 377 h 616"/>
                <a:gd name="T20" fmla="*/ 33 w 869"/>
                <a:gd name="T21" fmla="*/ 465 h 616"/>
                <a:gd name="T22" fmla="*/ 84 w 869"/>
                <a:gd name="T23" fmla="*/ 515 h 616"/>
                <a:gd name="T24" fmla="*/ 114 w 869"/>
                <a:gd name="T25" fmla="*/ 538 h 616"/>
                <a:gd name="T26" fmla="*/ 149 w 869"/>
                <a:gd name="T27" fmla="*/ 536 h 616"/>
                <a:gd name="T28" fmla="*/ 239 w 869"/>
                <a:gd name="T29" fmla="*/ 536 h 616"/>
                <a:gd name="T30" fmla="*/ 284 w 869"/>
                <a:gd name="T31" fmla="*/ 512 h 616"/>
                <a:gd name="T32" fmla="*/ 360 w 869"/>
                <a:gd name="T33" fmla="*/ 538 h 616"/>
                <a:gd name="T34" fmla="*/ 407 w 869"/>
                <a:gd name="T35" fmla="*/ 571 h 616"/>
                <a:gd name="T36" fmla="*/ 452 w 869"/>
                <a:gd name="T37" fmla="*/ 590 h 616"/>
                <a:gd name="T38" fmla="*/ 475 w 869"/>
                <a:gd name="T39" fmla="*/ 603 h 616"/>
                <a:gd name="T40" fmla="*/ 549 w 869"/>
                <a:gd name="T41" fmla="*/ 590 h 616"/>
                <a:gd name="T42" fmla="*/ 579 w 869"/>
                <a:gd name="T43" fmla="*/ 551 h 616"/>
                <a:gd name="T44" fmla="*/ 622 w 869"/>
                <a:gd name="T45" fmla="*/ 595 h 616"/>
                <a:gd name="T46" fmla="*/ 699 w 869"/>
                <a:gd name="T47" fmla="*/ 566 h 616"/>
                <a:gd name="T48" fmla="*/ 764 w 869"/>
                <a:gd name="T49" fmla="*/ 493 h 616"/>
                <a:gd name="T50" fmla="*/ 803 w 869"/>
                <a:gd name="T51" fmla="*/ 485 h 616"/>
                <a:gd name="T52" fmla="*/ 856 w 869"/>
                <a:gd name="T53" fmla="*/ 358 h 616"/>
                <a:gd name="T54" fmla="*/ 856 w 869"/>
                <a:gd name="T55" fmla="*/ 285 h 616"/>
                <a:gd name="T56" fmla="*/ 820 w 869"/>
                <a:gd name="T57" fmla="*/ 197 h 616"/>
                <a:gd name="T58" fmla="*/ 754 w 869"/>
                <a:gd name="T59" fmla="*/ 211 h 616"/>
                <a:gd name="T60" fmla="*/ 718 w 869"/>
                <a:gd name="T61" fmla="*/ 242 h 616"/>
                <a:gd name="T62" fmla="*/ 689 w 869"/>
                <a:gd name="T63" fmla="*/ 198 h 616"/>
                <a:gd name="T64" fmla="*/ 670 w 869"/>
                <a:gd name="T65" fmla="*/ 167 h 616"/>
                <a:gd name="T66" fmla="*/ 593 w 869"/>
                <a:gd name="T67" fmla="*/ 182 h 616"/>
                <a:gd name="T68" fmla="*/ 480 w 869"/>
                <a:gd name="T69" fmla="*/ 265 h 616"/>
                <a:gd name="T70" fmla="*/ 460 w 869"/>
                <a:gd name="T71" fmla="*/ 292 h 616"/>
                <a:gd name="T72" fmla="*/ 405 w 869"/>
                <a:gd name="T73" fmla="*/ 219 h 616"/>
                <a:gd name="T74" fmla="*/ 361 w 869"/>
                <a:gd name="T75" fmla="*/ 135 h 616"/>
                <a:gd name="T76" fmla="*/ 324 w 869"/>
                <a:gd name="T77" fmla="*/ 83 h 616"/>
                <a:gd name="T78" fmla="*/ 298 w 869"/>
                <a:gd name="T79" fmla="*/ 39 h 616"/>
                <a:gd name="T80" fmla="*/ 249 w 869"/>
                <a:gd name="T81" fmla="*/ 10 h 616"/>
                <a:gd name="T82" fmla="*/ 225 w 869"/>
                <a:gd name="T83" fmla="*/ 0 h 61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869"/>
                <a:gd name="T127" fmla="*/ 0 h 616"/>
                <a:gd name="T128" fmla="*/ 869 w 869"/>
                <a:gd name="T129" fmla="*/ 616 h 61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869" h="616">
                  <a:moveTo>
                    <a:pt x="225" y="0"/>
                  </a:moveTo>
                  <a:lnTo>
                    <a:pt x="202" y="18"/>
                  </a:lnTo>
                  <a:lnTo>
                    <a:pt x="142" y="26"/>
                  </a:lnTo>
                  <a:lnTo>
                    <a:pt x="129" y="44"/>
                  </a:lnTo>
                  <a:lnTo>
                    <a:pt x="87" y="13"/>
                  </a:lnTo>
                  <a:lnTo>
                    <a:pt x="33" y="50"/>
                  </a:lnTo>
                  <a:lnTo>
                    <a:pt x="53" y="78"/>
                  </a:lnTo>
                  <a:lnTo>
                    <a:pt x="17" y="127"/>
                  </a:lnTo>
                  <a:lnTo>
                    <a:pt x="15" y="127"/>
                  </a:lnTo>
                  <a:lnTo>
                    <a:pt x="0" y="197"/>
                  </a:lnTo>
                  <a:lnTo>
                    <a:pt x="33" y="199"/>
                  </a:lnTo>
                  <a:lnTo>
                    <a:pt x="30" y="227"/>
                  </a:lnTo>
                  <a:lnTo>
                    <a:pt x="54" y="242"/>
                  </a:lnTo>
                  <a:lnTo>
                    <a:pt x="33" y="263"/>
                  </a:lnTo>
                  <a:lnTo>
                    <a:pt x="18" y="274"/>
                  </a:lnTo>
                  <a:lnTo>
                    <a:pt x="20" y="300"/>
                  </a:lnTo>
                  <a:lnTo>
                    <a:pt x="52" y="310"/>
                  </a:lnTo>
                  <a:lnTo>
                    <a:pt x="22" y="319"/>
                  </a:lnTo>
                  <a:lnTo>
                    <a:pt x="22" y="351"/>
                  </a:lnTo>
                  <a:lnTo>
                    <a:pt x="41" y="377"/>
                  </a:lnTo>
                  <a:lnTo>
                    <a:pt x="45" y="452"/>
                  </a:lnTo>
                  <a:lnTo>
                    <a:pt x="33" y="465"/>
                  </a:lnTo>
                  <a:lnTo>
                    <a:pt x="43" y="504"/>
                  </a:lnTo>
                  <a:lnTo>
                    <a:pt x="84" y="515"/>
                  </a:lnTo>
                  <a:lnTo>
                    <a:pt x="88" y="536"/>
                  </a:lnTo>
                  <a:lnTo>
                    <a:pt x="114" y="538"/>
                  </a:lnTo>
                  <a:lnTo>
                    <a:pt x="136" y="523"/>
                  </a:lnTo>
                  <a:lnTo>
                    <a:pt x="149" y="536"/>
                  </a:lnTo>
                  <a:lnTo>
                    <a:pt x="198" y="558"/>
                  </a:lnTo>
                  <a:lnTo>
                    <a:pt x="239" y="536"/>
                  </a:lnTo>
                  <a:lnTo>
                    <a:pt x="250" y="515"/>
                  </a:lnTo>
                  <a:lnTo>
                    <a:pt x="284" y="512"/>
                  </a:lnTo>
                  <a:lnTo>
                    <a:pt x="323" y="547"/>
                  </a:lnTo>
                  <a:lnTo>
                    <a:pt x="360" y="538"/>
                  </a:lnTo>
                  <a:lnTo>
                    <a:pt x="392" y="571"/>
                  </a:lnTo>
                  <a:lnTo>
                    <a:pt x="407" y="571"/>
                  </a:lnTo>
                  <a:lnTo>
                    <a:pt x="422" y="590"/>
                  </a:lnTo>
                  <a:lnTo>
                    <a:pt x="452" y="590"/>
                  </a:lnTo>
                  <a:lnTo>
                    <a:pt x="463" y="575"/>
                  </a:lnTo>
                  <a:lnTo>
                    <a:pt x="475" y="603"/>
                  </a:lnTo>
                  <a:lnTo>
                    <a:pt x="508" y="616"/>
                  </a:lnTo>
                  <a:lnTo>
                    <a:pt x="549" y="590"/>
                  </a:lnTo>
                  <a:lnTo>
                    <a:pt x="549" y="562"/>
                  </a:lnTo>
                  <a:lnTo>
                    <a:pt x="579" y="551"/>
                  </a:lnTo>
                  <a:lnTo>
                    <a:pt x="598" y="551"/>
                  </a:lnTo>
                  <a:lnTo>
                    <a:pt x="622" y="595"/>
                  </a:lnTo>
                  <a:lnTo>
                    <a:pt x="673" y="599"/>
                  </a:lnTo>
                  <a:lnTo>
                    <a:pt x="699" y="566"/>
                  </a:lnTo>
                  <a:lnTo>
                    <a:pt x="727" y="506"/>
                  </a:lnTo>
                  <a:lnTo>
                    <a:pt x="764" y="493"/>
                  </a:lnTo>
                  <a:lnTo>
                    <a:pt x="783" y="465"/>
                  </a:lnTo>
                  <a:lnTo>
                    <a:pt x="803" y="485"/>
                  </a:lnTo>
                  <a:lnTo>
                    <a:pt x="843" y="476"/>
                  </a:lnTo>
                  <a:lnTo>
                    <a:pt x="856" y="358"/>
                  </a:lnTo>
                  <a:lnTo>
                    <a:pt x="869" y="310"/>
                  </a:lnTo>
                  <a:lnTo>
                    <a:pt x="856" y="285"/>
                  </a:lnTo>
                  <a:lnTo>
                    <a:pt x="835" y="276"/>
                  </a:lnTo>
                  <a:lnTo>
                    <a:pt x="820" y="197"/>
                  </a:lnTo>
                  <a:lnTo>
                    <a:pt x="803" y="216"/>
                  </a:lnTo>
                  <a:lnTo>
                    <a:pt x="754" y="211"/>
                  </a:lnTo>
                  <a:lnTo>
                    <a:pt x="749" y="240"/>
                  </a:lnTo>
                  <a:lnTo>
                    <a:pt x="718" y="242"/>
                  </a:lnTo>
                  <a:lnTo>
                    <a:pt x="715" y="206"/>
                  </a:lnTo>
                  <a:lnTo>
                    <a:pt x="689" y="198"/>
                  </a:lnTo>
                  <a:lnTo>
                    <a:pt x="670" y="219"/>
                  </a:lnTo>
                  <a:lnTo>
                    <a:pt x="670" y="167"/>
                  </a:lnTo>
                  <a:lnTo>
                    <a:pt x="639" y="190"/>
                  </a:lnTo>
                  <a:lnTo>
                    <a:pt x="593" y="182"/>
                  </a:lnTo>
                  <a:lnTo>
                    <a:pt x="577" y="213"/>
                  </a:lnTo>
                  <a:lnTo>
                    <a:pt x="480" y="265"/>
                  </a:lnTo>
                  <a:lnTo>
                    <a:pt x="480" y="292"/>
                  </a:lnTo>
                  <a:lnTo>
                    <a:pt x="460" y="292"/>
                  </a:lnTo>
                  <a:lnTo>
                    <a:pt x="460" y="245"/>
                  </a:lnTo>
                  <a:lnTo>
                    <a:pt x="405" y="219"/>
                  </a:lnTo>
                  <a:lnTo>
                    <a:pt x="410" y="172"/>
                  </a:lnTo>
                  <a:lnTo>
                    <a:pt x="361" y="135"/>
                  </a:lnTo>
                  <a:lnTo>
                    <a:pt x="361" y="91"/>
                  </a:lnTo>
                  <a:lnTo>
                    <a:pt x="324" y="83"/>
                  </a:lnTo>
                  <a:lnTo>
                    <a:pt x="327" y="42"/>
                  </a:lnTo>
                  <a:lnTo>
                    <a:pt x="298" y="39"/>
                  </a:lnTo>
                  <a:lnTo>
                    <a:pt x="301" y="10"/>
                  </a:lnTo>
                  <a:lnTo>
                    <a:pt x="249" y="10"/>
                  </a:lnTo>
                  <a:lnTo>
                    <a:pt x="241" y="36"/>
                  </a:lnTo>
                  <a:lnTo>
                    <a:pt x="225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22</a:t>
              </a:r>
            </a:p>
          </p:txBody>
        </p:sp>
        <p:sp>
          <p:nvSpPr>
            <p:cNvPr id="55" name="FR-85">
              <a:extLst>
                <a:ext uri="{FF2B5EF4-FFF2-40B4-BE49-F238E27FC236}">
                  <a16:creationId xmlns:a16="http://schemas.microsoft.com/office/drawing/2014/main" id="{DB407CF6-06E1-4C59-9F28-4AD25CF517C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462850" y="4653768"/>
              <a:ext cx="383897" cy="273601"/>
            </a:xfrm>
            <a:custGeom>
              <a:avLst/>
              <a:gdLst>
                <a:gd name="T0" fmla="*/ 454 w 831"/>
                <a:gd name="T1" fmla="*/ 28 h 621"/>
                <a:gd name="T2" fmla="*/ 428 w 831"/>
                <a:gd name="T3" fmla="*/ 45 h 621"/>
                <a:gd name="T4" fmla="*/ 377 w 831"/>
                <a:gd name="T5" fmla="*/ 101 h 621"/>
                <a:gd name="T6" fmla="*/ 368 w 831"/>
                <a:gd name="T7" fmla="*/ 47 h 621"/>
                <a:gd name="T8" fmla="*/ 334 w 831"/>
                <a:gd name="T9" fmla="*/ 24 h 621"/>
                <a:gd name="T10" fmla="*/ 325 w 831"/>
                <a:gd name="T11" fmla="*/ 103 h 621"/>
                <a:gd name="T12" fmla="*/ 325 w 831"/>
                <a:gd name="T13" fmla="*/ 153 h 621"/>
                <a:gd name="T14" fmla="*/ 235 w 831"/>
                <a:gd name="T15" fmla="*/ 133 h 621"/>
                <a:gd name="T16" fmla="*/ 185 w 831"/>
                <a:gd name="T17" fmla="*/ 88 h 621"/>
                <a:gd name="T18" fmla="*/ 130 w 831"/>
                <a:gd name="T19" fmla="*/ 43 h 621"/>
                <a:gd name="T20" fmla="*/ 3 w 831"/>
                <a:gd name="T21" fmla="*/ 111 h 621"/>
                <a:gd name="T22" fmla="*/ 81 w 831"/>
                <a:gd name="T23" fmla="*/ 251 h 621"/>
                <a:gd name="T24" fmla="*/ 102 w 831"/>
                <a:gd name="T25" fmla="*/ 274 h 621"/>
                <a:gd name="T26" fmla="*/ 203 w 831"/>
                <a:gd name="T27" fmla="*/ 449 h 621"/>
                <a:gd name="T28" fmla="*/ 315 w 831"/>
                <a:gd name="T29" fmla="*/ 501 h 621"/>
                <a:gd name="T30" fmla="*/ 396 w 831"/>
                <a:gd name="T31" fmla="*/ 553 h 621"/>
                <a:gd name="T32" fmla="*/ 480 w 831"/>
                <a:gd name="T33" fmla="*/ 621 h 621"/>
                <a:gd name="T34" fmla="*/ 497 w 831"/>
                <a:gd name="T35" fmla="*/ 598 h 621"/>
                <a:gd name="T36" fmla="*/ 613 w 831"/>
                <a:gd name="T37" fmla="*/ 547 h 621"/>
                <a:gd name="T38" fmla="*/ 678 w 831"/>
                <a:gd name="T39" fmla="*/ 568 h 621"/>
                <a:gd name="T40" fmla="*/ 753 w 831"/>
                <a:gd name="T41" fmla="*/ 584 h 621"/>
                <a:gd name="T42" fmla="*/ 795 w 831"/>
                <a:gd name="T43" fmla="*/ 560 h 621"/>
                <a:gd name="T44" fmla="*/ 805 w 831"/>
                <a:gd name="T45" fmla="*/ 511 h 621"/>
                <a:gd name="T46" fmla="*/ 782 w 831"/>
                <a:gd name="T47" fmla="*/ 506 h 621"/>
                <a:gd name="T48" fmla="*/ 782 w 831"/>
                <a:gd name="T49" fmla="*/ 440 h 621"/>
                <a:gd name="T50" fmla="*/ 790 w 831"/>
                <a:gd name="T51" fmla="*/ 347 h 621"/>
                <a:gd name="T52" fmla="*/ 782 w 831"/>
                <a:gd name="T53" fmla="*/ 284 h 621"/>
                <a:gd name="T54" fmla="*/ 756 w 831"/>
                <a:gd name="T55" fmla="*/ 204 h 621"/>
                <a:gd name="T56" fmla="*/ 693 w 831"/>
                <a:gd name="T57" fmla="*/ 120 h 621"/>
                <a:gd name="T58" fmla="*/ 672 w 831"/>
                <a:gd name="T59" fmla="*/ 82 h 621"/>
                <a:gd name="T60" fmla="*/ 570 w 831"/>
                <a:gd name="T61" fmla="*/ 52 h 621"/>
                <a:gd name="T62" fmla="*/ 519 w 831"/>
                <a:gd name="T63" fmla="*/ 34 h 621"/>
                <a:gd name="T64" fmla="*/ 469 w 831"/>
                <a:gd name="T65" fmla="*/ 0 h 6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831"/>
                <a:gd name="T100" fmla="*/ 0 h 621"/>
                <a:gd name="T101" fmla="*/ 831 w 831"/>
                <a:gd name="T102" fmla="*/ 621 h 62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831" h="621">
                  <a:moveTo>
                    <a:pt x="469" y="0"/>
                  </a:moveTo>
                  <a:lnTo>
                    <a:pt x="454" y="28"/>
                  </a:lnTo>
                  <a:lnTo>
                    <a:pt x="411" y="28"/>
                  </a:lnTo>
                  <a:lnTo>
                    <a:pt x="428" y="45"/>
                  </a:lnTo>
                  <a:lnTo>
                    <a:pt x="415" y="88"/>
                  </a:lnTo>
                  <a:lnTo>
                    <a:pt x="377" y="101"/>
                  </a:lnTo>
                  <a:lnTo>
                    <a:pt x="362" y="90"/>
                  </a:lnTo>
                  <a:lnTo>
                    <a:pt x="368" y="47"/>
                  </a:lnTo>
                  <a:lnTo>
                    <a:pt x="357" y="24"/>
                  </a:lnTo>
                  <a:lnTo>
                    <a:pt x="334" y="24"/>
                  </a:lnTo>
                  <a:lnTo>
                    <a:pt x="317" y="43"/>
                  </a:lnTo>
                  <a:lnTo>
                    <a:pt x="325" y="103"/>
                  </a:lnTo>
                  <a:lnTo>
                    <a:pt x="345" y="131"/>
                  </a:lnTo>
                  <a:lnTo>
                    <a:pt x="325" y="153"/>
                  </a:lnTo>
                  <a:lnTo>
                    <a:pt x="289" y="146"/>
                  </a:lnTo>
                  <a:lnTo>
                    <a:pt x="235" y="133"/>
                  </a:lnTo>
                  <a:lnTo>
                    <a:pt x="220" y="92"/>
                  </a:lnTo>
                  <a:lnTo>
                    <a:pt x="185" y="88"/>
                  </a:lnTo>
                  <a:lnTo>
                    <a:pt x="140" y="69"/>
                  </a:lnTo>
                  <a:lnTo>
                    <a:pt x="130" y="43"/>
                  </a:lnTo>
                  <a:lnTo>
                    <a:pt x="80" y="11"/>
                  </a:lnTo>
                  <a:lnTo>
                    <a:pt x="3" y="111"/>
                  </a:lnTo>
                  <a:lnTo>
                    <a:pt x="0" y="173"/>
                  </a:lnTo>
                  <a:lnTo>
                    <a:pt x="81" y="251"/>
                  </a:lnTo>
                  <a:lnTo>
                    <a:pt x="78" y="274"/>
                  </a:lnTo>
                  <a:lnTo>
                    <a:pt x="102" y="274"/>
                  </a:lnTo>
                  <a:lnTo>
                    <a:pt x="151" y="423"/>
                  </a:lnTo>
                  <a:lnTo>
                    <a:pt x="203" y="449"/>
                  </a:lnTo>
                  <a:lnTo>
                    <a:pt x="255" y="501"/>
                  </a:lnTo>
                  <a:lnTo>
                    <a:pt x="315" y="501"/>
                  </a:lnTo>
                  <a:lnTo>
                    <a:pt x="339" y="553"/>
                  </a:lnTo>
                  <a:lnTo>
                    <a:pt x="396" y="553"/>
                  </a:lnTo>
                  <a:lnTo>
                    <a:pt x="422" y="592"/>
                  </a:lnTo>
                  <a:lnTo>
                    <a:pt x="480" y="621"/>
                  </a:lnTo>
                  <a:lnTo>
                    <a:pt x="482" y="584"/>
                  </a:lnTo>
                  <a:lnTo>
                    <a:pt x="497" y="598"/>
                  </a:lnTo>
                  <a:lnTo>
                    <a:pt x="576" y="550"/>
                  </a:lnTo>
                  <a:lnTo>
                    <a:pt x="613" y="547"/>
                  </a:lnTo>
                  <a:lnTo>
                    <a:pt x="628" y="589"/>
                  </a:lnTo>
                  <a:lnTo>
                    <a:pt x="678" y="568"/>
                  </a:lnTo>
                  <a:lnTo>
                    <a:pt x="720" y="599"/>
                  </a:lnTo>
                  <a:lnTo>
                    <a:pt x="753" y="584"/>
                  </a:lnTo>
                  <a:lnTo>
                    <a:pt x="782" y="576"/>
                  </a:lnTo>
                  <a:lnTo>
                    <a:pt x="795" y="560"/>
                  </a:lnTo>
                  <a:lnTo>
                    <a:pt x="831" y="537"/>
                  </a:lnTo>
                  <a:lnTo>
                    <a:pt x="805" y="511"/>
                  </a:lnTo>
                  <a:lnTo>
                    <a:pt x="785" y="527"/>
                  </a:lnTo>
                  <a:lnTo>
                    <a:pt x="782" y="506"/>
                  </a:lnTo>
                  <a:lnTo>
                    <a:pt x="800" y="472"/>
                  </a:lnTo>
                  <a:lnTo>
                    <a:pt x="782" y="440"/>
                  </a:lnTo>
                  <a:lnTo>
                    <a:pt x="797" y="419"/>
                  </a:lnTo>
                  <a:lnTo>
                    <a:pt x="790" y="347"/>
                  </a:lnTo>
                  <a:lnTo>
                    <a:pt x="764" y="308"/>
                  </a:lnTo>
                  <a:lnTo>
                    <a:pt x="782" y="284"/>
                  </a:lnTo>
                  <a:lnTo>
                    <a:pt x="740" y="237"/>
                  </a:lnTo>
                  <a:lnTo>
                    <a:pt x="756" y="204"/>
                  </a:lnTo>
                  <a:lnTo>
                    <a:pt x="693" y="152"/>
                  </a:lnTo>
                  <a:lnTo>
                    <a:pt x="693" y="120"/>
                  </a:lnTo>
                  <a:lnTo>
                    <a:pt x="667" y="84"/>
                  </a:lnTo>
                  <a:lnTo>
                    <a:pt x="672" y="82"/>
                  </a:lnTo>
                  <a:lnTo>
                    <a:pt x="637" y="52"/>
                  </a:lnTo>
                  <a:lnTo>
                    <a:pt x="570" y="52"/>
                  </a:lnTo>
                  <a:lnTo>
                    <a:pt x="549" y="39"/>
                  </a:lnTo>
                  <a:lnTo>
                    <a:pt x="519" y="34"/>
                  </a:lnTo>
                  <a:lnTo>
                    <a:pt x="484" y="2"/>
                  </a:lnTo>
                  <a:lnTo>
                    <a:pt x="469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85</a:t>
              </a:r>
            </a:p>
          </p:txBody>
        </p:sp>
        <p:sp>
          <p:nvSpPr>
            <p:cNvPr id="56" name="FR-50">
              <a:extLst>
                <a:ext uri="{FF2B5EF4-FFF2-40B4-BE49-F238E27FC236}">
                  <a16:creationId xmlns:a16="http://schemas.microsoft.com/office/drawing/2014/main" id="{C7BDFB80-3101-49F4-AAB6-E1A3B753482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558016" y="3760268"/>
              <a:ext cx="269790" cy="431330"/>
            </a:xfrm>
            <a:custGeom>
              <a:avLst/>
              <a:gdLst>
                <a:gd name="T0" fmla="*/ 0 w 584"/>
                <a:gd name="T1" fmla="*/ 27 h 979"/>
                <a:gd name="T2" fmla="*/ 55 w 584"/>
                <a:gd name="T3" fmla="*/ 128 h 979"/>
                <a:gd name="T4" fmla="*/ 47 w 584"/>
                <a:gd name="T5" fmla="*/ 167 h 979"/>
                <a:gd name="T6" fmla="*/ 49 w 584"/>
                <a:gd name="T7" fmla="*/ 222 h 979"/>
                <a:gd name="T8" fmla="*/ 128 w 584"/>
                <a:gd name="T9" fmla="*/ 331 h 979"/>
                <a:gd name="T10" fmla="*/ 154 w 584"/>
                <a:gd name="T11" fmla="*/ 410 h 979"/>
                <a:gd name="T12" fmla="*/ 185 w 584"/>
                <a:gd name="T13" fmla="*/ 566 h 979"/>
                <a:gd name="T14" fmla="*/ 151 w 584"/>
                <a:gd name="T15" fmla="*/ 706 h 979"/>
                <a:gd name="T16" fmla="*/ 245 w 584"/>
                <a:gd name="T17" fmla="*/ 813 h 979"/>
                <a:gd name="T18" fmla="*/ 221 w 584"/>
                <a:gd name="T19" fmla="*/ 852 h 979"/>
                <a:gd name="T20" fmla="*/ 180 w 584"/>
                <a:gd name="T21" fmla="*/ 885 h 979"/>
                <a:gd name="T22" fmla="*/ 240 w 584"/>
                <a:gd name="T23" fmla="*/ 974 h 979"/>
                <a:gd name="T24" fmla="*/ 282 w 584"/>
                <a:gd name="T25" fmla="*/ 950 h 979"/>
                <a:gd name="T26" fmla="*/ 334 w 584"/>
                <a:gd name="T27" fmla="*/ 914 h 979"/>
                <a:gd name="T28" fmla="*/ 391 w 584"/>
                <a:gd name="T29" fmla="*/ 935 h 979"/>
                <a:gd name="T30" fmla="*/ 412 w 584"/>
                <a:gd name="T31" fmla="*/ 950 h 979"/>
                <a:gd name="T32" fmla="*/ 482 w 584"/>
                <a:gd name="T33" fmla="*/ 935 h 979"/>
                <a:gd name="T34" fmla="*/ 522 w 584"/>
                <a:gd name="T35" fmla="*/ 952 h 979"/>
                <a:gd name="T36" fmla="*/ 581 w 584"/>
                <a:gd name="T37" fmla="*/ 865 h 979"/>
                <a:gd name="T38" fmla="*/ 584 w 584"/>
                <a:gd name="T39" fmla="*/ 817 h 979"/>
                <a:gd name="T40" fmla="*/ 491 w 584"/>
                <a:gd name="T41" fmla="*/ 748 h 979"/>
                <a:gd name="T42" fmla="*/ 392 w 584"/>
                <a:gd name="T43" fmla="*/ 682 h 979"/>
                <a:gd name="T44" fmla="*/ 450 w 584"/>
                <a:gd name="T45" fmla="*/ 635 h 979"/>
                <a:gd name="T46" fmla="*/ 448 w 584"/>
                <a:gd name="T47" fmla="*/ 598 h 979"/>
                <a:gd name="T48" fmla="*/ 502 w 584"/>
                <a:gd name="T49" fmla="*/ 592 h 979"/>
                <a:gd name="T50" fmla="*/ 532 w 584"/>
                <a:gd name="T51" fmla="*/ 523 h 979"/>
                <a:gd name="T52" fmla="*/ 526 w 584"/>
                <a:gd name="T53" fmla="*/ 482 h 979"/>
                <a:gd name="T54" fmla="*/ 528 w 584"/>
                <a:gd name="T55" fmla="*/ 422 h 979"/>
                <a:gd name="T56" fmla="*/ 489 w 584"/>
                <a:gd name="T57" fmla="*/ 428 h 979"/>
                <a:gd name="T58" fmla="*/ 409 w 584"/>
                <a:gd name="T59" fmla="*/ 361 h 979"/>
                <a:gd name="T60" fmla="*/ 422 w 584"/>
                <a:gd name="T61" fmla="*/ 325 h 979"/>
                <a:gd name="T62" fmla="*/ 393 w 584"/>
                <a:gd name="T63" fmla="*/ 302 h 979"/>
                <a:gd name="T64" fmla="*/ 323 w 584"/>
                <a:gd name="T65" fmla="*/ 160 h 979"/>
                <a:gd name="T66" fmla="*/ 372 w 584"/>
                <a:gd name="T67" fmla="*/ 107 h 979"/>
                <a:gd name="T68" fmla="*/ 234 w 584"/>
                <a:gd name="T69" fmla="*/ 32 h 979"/>
                <a:gd name="T70" fmla="*/ 107 w 584"/>
                <a:gd name="T71" fmla="*/ 29 h 97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584"/>
                <a:gd name="T109" fmla="*/ 0 h 979"/>
                <a:gd name="T110" fmla="*/ 584 w 584"/>
                <a:gd name="T111" fmla="*/ 979 h 979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584" h="979">
                  <a:moveTo>
                    <a:pt x="10" y="0"/>
                  </a:moveTo>
                  <a:lnTo>
                    <a:pt x="0" y="27"/>
                  </a:lnTo>
                  <a:lnTo>
                    <a:pt x="55" y="71"/>
                  </a:lnTo>
                  <a:lnTo>
                    <a:pt x="55" y="128"/>
                  </a:lnTo>
                  <a:lnTo>
                    <a:pt x="34" y="154"/>
                  </a:lnTo>
                  <a:lnTo>
                    <a:pt x="47" y="167"/>
                  </a:lnTo>
                  <a:lnTo>
                    <a:pt x="55" y="172"/>
                  </a:lnTo>
                  <a:lnTo>
                    <a:pt x="49" y="222"/>
                  </a:lnTo>
                  <a:lnTo>
                    <a:pt x="68" y="264"/>
                  </a:lnTo>
                  <a:lnTo>
                    <a:pt x="128" y="331"/>
                  </a:lnTo>
                  <a:lnTo>
                    <a:pt x="141" y="391"/>
                  </a:lnTo>
                  <a:lnTo>
                    <a:pt x="154" y="410"/>
                  </a:lnTo>
                  <a:lnTo>
                    <a:pt x="154" y="503"/>
                  </a:lnTo>
                  <a:lnTo>
                    <a:pt x="185" y="566"/>
                  </a:lnTo>
                  <a:lnTo>
                    <a:pt x="185" y="639"/>
                  </a:lnTo>
                  <a:lnTo>
                    <a:pt x="151" y="706"/>
                  </a:lnTo>
                  <a:lnTo>
                    <a:pt x="187" y="800"/>
                  </a:lnTo>
                  <a:lnTo>
                    <a:pt x="245" y="813"/>
                  </a:lnTo>
                  <a:lnTo>
                    <a:pt x="250" y="839"/>
                  </a:lnTo>
                  <a:lnTo>
                    <a:pt x="221" y="852"/>
                  </a:lnTo>
                  <a:lnTo>
                    <a:pt x="172" y="852"/>
                  </a:lnTo>
                  <a:lnTo>
                    <a:pt x="180" y="885"/>
                  </a:lnTo>
                  <a:lnTo>
                    <a:pt x="196" y="935"/>
                  </a:lnTo>
                  <a:lnTo>
                    <a:pt x="240" y="974"/>
                  </a:lnTo>
                  <a:lnTo>
                    <a:pt x="261" y="979"/>
                  </a:lnTo>
                  <a:lnTo>
                    <a:pt x="282" y="950"/>
                  </a:lnTo>
                  <a:lnTo>
                    <a:pt x="305" y="947"/>
                  </a:lnTo>
                  <a:lnTo>
                    <a:pt x="334" y="914"/>
                  </a:lnTo>
                  <a:lnTo>
                    <a:pt x="360" y="935"/>
                  </a:lnTo>
                  <a:lnTo>
                    <a:pt x="391" y="935"/>
                  </a:lnTo>
                  <a:lnTo>
                    <a:pt x="412" y="945"/>
                  </a:lnTo>
                  <a:lnTo>
                    <a:pt x="412" y="950"/>
                  </a:lnTo>
                  <a:lnTo>
                    <a:pt x="456" y="955"/>
                  </a:lnTo>
                  <a:lnTo>
                    <a:pt x="482" y="935"/>
                  </a:lnTo>
                  <a:lnTo>
                    <a:pt x="521" y="950"/>
                  </a:lnTo>
                  <a:lnTo>
                    <a:pt x="522" y="952"/>
                  </a:lnTo>
                  <a:lnTo>
                    <a:pt x="566" y="914"/>
                  </a:lnTo>
                  <a:lnTo>
                    <a:pt x="581" y="865"/>
                  </a:lnTo>
                  <a:lnTo>
                    <a:pt x="577" y="843"/>
                  </a:lnTo>
                  <a:lnTo>
                    <a:pt x="584" y="817"/>
                  </a:lnTo>
                  <a:lnTo>
                    <a:pt x="558" y="792"/>
                  </a:lnTo>
                  <a:lnTo>
                    <a:pt x="491" y="748"/>
                  </a:lnTo>
                  <a:lnTo>
                    <a:pt x="442" y="744"/>
                  </a:lnTo>
                  <a:lnTo>
                    <a:pt x="392" y="682"/>
                  </a:lnTo>
                  <a:lnTo>
                    <a:pt x="433" y="667"/>
                  </a:lnTo>
                  <a:lnTo>
                    <a:pt x="450" y="635"/>
                  </a:lnTo>
                  <a:lnTo>
                    <a:pt x="429" y="615"/>
                  </a:lnTo>
                  <a:lnTo>
                    <a:pt x="448" y="598"/>
                  </a:lnTo>
                  <a:lnTo>
                    <a:pt x="467" y="613"/>
                  </a:lnTo>
                  <a:lnTo>
                    <a:pt x="502" y="592"/>
                  </a:lnTo>
                  <a:lnTo>
                    <a:pt x="524" y="557"/>
                  </a:lnTo>
                  <a:lnTo>
                    <a:pt x="532" y="523"/>
                  </a:lnTo>
                  <a:lnTo>
                    <a:pt x="517" y="492"/>
                  </a:lnTo>
                  <a:lnTo>
                    <a:pt x="526" y="482"/>
                  </a:lnTo>
                  <a:lnTo>
                    <a:pt x="506" y="450"/>
                  </a:lnTo>
                  <a:lnTo>
                    <a:pt x="528" y="422"/>
                  </a:lnTo>
                  <a:lnTo>
                    <a:pt x="511" y="400"/>
                  </a:lnTo>
                  <a:lnTo>
                    <a:pt x="489" y="428"/>
                  </a:lnTo>
                  <a:lnTo>
                    <a:pt x="459" y="411"/>
                  </a:lnTo>
                  <a:lnTo>
                    <a:pt x="409" y="361"/>
                  </a:lnTo>
                  <a:lnTo>
                    <a:pt x="407" y="340"/>
                  </a:lnTo>
                  <a:lnTo>
                    <a:pt x="422" y="325"/>
                  </a:lnTo>
                  <a:lnTo>
                    <a:pt x="418" y="296"/>
                  </a:lnTo>
                  <a:lnTo>
                    <a:pt x="393" y="302"/>
                  </a:lnTo>
                  <a:lnTo>
                    <a:pt x="391" y="240"/>
                  </a:lnTo>
                  <a:lnTo>
                    <a:pt x="323" y="160"/>
                  </a:lnTo>
                  <a:lnTo>
                    <a:pt x="344" y="107"/>
                  </a:lnTo>
                  <a:lnTo>
                    <a:pt x="372" y="107"/>
                  </a:lnTo>
                  <a:lnTo>
                    <a:pt x="346" y="37"/>
                  </a:lnTo>
                  <a:lnTo>
                    <a:pt x="234" y="32"/>
                  </a:lnTo>
                  <a:lnTo>
                    <a:pt x="174" y="73"/>
                  </a:lnTo>
                  <a:lnTo>
                    <a:pt x="107" y="29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50</a:t>
              </a:r>
            </a:p>
          </p:txBody>
        </p:sp>
        <p:sp>
          <p:nvSpPr>
            <p:cNvPr id="57" name="FR-56">
              <a:extLst>
                <a:ext uri="{FF2B5EF4-FFF2-40B4-BE49-F238E27FC236}">
                  <a16:creationId xmlns:a16="http://schemas.microsoft.com/office/drawing/2014/main" id="{04A38884-3B0F-46E0-BA28-1CA4DB9A42E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122379" y="4248432"/>
              <a:ext cx="389440" cy="267433"/>
            </a:xfrm>
            <a:custGeom>
              <a:avLst/>
              <a:gdLst>
                <a:gd name="T0" fmla="*/ 62 w 843"/>
                <a:gd name="T1" fmla="*/ 21 h 607"/>
                <a:gd name="T2" fmla="*/ 0 w 843"/>
                <a:gd name="T3" fmla="*/ 47 h 607"/>
                <a:gd name="T4" fmla="*/ 21 w 843"/>
                <a:gd name="T5" fmla="*/ 116 h 607"/>
                <a:gd name="T6" fmla="*/ 99 w 843"/>
                <a:gd name="T7" fmla="*/ 165 h 607"/>
                <a:gd name="T8" fmla="*/ 144 w 843"/>
                <a:gd name="T9" fmla="*/ 176 h 607"/>
                <a:gd name="T10" fmla="*/ 154 w 843"/>
                <a:gd name="T11" fmla="*/ 217 h 607"/>
                <a:gd name="T12" fmla="*/ 133 w 843"/>
                <a:gd name="T13" fmla="*/ 255 h 607"/>
                <a:gd name="T14" fmla="*/ 88 w 843"/>
                <a:gd name="T15" fmla="*/ 279 h 607"/>
                <a:gd name="T16" fmla="*/ 104 w 843"/>
                <a:gd name="T17" fmla="*/ 377 h 607"/>
                <a:gd name="T18" fmla="*/ 162 w 843"/>
                <a:gd name="T19" fmla="*/ 364 h 607"/>
                <a:gd name="T20" fmla="*/ 190 w 843"/>
                <a:gd name="T21" fmla="*/ 408 h 607"/>
                <a:gd name="T22" fmla="*/ 253 w 843"/>
                <a:gd name="T23" fmla="*/ 484 h 607"/>
                <a:gd name="T24" fmla="*/ 242 w 843"/>
                <a:gd name="T25" fmla="*/ 552 h 607"/>
                <a:gd name="T26" fmla="*/ 289 w 843"/>
                <a:gd name="T27" fmla="*/ 557 h 607"/>
                <a:gd name="T28" fmla="*/ 274 w 843"/>
                <a:gd name="T29" fmla="*/ 489 h 607"/>
                <a:gd name="T30" fmla="*/ 315 w 843"/>
                <a:gd name="T31" fmla="*/ 465 h 607"/>
                <a:gd name="T32" fmla="*/ 357 w 843"/>
                <a:gd name="T33" fmla="*/ 512 h 607"/>
                <a:gd name="T34" fmla="*/ 357 w 843"/>
                <a:gd name="T35" fmla="*/ 450 h 607"/>
                <a:gd name="T36" fmla="*/ 422 w 843"/>
                <a:gd name="T37" fmla="*/ 484 h 607"/>
                <a:gd name="T38" fmla="*/ 448 w 843"/>
                <a:gd name="T39" fmla="*/ 473 h 607"/>
                <a:gd name="T40" fmla="*/ 461 w 843"/>
                <a:gd name="T41" fmla="*/ 525 h 607"/>
                <a:gd name="T42" fmla="*/ 388 w 843"/>
                <a:gd name="T43" fmla="*/ 497 h 607"/>
                <a:gd name="T44" fmla="*/ 399 w 843"/>
                <a:gd name="T45" fmla="*/ 533 h 607"/>
                <a:gd name="T46" fmla="*/ 563 w 843"/>
                <a:gd name="T47" fmla="*/ 557 h 607"/>
                <a:gd name="T48" fmla="*/ 581 w 843"/>
                <a:gd name="T49" fmla="*/ 580 h 607"/>
                <a:gd name="T50" fmla="*/ 589 w 843"/>
                <a:gd name="T51" fmla="*/ 607 h 607"/>
                <a:gd name="T52" fmla="*/ 623 w 843"/>
                <a:gd name="T53" fmla="*/ 582 h 607"/>
                <a:gd name="T54" fmla="*/ 680 w 843"/>
                <a:gd name="T55" fmla="*/ 600 h 607"/>
                <a:gd name="T56" fmla="*/ 803 w 843"/>
                <a:gd name="T57" fmla="*/ 545 h 607"/>
                <a:gd name="T58" fmla="*/ 821 w 843"/>
                <a:gd name="T59" fmla="*/ 464 h 607"/>
                <a:gd name="T60" fmla="*/ 817 w 843"/>
                <a:gd name="T61" fmla="*/ 393 h 607"/>
                <a:gd name="T62" fmla="*/ 798 w 843"/>
                <a:gd name="T63" fmla="*/ 372 h 607"/>
                <a:gd name="T64" fmla="*/ 843 w 843"/>
                <a:gd name="T65" fmla="*/ 335 h 607"/>
                <a:gd name="T66" fmla="*/ 813 w 843"/>
                <a:gd name="T67" fmla="*/ 309 h 607"/>
                <a:gd name="T68" fmla="*/ 826 w 843"/>
                <a:gd name="T69" fmla="*/ 258 h 607"/>
                <a:gd name="T70" fmla="*/ 772 w 843"/>
                <a:gd name="T71" fmla="*/ 199 h 607"/>
                <a:gd name="T72" fmla="*/ 722 w 843"/>
                <a:gd name="T73" fmla="*/ 195 h 607"/>
                <a:gd name="T74" fmla="*/ 742 w 843"/>
                <a:gd name="T75" fmla="*/ 161 h 607"/>
                <a:gd name="T76" fmla="*/ 746 w 843"/>
                <a:gd name="T77" fmla="*/ 90 h 607"/>
                <a:gd name="T78" fmla="*/ 686 w 843"/>
                <a:gd name="T79" fmla="*/ 97 h 607"/>
                <a:gd name="T80" fmla="*/ 643 w 843"/>
                <a:gd name="T81" fmla="*/ 53 h 607"/>
                <a:gd name="T82" fmla="*/ 613 w 843"/>
                <a:gd name="T83" fmla="*/ 92 h 607"/>
                <a:gd name="T84" fmla="*/ 539 w 843"/>
                <a:gd name="T85" fmla="*/ 105 h 607"/>
                <a:gd name="T86" fmla="*/ 516 w 843"/>
                <a:gd name="T87" fmla="*/ 92 h 607"/>
                <a:gd name="T88" fmla="*/ 471 w 843"/>
                <a:gd name="T89" fmla="*/ 73 h 607"/>
                <a:gd name="T90" fmla="*/ 424 w 843"/>
                <a:gd name="T91" fmla="*/ 40 h 607"/>
                <a:gd name="T92" fmla="*/ 348 w 843"/>
                <a:gd name="T93" fmla="*/ 14 h 607"/>
                <a:gd name="T94" fmla="*/ 303 w 843"/>
                <a:gd name="T95" fmla="*/ 38 h 607"/>
                <a:gd name="T96" fmla="*/ 213 w 843"/>
                <a:gd name="T97" fmla="*/ 38 h 607"/>
                <a:gd name="T98" fmla="*/ 178 w 843"/>
                <a:gd name="T99" fmla="*/ 40 h 607"/>
                <a:gd name="T100" fmla="*/ 148 w 843"/>
                <a:gd name="T101" fmla="*/ 17 h 607"/>
                <a:gd name="T102" fmla="*/ 106 w 843"/>
                <a:gd name="T103" fmla="*/ 0 h 60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43"/>
                <a:gd name="T157" fmla="*/ 0 h 607"/>
                <a:gd name="T158" fmla="*/ 843 w 843"/>
                <a:gd name="T159" fmla="*/ 607 h 607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43" h="607">
                  <a:moveTo>
                    <a:pt x="106" y="0"/>
                  </a:moveTo>
                  <a:lnTo>
                    <a:pt x="62" y="21"/>
                  </a:lnTo>
                  <a:lnTo>
                    <a:pt x="32" y="21"/>
                  </a:lnTo>
                  <a:lnTo>
                    <a:pt x="0" y="47"/>
                  </a:lnTo>
                  <a:lnTo>
                    <a:pt x="2" y="66"/>
                  </a:lnTo>
                  <a:lnTo>
                    <a:pt x="21" y="116"/>
                  </a:lnTo>
                  <a:lnTo>
                    <a:pt x="32" y="154"/>
                  </a:lnTo>
                  <a:lnTo>
                    <a:pt x="99" y="165"/>
                  </a:lnTo>
                  <a:lnTo>
                    <a:pt x="131" y="191"/>
                  </a:lnTo>
                  <a:lnTo>
                    <a:pt x="144" y="176"/>
                  </a:lnTo>
                  <a:lnTo>
                    <a:pt x="165" y="204"/>
                  </a:lnTo>
                  <a:lnTo>
                    <a:pt x="154" y="217"/>
                  </a:lnTo>
                  <a:lnTo>
                    <a:pt x="152" y="255"/>
                  </a:lnTo>
                  <a:lnTo>
                    <a:pt x="133" y="255"/>
                  </a:lnTo>
                  <a:lnTo>
                    <a:pt x="118" y="279"/>
                  </a:lnTo>
                  <a:lnTo>
                    <a:pt x="88" y="279"/>
                  </a:lnTo>
                  <a:lnTo>
                    <a:pt x="75" y="330"/>
                  </a:lnTo>
                  <a:lnTo>
                    <a:pt x="104" y="377"/>
                  </a:lnTo>
                  <a:lnTo>
                    <a:pt x="146" y="387"/>
                  </a:lnTo>
                  <a:lnTo>
                    <a:pt x="162" y="364"/>
                  </a:lnTo>
                  <a:lnTo>
                    <a:pt x="154" y="392"/>
                  </a:lnTo>
                  <a:lnTo>
                    <a:pt x="190" y="408"/>
                  </a:lnTo>
                  <a:lnTo>
                    <a:pt x="237" y="455"/>
                  </a:lnTo>
                  <a:lnTo>
                    <a:pt x="253" y="484"/>
                  </a:lnTo>
                  <a:lnTo>
                    <a:pt x="248" y="517"/>
                  </a:lnTo>
                  <a:lnTo>
                    <a:pt x="242" y="552"/>
                  </a:lnTo>
                  <a:lnTo>
                    <a:pt x="274" y="575"/>
                  </a:lnTo>
                  <a:lnTo>
                    <a:pt x="289" y="557"/>
                  </a:lnTo>
                  <a:lnTo>
                    <a:pt x="274" y="536"/>
                  </a:lnTo>
                  <a:lnTo>
                    <a:pt x="274" y="489"/>
                  </a:lnTo>
                  <a:lnTo>
                    <a:pt x="305" y="497"/>
                  </a:lnTo>
                  <a:lnTo>
                    <a:pt x="315" y="465"/>
                  </a:lnTo>
                  <a:lnTo>
                    <a:pt x="323" y="484"/>
                  </a:lnTo>
                  <a:lnTo>
                    <a:pt x="357" y="512"/>
                  </a:lnTo>
                  <a:lnTo>
                    <a:pt x="373" y="486"/>
                  </a:lnTo>
                  <a:lnTo>
                    <a:pt x="357" y="450"/>
                  </a:lnTo>
                  <a:lnTo>
                    <a:pt x="386" y="489"/>
                  </a:lnTo>
                  <a:lnTo>
                    <a:pt x="422" y="484"/>
                  </a:lnTo>
                  <a:lnTo>
                    <a:pt x="414" y="465"/>
                  </a:lnTo>
                  <a:lnTo>
                    <a:pt x="448" y="473"/>
                  </a:lnTo>
                  <a:lnTo>
                    <a:pt x="474" y="504"/>
                  </a:lnTo>
                  <a:lnTo>
                    <a:pt x="461" y="525"/>
                  </a:lnTo>
                  <a:lnTo>
                    <a:pt x="427" y="515"/>
                  </a:lnTo>
                  <a:lnTo>
                    <a:pt x="388" y="497"/>
                  </a:lnTo>
                  <a:lnTo>
                    <a:pt x="367" y="523"/>
                  </a:lnTo>
                  <a:lnTo>
                    <a:pt x="399" y="533"/>
                  </a:lnTo>
                  <a:lnTo>
                    <a:pt x="422" y="569"/>
                  </a:lnTo>
                  <a:lnTo>
                    <a:pt x="563" y="557"/>
                  </a:lnTo>
                  <a:lnTo>
                    <a:pt x="599" y="564"/>
                  </a:lnTo>
                  <a:lnTo>
                    <a:pt x="581" y="580"/>
                  </a:lnTo>
                  <a:lnTo>
                    <a:pt x="584" y="604"/>
                  </a:lnTo>
                  <a:lnTo>
                    <a:pt x="589" y="607"/>
                  </a:lnTo>
                  <a:lnTo>
                    <a:pt x="600" y="605"/>
                  </a:lnTo>
                  <a:lnTo>
                    <a:pt x="623" y="582"/>
                  </a:lnTo>
                  <a:lnTo>
                    <a:pt x="639" y="600"/>
                  </a:lnTo>
                  <a:lnTo>
                    <a:pt x="680" y="600"/>
                  </a:lnTo>
                  <a:lnTo>
                    <a:pt x="730" y="574"/>
                  </a:lnTo>
                  <a:lnTo>
                    <a:pt x="803" y="545"/>
                  </a:lnTo>
                  <a:lnTo>
                    <a:pt x="805" y="472"/>
                  </a:lnTo>
                  <a:lnTo>
                    <a:pt x="821" y="464"/>
                  </a:lnTo>
                  <a:lnTo>
                    <a:pt x="793" y="412"/>
                  </a:lnTo>
                  <a:lnTo>
                    <a:pt x="817" y="393"/>
                  </a:lnTo>
                  <a:lnTo>
                    <a:pt x="813" y="380"/>
                  </a:lnTo>
                  <a:lnTo>
                    <a:pt x="798" y="372"/>
                  </a:lnTo>
                  <a:lnTo>
                    <a:pt x="821" y="361"/>
                  </a:lnTo>
                  <a:lnTo>
                    <a:pt x="843" y="335"/>
                  </a:lnTo>
                  <a:lnTo>
                    <a:pt x="841" y="309"/>
                  </a:lnTo>
                  <a:lnTo>
                    <a:pt x="813" y="309"/>
                  </a:lnTo>
                  <a:lnTo>
                    <a:pt x="806" y="284"/>
                  </a:lnTo>
                  <a:lnTo>
                    <a:pt x="826" y="258"/>
                  </a:lnTo>
                  <a:lnTo>
                    <a:pt x="804" y="219"/>
                  </a:lnTo>
                  <a:lnTo>
                    <a:pt x="772" y="199"/>
                  </a:lnTo>
                  <a:lnTo>
                    <a:pt x="735" y="199"/>
                  </a:lnTo>
                  <a:lnTo>
                    <a:pt x="722" y="195"/>
                  </a:lnTo>
                  <a:lnTo>
                    <a:pt x="722" y="178"/>
                  </a:lnTo>
                  <a:lnTo>
                    <a:pt x="742" y="161"/>
                  </a:lnTo>
                  <a:lnTo>
                    <a:pt x="752" y="118"/>
                  </a:lnTo>
                  <a:lnTo>
                    <a:pt x="746" y="90"/>
                  </a:lnTo>
                  <a:lnTo>
                    <a:pt x="737" y="101"/>
                  </a:lnTo>
                  <a:lnTo>
                    <a:pt x="686" y="97"/>
                  </a:lnTo>
                  <a:lnTo>
                    <a:pt x="662" y="53"/>
                  </a:lnTo>
                  <a:lnTo>
                    <a:pt x="643" y="53"/>
                  </a:lnTo>
                  <a:lnTo>
                    <a:pt x="613" y="64"/>
                  </a:lnTo>
                  <a:lnTo>
                    <a:pt x="613" y="92"/>
                  </a:lnTo>
                  <a:lnTo>
                    <a:pt x="572" y="118"/>
                  </a:lnTo>
                  <a:lnTo>
                    <a:pt x="539" y="105"/>
                  </a:lnTo>
                  <a:lnTo>
                    <a:pt x="527" y="77"/>
                  </a:lnTo>
                  <a:lnTo>
                    <a:pt x="516" y="92"/>
                  </a:lnTo>
                  <a:lnTo>
                    <a:pt x="486" y="92"/>
                  </a:lnTo>
                  <a:lnTo>
                    <a:pt x="471" y="73"/>
                  </a:lnTo>
                  <a:lnTo>
                    <a:pt x="456" y="73"/>
                  </a:lnTo>
                  <a:lnTo>
                    <a:pt x="424" y="40"/>
                  </a:lnTo>
                  <a:lnTo>
                    <a:pt x="387" y="49"/>
                  </a:lnTo>
                  <a:lnTo>
                    <a:pt x="348" y="14"/>
                  </a:lnTo>
                  <a:lnTo>
                    <a:pt x="314" y="17"/>
                  </a:lnTo>
                  <a:lnTo>
                    <a:pt x="303" y="38"/>
                  </a:lnTo>
                  <a:lnTo>
                    <a:pt x="262" y="60"/>
                  </a:lnTo>
                  <a:lnTo>
                    <a:pt x="213" y="38"/>
                  </a:lnTo>
                  <a:lnTo>
                    <a:pt x="200" y="25"/>
                  </a:lnTo>
                  <a:lnTo>
                    <a:pt x="178" y="40"/>
                  </a:lnTo>
                  <a:lnTo>
                    <a:pt x="152" y="38"/>
                  </a:lnTo>
                  <a:lnTo>
                    <a:pt x="148" y="17"/>
                  </a:lnTo>
                  <a:lnTo>
                    <a:pt x="107" y="6"/>
                  </a:lnTo>
                  <a:lnTo>
                    <a:pt x="106" y="0"/>
                  </a:lnTo>
                  <a:close/>
                </a:path>
              </a:pathLst>
            </a:custGeom>
            <a:solidFill>
              <a:srgbClr val="0063AC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solidFill>
                    <a:schemeClr val="bg1"/>
                  </a:solidFill>
                  <a:latin typeface="+mj-lt"/>
                </a:rPr>
                <a:t>56</a:t>
              </a:r>
            </a:p>
          </p:txBody>
        </p:sp>
        <p:sp>
          <p:nvSpPr>
            <p:cNvPr id="58" name="FR-29">
              <a:extLst>
                <a:ext uri="{FF2B5EF4-FFF2-40B4-BE49-F238E27FC236}">
                  <a16:creationId xmlns:a16="http://schemas.microsoft.com/office/drawing/2014/main" id="{DBD5EF63-8EAD-4E8F-9395-6CA6DC48F45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78459" y="4063388"/>
              <a:ext cx="320145" cy="330436"/>
            </a:xfrm>
            <a:custGeom>
              <a:avLst/>
              <a:gdLst>
                <a:gd name="T0" fmla="*/ 401 w 693"/>
                <a:gd name="T1" fmla="*/ 31 h 750"/>
                <a:gd name="T2" fmla="*/ 312 w 693"/>
                <a:gd name="T3" fmla="*/ 24 h 750"/>
                <a:gd name="T4" fmla="*/ 268 w 693"/>
                <a:gd name="T5" fmla="*/ 57 h 750"/>
                <a:gd name="T6" fmla="*/ 203 w 693"/>
                <a:gd name="T7" fmla="*/ 37 h 750"/>
                <a:gd name="T8" fmla="*/ 161 w 693"/>
                <a:gd name="T9" fmla="*/ 57 h 750"/>
                <a:gd name="T10" fmla="*/ 122 w 693"/>
                <a:gd name="T11" fmla="*/ 55 h 750"/>
                <a:gd name="T12" fmla="*/ 47 w 693"/>
                <a:gd name="T13" fmla="*/ 89 h 750"/>
                <a:gd name="T14" fmla="*/ 41 w 693"/>
                <a:gd name="T15" fmla="*/ 156 h 750"/>
                <a:gd name="T16" fmla="*/ 12 w 693"/>
                <a:gd name="T17" fmla="*/ 214 h 750"/>
                <a:gd name="T18" fmla="*/ 44 w 693"/>
                <a:gd name="T19" fmla="*/ 276 h 750"/>
                <a:gd name="T20" fmla="*/ 67 w 693"/>
                <a:gd name="T21" fmla="*/ 271 h 750"/>
                <a:gd name="T22" fmla="*/ 231 w 693"/>
                <a:gd name="T23" fmla="*/ 211 h 750"/>
                <a:gd name="T24" fmla="*/ 179 w 693"/>
                <a:gd name="T25" fmla="*/ 292 h 750"/>
                <a:gd name="T26" fmla="*/ 221 w 693"/>
                <a:gd name="T27" fmla="*/ 305 h 750"/>
                <a:gd name="T28" fmla="*/ 276 w 693"/>
                <a:gd name="T29" fmla="*/ 323 h 750"/>
                <a:gd name="T30" fmla="*/ 164 w 693"/>
                <a:gd name="T31" fmla="*/ 307 h 750"/>
                <a:gd name="T32" fmla="*/ 67 w 693"/>
                <a:gd name="T33" fmla="*/ 320 h 750"/>
                <a:gd name="T34" fmla="*/ 112 w 693"/>
                <a:gd name="T35" fmla="*/ 406 h 750"/>
                <a:gd name="T36" fmla="*/ 153 w 693"/>
                <a:gd name="T37" fmla="*/ 352 h 750"/>
                <a:gd name="T38" fmla="*/ 234 w 693"/>
                <a:gd name="T39" fmla="*/ 388 h 750"/>
                <a:gd name="T40" fmla="*/ 229 w 693"/>
                <a:gd name="T41" fmla="*/ 458 h 750"/>
                <a:gd name="T42" fmla="*/ 164 w 693"/>
                <a:gd name="T43" fmla="*/ 456 h 750"/>
                <a:gd name="T44" fmla="*/ 23 w 693"/>
                <a:gd name="T45" fmla="*/ 469 h 750"/>
                <a:gd name="T46" fmla="*/ 31 w 693"/>
                <a:gd name="T47" fmla="*/ 508 h 750"/>
                <a:gd name="T48" fmla="*/ 83 w 693"/>
                <a:gd name="T49" fmla="*/ 526 h 750"/>
                <a:gd name="T50" fmla="*/ 172 w 693"/>
                <a:gd name="T51" fmla="*/ 586 h 750"/>
                <a:gd name="T52" fmla="*/ 166 w 693"/>
                <a:gd name="T53" fmla="*/ 690 h 750"/>
                <a:gd name="T54" fmla="*/ 281 w 693"/>
                <a:gd name="T55" fmla="*/ 698 h 750"/>
                <a:gd name="T56" fmla="*/ 270 w 693"/>
                <a:gd name="T57" fmla="*/ 643 h 750"/>
                <a:gd name="T58" fmla="*/ 317 w 693"/>
                <a:gd name="T59" fmla="*/ 651 h 750"/>
                <a:gd name="T60" fmla="*/ 385 w 693"/>
                <a:gd name="T61" fmla="*/ 669 h 750"/>
                <a:gd name="T62" fmla="*/ 395 w 693"/>
                <a:gd name="T63" fmla="*/ 669 h 750"/>
                <a:gd name="T64" fmla="*/ 502 w 693"/>
                <a:gd name="T65" fmla="*/ 729 h 750"/>
                <a:gd name="T66" fmla="*/ 523 w 693"/>
                <a:gd name="T67" fmla="*/ 739 h 750"/>
                <a:gd name="T68" fmla="*/ 601 w 693"/>
                <a:gd name="T69" fmla="*/ 747 h 750"/>
                <a:gd name="T70" fmla="*/ 616 w 693"/>
                <a:gd name="T71" fmla="*/ 699 h 750"/>
                <a:gd name="T72" fmla="*/ 661 w 693"/>
                <a:gd name="T73" fmla="*/ 675 h 750"/>
                <a:gd name="T74" fmla="*/ 682 w 693"/>
                <a:gd name="T75" fmla="*/ 637 h 750"/>
                <a:gd name="T76" fmla="*/ 672 w 693"/>
                <a:gd name="T77" fmla="*/ 596 h 750"/>
                <a:gd name="T78" fmla="*/ 627 w 693"/>
                <a:gd name="T79" fmla="*/ 585 h 750"/>
                <a:gd name="T80" fmla="*/ 549 w 693"/>
                <a:gd name="T81" fmla="*/ 536 h 750"/>
                <a:gd name="T82" fmla="*/ 528 w 693"/>
                <a:gd name="T83" fmla="*/ 467 h 750"/>
                <a:gd name="T84" fmla="*/ 590 w 693"/>
                <a:gd name="T85" fmla="*/ 441 h 750"/>
                <a:gd name="T86" fmla="*/ 625 w 693"/>
                <a:gd name="T87" fmla="*/ 387 h 750"/>
                <a:gd name="T88" fmla="*/ 633 w 693"/>
                <a:gd name="T89" fmla="*/ 299 h 750"/>
                <a:gd name="T90" fmla="*/ 614 w 693"/>
                <a:gd name="T91" fmla="*/ 241 h 750"/>
                <a:gd name="T92" fmla="*/ 612 w 693"/>
                <a:gd name="T93" fmla="*/ 222 h 750"/>
                <a:gd name="T94" fmla="*/ 625 w 693"/>
                <a:gd name="T95" fmla="*/ 185 h 750"/>
                <a:gd name="T96" fmla="*/ 622 w 693"/>
                <a:gd name="T97" fmla="*/ 149 h 750"/>
                <a:gd name="T98" fmla="*/ 592 w 693"/>
                <a:gd name="T99" fmla="*/ 119 h 750"/>
                <a:gd name="T100" fmla="*/ 565 w 693"/>
                <a:gd name="T101" fmla="*/ 24 h 750"/>
                <a:gd name="T102" fmla="*/ 492 w 693"/>
                <a:gd name="T103" fmla="*/ 78 h 750"/>
                <a:gd name="T104" fmla="*/ 466 w 693"/>
                <a:gd name="T105" fmla="*/ 55 h 750"/>
                <a:gd name="T106" fmla="*/ 429 w 693"/>
                <a:gd name="T107" fmla="*/ 0 h 7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93"/>
                <a:gd name="T163" fmla="*/ 0 h 750"/>
                <a:gd name="T164" fmla="*/ 693 w 693"/>
                <a:gd name="T165" fmla="*/ 750 h 7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93" h="750">
                  <a:moveTo>
                    <a:pt x="429" y="0"/>
                  </a:moveTo>
                  <a:lnTo>
                    <a:pt x="401" y="31"/>
                  </a:lnTo>
                  <a:lnTo>
                    <a:pt x="370" y="18"/>
                  </a:lnTo>
                  <a:lnTo>
                    <a:pt x="312" y="24"/>
                  </a:lnTo>
                  <a:lnTo>
                    <a:pt x="302" y="49"/>
                  </a:lnTo>
                  <a:lnTo>
                    <a:pt x="268" y="57"/>
                  </a:lnTo>
                  <a:lnTo>
                    <a:pt x="262" y="29"/>
                  </a:lnTo>
                  <a:lnTo>
                    <a:pt x="203" y="37"/>
                  </a:lnTo>
                  <a:lnTo>
                    <a:pt x="203" y="55"/>
                  </a:lnTo>
                  <a:lnTo>
                    <a:pt x="161" y="57"/>
                  </a:lnTo>
                  <a:lnTo>
                    <a:pt x="143" y="44"/>
                  </a:lnTo>
                  <a:lnTo>
                    <a:pt x="122" y="55"/>
                  </a:lnTo>
                  <a:lnTo>
                    <a:pt x="117" y="86"/>
                  </a:lnTo>
                  <a:lnTo>
                    <a:pt x="47" y="89"/>
                  </a:lnTo>
                  <a:lnTo>
                    <a:pt x="10" y="133"/>
                  </a:lnTo>
                  <a:lnTo>
                    <a:pt x="41" y="156"/>
                  </a:lnTo>
                  <a:lnTo>
                    <a:pt x="0" y="190"/>
                  </a:lnTo>
                  <a:lnTo>
                    <a:pt x="12" y="214"/>
                  </a:lnTo>
                  <a:lnTo>
                    <a:pt x="2" y="271"/>
                  </a:lnTo>
                  <a:lnTo>
                    <a:pt x="44" y="276"/>
                  </a:lnTo>
                  <a:lnTo>
                    <a:pt x="60" y="260"/>
                  </a:lnTo>
                  <a:lnTo>
                    <a:pt x="67" y="271"/>
                  </a:lnTo>
                  <a:lnTo>
                    <a:pt x="166" y="258"/>
                  </a:lnTo>
                  <a:lnTo>
                    <a:pt x="231" y="211"/>
                  </a:lnTo>
                  <a:lnTo>
                    <a:pt x="174" y="266"/>
                  </a:lnTo>
                  <a:lnTo>
                    <a:pt x="179" y="292"/>
                  </a:lnTo>
                  <a:lnTo>
                    <a:pt x="231" y="268"/>
                  </a:lnTo>
                  <a:lnTo>
                    <a:pt x="221" y="305"/>
                  </a:lnTo>
                  <a:lnTo>
                    <a:pt x="278" y="307"/>
                  </a:lnTo>
                  <a:lnTo>
                    <a:pt x="276" y="323"/>
                  </a:lnTo>
                  <a:lnTo>
                    <a:pt x="213" y="320"/>
                  </a:lnTo>
                  <a:lnTo>
                    <a:pt x="164" y="307"/>
                  </a:lnTo>
                  <a:lnTo>
                    <a:pt x="104" y="279"/>
                  </a:lnTo>
                  <a:lnTo>
                    <a:pt x="67" y="320"/>
                  </a:lnTo>
                  <a:lnTo>
                    <a:pt x="114" y="336"/>
                  </a:lnTo>
                  <a:lnTo>
                    <a:pt x="112" y="406"/>
                  </a:lnTo>
                  <a:lnTo>
                    <a:pt x="125" y="396"/>
                  </a:lnTo>
                  <a:lnTo>
                    <a:pt x="153" y="352"/>
                  </a:lnTo>
                  <a:lnTo>
                    <a:pt x="208" y="383"/>
                  </a:lnTo>
                  <a:lnTo>
                    <a:pt x="234" y="388"/>
                  </a:lnTo>
                  <a:lnTo>
                    <a:pt x="245" y="430"/>
                  </a:lnTo>
                  <a:lnTo>
                    <a:pt x="229" y="458"/>
                  </a:lnTo>
                  <a:lnTo>
                    <a:pt x="195" y="456"/>
                  </a:lnTo>
                  <a:lnTo>
                    <a:pt x="164" y="456"/>
                  </a:lnTo>
                  <a:lnTo>
                    <a:pt x="112" y="464"/>
                  </a:lnTo>
                  <a:lnTo>
                    <a:pt x="23" y="469"/>
                  </a:lnTo>
                  <a:lnTo>
                    <a:pt x="5" y="492"/>
                  </a:lnTo>
                  <a:lnTo>
                    <a:pt x="31" y="508"/>
                  </a:lnTo>
                  <a:lnTo>
                    <a:pt x="60" y="505"/>
                  </a:lnTo>
                  <a:lnTo>
                    <a:pt x="83" y="526"/>
                  </a:lnTo>
                  <a:lnTo>
                    <a:pt x="117" y="524"/>
                  </a:lnTo>
                  <a:lnTo>
                    <a:pt x="172" y="586"/>
                  </a:lnTo>
                  <a:lnTo>
                    <a:pt x="185" y="654"/>
                  </a:lnTo>
                  <a:lnTo>
                    <a:pt x="166" y="690"/>
                  </a:lnTo>
                  <a:lnTo>
                    <a:pt x="221" y="701"/>
                  </a:lnTo>
                  <a:lnTo>
                    <a:pt x="281" y="698"/>
                  </a:lnTo>
                  <a:lnTo>
                    <a:pt x="294" y="674"/>
                  </a:lnTo>
                  <a:lnTo>
                    <a:pt x="270" y="643"/>
                  </a:lnTo>
                  <a:lnTo>
                    <a:pt x="294" y="654"/>
                  </a:lnTo>
                  <a:lnTo>
                    <a:pt x="317" y="651"/>
                  </a:lnTo>
                  <a:lnTo>
                    <a:pt x="359" y="674"/>
                  </a:lnTo>
                  <a:lnTo>
                    <a:pt x="385" y="669"/>
                  </a:lnTo>
                  <a:lnTo>
                    <a:pt x="385" y="625"/>
                  </a:lnTo>
                  <a:lnTo>
                    <a:pt x="395" y="669"/>
                  </a:lnTo>
                  <a:lnTo>
                    <a:pt x="429" y="724"/>
                  </a:lnTo>
                  <a:lnTo>
                    <a:pt x="502" y="729"/>
                  </a:lnTo>
                  <a:lnTo>
                    <a:pt x="505" y="714"/>
                  </a:lnTo>
                  <a:lnTo>
                    <a:pt x="523" y="739"/>
                  </a:lnTo>
                  <a:lnTo>
                    <a:pt x="567" y="747"/>
                  </a:lnTo>
                  <a:lnTo>
                    <a:pt x="601" y="747"/>
                  </a:lnTo>
                  <a:lnTo>
                    <a:pt x="603" y="750"/>
                  </a:lnTo>
                  <a:lnTo>
                    <a:pt x="616" y="699"/>
                  </a:lnTo>
                  <a:lnTo>
                    <a:pt x="646" y="699"/>
                  </a:lnTo>
                  <a:lnTo>
                    <a:pt x="661" y="675"/>
                  </a:lnTo>
                  <a:lnTo>
                    <a:pt x="680" y="675"/>
                  </a:lnTo>
                  <a:lnTo>
                    <a:pt x="682" y="637"/>
                  </a:lnTo>
                  <a:lnTo>
                    <a:pt x="693" y="624"/>
                  </a:lnTo>
                  <a:lnTo>
                    <a:pt x="672" y="596"/>
                  </a:lnTo>
                  <a:lnTo>
                    <a:pt x="659" y="611"/>
                  </a:lnTo>
                  <a:lnTo>
                    <a:pt x="627" y="585"/>
                  </a:lnTo>
                  <a:lnTo>
                    <a:pt x="560" y="574"/>
                  </a:lnTo>
                  <a:lnTo>
                    <a:pt x="549" y="536"/>
                  </a:lnTo>
                  <a:lnTo>
                    <a:pt x="530" y="486"/>
                  </a:lnTo>
                  <a:lnTo>
                    <a:pt x="528" y="467"/>
                  </a:lnTo>
                  <a:lnTo>
                    <a:pt x="560" y="441"/>
                  </a:lnTo>
                  <a:lnTo>
                    <a:pt x="590" y="441"/>
                  </a:lnTo>
                  <a:lnTo>
                    <a:pt x="634" y="420"/>
                  </a:lnTo>
                  <a:lnTo>
                    <a:pt x="625" y="387"/>
                  </a:lnTo>
                  <a:lnTo>
                    <a:pt x="637" y="374"/>
                  </a:lnTo>
                  <a:lnTo>
                    <a:pt x="633" y="299"/>
                  </a:lnTo>
                  <a:lnTo>
                    <a:pt x="614" y="273"/>
                  </a:lnTo>
                  <a:lnTo>
                    <a:pt x="614" y="241"/>
                  </a:lnTo>
                  <a:lnTo>
                    <a:pt x="644" y="232"/>
                  </a:lnTo>
                  <a:lnTo>
                    <a:pt x="612" y="222"/>
                  </a:lnTo>
                  <a:lnTo>
                    <a:pt x="610" y="196"/>
                  </a:lnTo>
                  <a:lnTo>
                    <a:pt x="625" y="185"/>
                  </a:lnTo>
                  <a:lnTo>
                    <a:pt x="646" y="164"/>
                  </a:lnTo>
                  <a:lnTo>
                    <a:pt x="622" y="149"/>
                  </a:lnTo>
                  <a:lnTo>
                    <a:pt x="625" y="121"/>
                  </a:lnTo>
                  <a:lnTo>
                    <a:pt x="592" y="119"/>
                  </a:lnTo>
                  <a:lnTo>
                    <a:pt x="607" y="49"/>
                  </a:lnTo>
                  <a:lnTo>
                    <a:pt x="565" y="24"/>
                  </a:lnTo>
                  <a:lnTo>
                    <a:pt x="492" y="26"/>
                  </a:lnTo>
                  <a:lnTo>
                    <a:pt x="492" y="78"/>
                  </a:lnTo>
                  <a:lnTo>
                    <a:pt x="471" y="78"/>
                  </a:lnTo>
                  <a:lnTo>
                    <a:pt x="466" y="55"/>
                  </a:lnTo>
                  <a:lnTo>
                    <a:pt x="435" y="60"/>
                  </a:lnTo>
                  <a:lnTo>
                    <a:pt x="429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29</a:t>
              </a:r>
            </a:p>
          </p:txBody>
        </p:sp>
        <p:sp>
          <p:nvSpPr>
            <p:cNvPr id="59" name="FR-35">
              <a:extLst>
                <a:ext uri="{FF2B5EF4-FFF2-40B4-BE49-F238E27FC236}">
                  <a16:creationId xmlns:a16="http://schemas.microsoft.com/office/drawing/2014/main" id="{3885835F-9A38-488E-AE73-E0C02A5C5DC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455920" y="4103481"/>
              <a:ext cx="297046" cy="349382"/>
            </a:xfrm>
            <a:custGeom>
              <a:avLst/>
              <a:gdLst>
                <a:gd name="T0" fmla="*/ 162 w 643"/>
                <a:gd name="T1" fmla="*/ 28 h 793"/>
                <a:gd name="T2" fmla="*/ 198 w 643"/>
                <a:gd name="T3" fmla="*/ 116 h 793"/>
                <a:gd name="T4" fmla="*/ 198 w 643"/>
                <a:gd name="T5" fmla="*/ 189 h 793"/>
                <a:gd name="T6" fmla="*/ 145 w 643"/>
                <a:gd name="T7" fmla="*/ 316 h 793"/>
                <a:gd name="T8" fmla="*/ 106 w 643"/>
                <a:gd name="T9" fmla="*/ 324 h 793"/>
                <a:gd name="T10" fmla="*/ 41 w 643"/>
                <a:gd name="T11" fmla="*/ 397 h 793"/>
                <a:gd name="T12" fmla="*/ 30 w 643"/>
                <a:gd name="T13" fmla="*/ 447 h 793"/>
                <a:gd name="T14" fmla="*/ 0 w 643"/>
                <a:gd name="T15" fmla="*/ 507 h 793"/>
                <a:gd name="T16" fmla="*/ 13 w 643"/>
                <a:gd name="T17" fmla="*/ 528 h 793"/>
                <a:gd name="T18" fmla="*/ 82 w 643"/>
                <a:gd name="T19" fmla="*/ 548 h 793"/>
                <a:gd name="T20" fmla="*/ 84 w 643"/>
                <a:gd name="T21" fmla="*/ 613 h 793"/>
                <a:gd name="T22" fmla="*/ 119 w 643"/>
                <a:gd name="T23" fmla="*/ 638 h 793"/>
                <a:gd name="T24" fmla="*/ 99 w 643"/>
                <a:gd name="T25" fmla="*/ 690 h 793"/>
                <a:gd name="T26" fmla="*/ 91 w 643"/>
                <a:gd name="T27" fmla="*/ 709 h 793"/>
                <a:gd name="T28" fmla="*/ 71 w 643"/>
                <a:gd name="T29" fmla="*/ 741 h 793"/>
                <a:gd name="T30" fmla="*/ 151 w 643"/>
                <a:gd name="T31" fmla="*/ 765 h 793"/>
                <a:gd name="T32" fmla="*/ 323 w 643"/>
                <a:gd name="T33" fmla="*/ 728 h 793"/>
                <a:gd name="T34" fmla="*/ 406 w 643"/>
                <a:gd name="T35" fmla="*/ 695 h 793"/>
                <a:gd name="T36" fmla="*/ 448 w 643"/>
                <a:gd name="T37" fmla="*/ 671 h 793"/>
                <a:gd name="T38" fmla="*/ 524 w 643"/>
                <a:gd name="T39" fmla="*/ 716 h 793"/>
                <a:gd name="T40" fmla="*/ 547 w 643"/>
                <a:gd name="T41" fmla="*/ 648 h 793"/>
                <a:gd name="T42" fmla="*/ 599 w 643"/>
                <a:gd name="T43" fmla="*/ 554 h 793"/>
                <a:gd name="T44" fmla="*/ 643 w 643"/>
                <a:gd name="T45" fmla="*/ 489 h 793"/>
                <a:gd name="T46" fmla="*/ 625 w 643"/>
                <a:gd name="T47" fmla="*/ 395 h 793"/>
                <a:gd name="T48" fmla="*/ 617 w 643"/>
                <a:gd name="T49" fmla="*/ 328 h 793"/>
                <a:gd name="T50" fmla="*/ 643 w 643"/>
                <a:gd name="T51" fmla="*/ 249 h 793"/>
                <a:gd name="T52" fmla="*/ 633 w 643"/>
                <a:gd name="T53" fmla="*/ 166 h 793"/>
                <a:gd name="T54" fmla="*/ 581 w 643"/>
                <a:gd name="T55" fmla="*/ 156 h 793"/>
                <a:gd name="T56" fmla="*/ 526 w 643"/>
                <a:gd name="T57" fmla="*/ 168 h 793"/>
                <a:gd name="T58" fmla="*/ 482 w 643"/>
                <a:gd name="T59" fmla="*/ 200 h 793"/>
                <a:gd name="T60" fmla="*/ 417 w 643"/>
                <a:gd name="T61" fmla="*/ 156 h 793"/>
                <a:gd name="T62" fmla="*/ 393 w 643"/>
                <a:gd name="T63" fmla="*/ 73 h 793"/>
                <a:gd name="T64" fmla="*/ 218 w 643"/>
                <a:gd name="T65" fmla="*/ 44 h 793"/>
                <a:gd name="T66" fmla="*/ 187 w 643"/>
                <a:gd name="T67" fmla="*/ 0 h 79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643"/>
                <a:gd name="T103" fmla="*/ 0 h 793"/>
                <a:gd name="T104" fmla="*/ 643 w 643"/>
                <a:gd name="T105" fmla="*/ 793 h 793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643" h="793">
                  <a:moveTo>
                    <a:pt x="187" y="0"/>
                  </a:moveTo>
                  <a:lnTo>
                    <a:pt x="162" y="28"/>
                  </a:lnTo>
                  <a:lnTo>
                    <a:pt x="177" y="107"/>
                  </a:lnTo>
                  <a:lnTo>
                    <a:pt x="198" y="116"/>
                  </a:lnTo>
                  <a:lnTo>
                    <a:pt x="211" y="141"/>
                  </a:lnTo>
                  <a:lnTo>
                    <a:pt x="198" y="189"/>
                  </a:lnTo>
                  <a:lnTo>
                    <a:pt x="185" y="307"/>
                  </a:lnTo>
                  <a:lnTo>
                    <a:pt x="145" y="316"/>
                  </a:lnTo>
                  <a:lnTo>
                    <a:pt x="125" y="296"/>
                  </a:lnTo>
                  <a:lnTo>
                    <a:pt x="106" y="324"/>
                  </a:lnTo>
                  <a:lnTo>
                    <a:pt x="69" y="337"/>
                  </a:lnTo>
                  <a:lnTo>
                    <a:pt x="41" y="397"/>
                  </a:lnTo>
                  <a:lnTo>
                    <a:pt x="24" y="419"/>
                  </a:lnTo>
                  <a:lnTo>
                    <a:pt x="30" y="447"/>
                  </a:lnTo>
                  <a:lnTo>
                    <a:pt x="20" y="490"/>
                  </a:lnTo>
                  <a:lnTo>
                    <a:pt x="0" y="507"/>
                  </a:lnTo>
                  <a:lnTo>
                    <a:pt x="0" y="524"/>
                  </a:lnTo>
                  <a:lnTo>
                    <a:pt x="13" y="528"/>
                  </a:lnTo>
                  <a:lnTo>
                    <a:pt x="50" y="528"/>
                  </a:lnTo>
                  <a:lnTo>
                    <a:pt x="82" y="548"/>
                  </a:lnTo>
                  <a:lnTo>
                    <a:pt x="104" y="587"/>
                  </a:lnTo>
                  <a:lnTo>
                    <a:pt x="84" y="613"/>
                  </a:lnTo>
                  <a:lnTo>
                    <a:pt x="91" y="638"/>
                  </a:lnTo>
                  <a:lnTo>
                    <a:pt x="119" y="638"/>
                  </a:lnTo>
                  <a:lnTo>
                    <a:pt x="121" y="664"/>
                  </a:lnTo>
                  <a:lnTo>
                    <a:pt x="99" y="690"/>
                  </a:lnTo>
                  <a:lnTo>
                    <a:pt x="76" y="701"/>
                  </a:lnTo>
                  <a:lnTo>
                    <a:pt x="91" y="709"/>
                  </a:lnTo>
                  <a:lnTo>
                    <a:pt x="95" y="722"/>
                  </a:lnTo>
                  <a:lnTo>
                    <a:pt x="71" y="741"/>
                  </a:lnTo>
                  <a:lnTo>
                    <a:pt x="99" y="793"/>
                  </a:lnTo>
                  <a:lnTo>
                    <a:pt x="151" y="765"/>
                  </a:lnTo>
                  <a:lnTo>
                    <a:pt x="312" y="757"/>
                  </a:lnTo>
                  <a:lnTo>
                    <a:pt x="323" y="728"/>
                  </a:lnTo>
                  <a:lnTo>
                    <a:pt x="349" y="703"/>
                  </a:lnTo>
                  <a:lnTo>
                    <a:pt x="406" y="695"/>
                  </a:lnTo>
                  <a:lnTo>
                    <a:pt x="409" y="666"/>
                  </a:lnTo>
                  <a:lnTo>
                    <a:pt x="448" y="671"/>
                  </a:lnTo>
                  <a:lnTo>
                    <a:pt x="471" y="703"/>
                  </a:lnTo>
                  <a:lnTo>
                    <a:pt x="524" y="716"/>
                  </a:lnTo>
                  <a:lnTo>
                    <a:pt x="534" y="695"/>
                  </a:lnTo>
                  <a:lnTo>
                    <a:pt x="547" y="648"/>
                  </a:lnTo>
                  <a:lnTo>
                    <a:pt x="581" y="564"/>
                  </a:lnTo>
                  <a:lnTo>
                    <a:pt x="599" y="554"/>
                  </a:lnTo>
                  <a:lnTo>
                    <a:pt x="643" y="559"/>
                  </a:lnTo>
                  <a:lnTo>
                    <a:pt x="643" y="489"/>
                  </a:lnTo>
                  <a:lnTo>
                    <a:pt x="625" y="471"/>
                  </a:lnTo>
                  <a:lnTo>
                    <a:pt x="625" y="395"/>
                  </a:lnTo>
                  <a:lnTo>
                    <a:pt x="617" y="369"/>
                  </a:lnTo>
                  <a:lnTo>
                    <a:pt x="617" y="328"/>
                  </a:lnTo>
                  <a:lnTo>
                    <a:pt x="643" y="301"/>
                  </a:lnTo>
                  <a:lnTo>
                    <a:pt x="643" y="249"/>
                  </a:lnTo>
                  <a:lnTo>
                    <a:pt x="630" y="239"/>
                  </a:lnTo>
                  <a:lnTo>
                    <a:pt x="633" y="166"/>
                  </a:lnTo>
                  <a:lnTo>
                    <a:pt x="612" y="156"/>
                  </a:lnTo>
                  <a:lnTo>
                    <a:pt x="581" y="156"/>
                  </a:lnTo>
                  <a:lnTo>
                    <a:pt x="555" y="135"/>
                  </a:lnTo>
                  <a:lnTo>
                    <a:pt x="526" y="168"/>
                  </a:lnTo>
                  <a:lnTo>
                    <a:pt x="503" y="171"/>
                  </a:lnTo>
                  <a:lnTo>
                    <a:pt x="482" y="200"/>
                  </a:lnTo>
                  <a:lnTo>
                    <a:pt x="461" y="195"/>
                  </a:lnTo>
                  <a:lnTo>
                    <a:pt x="417" y="156"/>
                  </a:lnTo>
                  <a:lnTo>
                    <a:pt x="401" y="106"/>
                  </a:lnTo>
                  <a:lnTo>
                    <a:pt x="393" y="73"/>
                  </a:lnTo>
                  <a:lnTo>
                    <a:pt x="265" y="73"/>
                  </a:lnTo>
                  <a:lnTo>
                    <a:pt x="218" y="44"/>
                  </a:lnTo>
                  <a:lnTo>
                    <a:pt x="250" y="3"/>
                  </a:lnTo>
                  <a:lnTo>
                    <a:pt x="187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35</a:t>
              </a:r>
            </a:p>
          </p:txBody>
        </p:sp>
        <p:sp>
          <p:nvSpPr>
            <p:cNvPr id="60" name="FR-44">
              <a:extLst>
                <a:ext uri="{FF2B5EF4-FFF2-40B4-BE49-F238E27FC236}">
                  <a16:creationId xmlns:a16="http://schemas.microsoft.com/office/drawing/2014/main" id="{8BF313C0-75DF-4FE9-9148-D23EA659B83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375076" y="4396909"/>
              <a:ext cx="389902" cy="324268"/>
            </a:xfrm>
            <a:custGeom>
              <a:avLst/>
              <a:gdLst>
                <a:gd name="T0" fmla="*/ 581 w 844"/>
                <a:gd name="T1" fmla="*/ 29 h 736"/>
                <a:gd name="T2" fmla="*/ 498 w 844"/>
                <a:gd name="T3" fmla="*/ 62 h 736"/>
                <a:gd name="T4" fmla="*/ 326 w 844"/>
                <a:gd name="T5" fmla="*/ 99 h 736"/>
                <a:gd name="T6" fmla="*/ 256 w 844"/>
                <a:gd name="T7" fmla="*/ 208 h 736"/>
                <a:gd name="T8" fmla="*/ 133 w 844"/>
                <a:gd name="T9" fmla="*/ 263 h 736"/>
                <a:gd name="T10" fmla="*/ 76 w 844"/>
                <a:gd name="T11" fmla="*/ 245 h 736"/>
                <a:gd name="T12" fmla="*/ 42 w 844"/>
                <a:gd name="T13" fmla="*/ 270 h 736"/>
                <a:gd name="T14" fmla="*/ 5 w 844"/>
                <a:gd name="T15" fmla="*/ 324 h 736"/>
                <a:gd name="T16" fmla="*/ 26 w 844"/>
                <a:gd name="T17" fmla="*/ 355 h 736"/>
                <a:gd name="T18" fmla="*/ 29 w 844"/>
                <a:gd name="T19" fmla="*/ 407 h 736"/>
                <a:gd name="T20" fmla="*/ 83 w 844"/>
                <a:gd name="T21" fmla="*/ 397 h 736"/>
                <a:gd name="T22" fmla="*/ 159 w 844"/>
                <a:gd name="T23" fmla="*/ 433 h 736"/>
                <a:gd name="T24" fmla="*/ 237 w 844"/>
                <a:gd name="T25" fmla="*/ 397 h 736"/>
                <a:gd name="T26" fmla="*/ 193 w 844"/>
                <a:gd name="T27" fmla="*/ 446 h 736"/>
                <a:gd name="T28" fmla="*/ 175 w 844"/>
                <a:gd name="T29" fmla="*/ 498 h 736"/>
                <a:gd name="T30" fmla="*/ 149 w 844"/>
                <a:gd name="T31" fmla="*/ 537 h 736"/>
                <a:gd name="T32" fmla="*/ 274 w 844"/>
                <a:gd name="T33" fmla="*/ 590 h 736"/>
                <a:gd name="T34" fmla="*/ 320 w 844"/>
                <a:gd name="T35" fmla="*/ 626 h 736"/>
                <a:gd name="T36" fmla="*/ 375 w 844"/>
                <a:gd name="T37" fmla="*/ 671 h 736"/>
                <a:gd name="T38" fmla="*/ 425 w 844"/>
                <a:gd name="T39" fmla="*/ 716 h 736"/>
                <a:gd name="T40" fmla="*/ 515 w 844"/>
                <a:gd name="T41" fmla="*/ 736 h 736"/>
                <a:gd name="T42" fmla="*/ 515 w 844"/>
                <a:gd name="T43" fmla="*/ 686 h 736"/>
                <a:gd name="T44" fmla="*/ 524 w 844"/>
                <a:gd name="T45" fmla="*/ 607 h 736"/>
                <a:gd name="T46" fmla="*/ 558 w 844"/>
                <a:gd name="T47" fmla="*/ 630 h 736"/>
                <a:gd name="T48" fmla="*/ 567 w 844"/>
                <a:gd name="T49" fmla="*/ 684 h 736"/>
                <a:gd name="T50" fmla="*/ 618 w 844"/>
                <a:gd name="T51" fmla="*/ 628 h 736"/>
                <a:gd name="T52" fmla="*/ 644 w 844"/>
                <a:gd name="T53" fmla="*/ 611 h 736"/>
                <a:gd name="T54" fmla="*/ 674 w 844"/>
                <a:gd name="T55" fmla="*/ 585 h 736"/>
                <a:gd name="T56" fmla="*/ 734 w 844"/>
                <a:gd name="T57" fmla="*/ 621 h 736"/>
                <a:gd name="T58" fmla="*/ 713 w 844"/>
                <a:gd name="T59" fmla="*/ 566 h 736"/>
                <a:gd name="T60" fmla="*/ 687 w 844"/>
                <a:gd name="T61" fmla="*/ 568 h 736"/>
                <a:gd name="T62" fmla="*/ 685 w 844"/>
                <a:gd name="T63" fmla="*/ 551 h 736"/>
                <a:gd name="T64" fmla="*/ 707 w 844"/>
                <a:gd name="T65" fmla="*/ 525 h 736"/>
                <a:gd name="T66" fmla="*/ 709 w 844"/>
                <a:gd name="T67" fmla="*/ 484 h 736"/>
                <a:gd name="T68" fmla="*/ 679 w 844"/>
                <a:gd name="T69" fmla="*/ 447 h 736"/>
                <a:gd name="T70" fmla="*/ 651 w 844"/>
                <a:gd name="T71" fmla="*/ 387 h 736"/>
                <a:gd name="T72" fmla="*/ 735 w 844"/>
                <a:gd name="T73" fmla="*/ 362 h 736"/>
                <a:gd name="T74" fmla="*/ 844 w 844"/>
                <a:gd name="T75" fmla="*/ 346 h 736"/>
                <a:gd name="T76" fmla="*/ 797 w 844"/>
                <a:gd name="T77" fmla="*/ 256 h 736"/>
                <a:gd name="T78" fmla="*/ 737 w 844"/>
                <a:gd name="T79" fmla="*/ 252 h 736"/>
                <a:gd name="T80" fmla="*/ 769 w 844"/>
                <a:gd name="T81" fmla="*/ 183 h 736"/>
                <a:gd name="T82" fmla="*/ 726 w 844"/>
                <a:gd name="T83" fmla="*/ 105 h 736"/>
                <a:gd name="T84" fmla="*/ 698 w 844"/>
                <a:gd name="T85" fmla="*/ 58 h 736"/>
                <a:gd name="T86" fmla="*/ 646 w 844"/>
                <a:gd name="T87" fmla="*/ 37 h 736"/>
                <a:gd name="T88" fmla="*/ 584 w 844"/>
                <a:gd name="T89" fmla="*/ 0 h 7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4"/>
                <a:gd name="T136" fmla="*/ 0 h 736"/>
                <a:gd name="T137" fmla="*/ 844 w 844"/>
                <a:gd name="T138" fmla="*/ 736 h 7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4" h="736">
                  <a:moveTo>
                    <a:pt x="584" y="0"/>
                  </a:moveTo>
                  <a:lnTo>
                    <a:pt x="581" y="29"/>
                  </a:lnTo>
                  <a:lnTo>
                    <a:pt x="524" y="37"/>
                  </a:lnTo>
                  <a:lnTo>
                    <a:pt x="498" y="62"/>
                  </a:lnTo>
                  <a:lnTo>
                    <a:pt x="487" y="91"/>
                  </a:lnTo>
                  <a:lnTo>
                    <a:pt x="326" y="99"/>
                  </a:lnTo>
                  <a:lnTo>
                    <a:pt x="258" y="135"/>
                  </a:lnTo>
                  <a:lnTo>
                    <a:pt x="256" y="208"/>
                  </a:lnTo>
                  <a:lnTo>
                    <a:pt x="183" y="237"/>
                  </a:lnTo>
                  <a:lnTo>
                    <a:pt x="133" y="263"/>
                  </a:lnTo>
                  <a:lnTo>
                    <a:pt x="92" y="263"/>
                  </a:lnTo>
                  <a:lnTo>
                    <a:pt x="76" y="245"/>
                  </a:lnTo>
                  <a:lnTo>
                    <a:pt x="53" y="268"/>
                  </a:lnTo>
                  <a:lnTo>
                    <a:pt x="42" y="270"/>
                  </a:lnTo>
                  <a:lnTo>
                    <a:pt x="55" y="280"/>
                  </a:lnTo>
                  <a:lnTo>
                    <a:pt x="5" y="324"/>
                  </a:lnTo>
                  <a:lnTo>
                    <a:pt x="16" y="334"/>
                  </a:lnTo>
                  <a:lnTo>
                    <a:pt x="26" y="355"/>
                  </a:lnTo>
                  <a:lnTo>
                    <a:pt x="0" y="392"/>
                  </a:lnTo>
                  <a:lnTo>
                    <a:pt x="29" y="407"/>
                  </a:lnTo>
                  <a:lnTo>
                    <a:pt x="78" y="417"/>
                  </a:lnTo>
                  <a:lnTo>
                    <a:pt x="83" y="397"/>
                  </a:lnTo>
                  <a:lnTo>
                    <a:pt x="112" y="433"/>
                  </a:lnTo>
                  <a:lnTo>
                    <a:pt x="159" y="433"/>
                  </a:lnTo>
                  <a:lnTo>
                    <a:pt x="193" y="397"/>
                  </a:lnTo>
                  <a:lnTo>
                    <a:pt x="237" y="397"/>
                  </a:lnTo>
                  <a:lnTo>
                    <a:pt x="190" y="420"/>
                  </a:lnTo>
                  <a:lnTo>
                    <a:pt x="193" y="446"/>
                  </a:lnTo>
                  <a:lnTo>
                    <a:pt x="203" y="470"/>
                  </a:lnTo>
                  <a:lnTo>
                    <a:pt x="175" y="498"/>
                  </a:lnTo>
                  <a:lnTo>
                    <a:pt x="143" y="498"/>
                  </a:lnTo>
                  <a:lnTo>
                    <a:pt x="149" y="537"/>
                  </a:lnTo>
                  <a:lnTo>
                    <a:pt x="206" y="527"/>
                  </a:lnTo>
                  <a:lnTo>
                    <a:pt x="274" y="590"/>
                  </a:lnTo>
                  <a:lnTo>
                    <a:pt x="270" y="594"/>
                  </a:lnTo>
                  <a:lnTo>
                    <a:pt x="320" y="626"/>
                  </a:lnTo>
                  <a:lnTo>
                    <a:pt x="330" y="652"/>
                  </a:lnTo>
                  <a:lnTo>
                    <a:pt x="375" y="671"/>
                  </a:lnTo>
                  <a:lnTo>
                    <a:pt x="410" y="675"/>
                  </a:lnTo>
                  <a:lnTo>
                    <a:pt x="425" y="716"/>
                  </a:lnTo>
                  <a:lnTo>
                    <a:pt x="479" y="729"/>
                  </a:lnTo>
                  <a:lnTo>
                    <a:pt x="515" y="736"/>
                  </a:lnTo>
                  <a:lnTo>
                    <a:pt x="535" y="714"/>
                  </a:lnTo>
                  <a:lnTo>
                    <a:pt x="515" y="686"/>
                  </a:lnTo>
                  <a:lnTo>
                    <a:pt x="507" y="626"/>
                  </a:lnTo>
                  <a:lnTo>
                    <a:pt x="524" y="607"/>
                  </a:lnTo>
                  <a:lnTo>
                    <a:pt x="547" y="607"/>
                  </a:lnTo>
                  <a:lnTo>
                    <a:pt x="558" y="630"/>
                  </a:lnTo>
                  <a:lnTo>
                    <a:pt x="552" y="673"/>
                  </a:lnTo>
                  <a:lnTo>
                    <a:pt x="567" y="684"/>
                  </a:lnTo>
                  <a:lnTo>
                    <a:pt x="605" y="671"/>
                  </a:lnTo>
                  <a:lnTo>
                    <a:pt x="618" y="628"/>
                  </a:lnTo>
                  <a:lnTo>
                    <a:pt x="601" y="611"/>
                  </a:lnTo>
                  <a:lnTo>
                    <a:pt x="644" y="611"/>
                  </a:lnTo>
                  <a:lnTo>
                    <a:pt x="659" y="583"/>
                  </a:lnTo>
                  <a:lnTo>
                    <a:pt x="674" y="585"/>
                  </a:lnTo>
                  <a:lnTo>
                    <a:pt x="709" y="617"/>
                  </a:lnTo>
                  <a:lnTo>
                    <a:pt x="734" y="621"/>
                  </a:lnTo>
                  <a:lnTo>
                    <a:pt x="735" y="594"/>
                  </a:lnTo>
                  <a:lnTo>
                    <a:pt x="713" y="566"/>
                  </a:lnTo>
                  <a:lnTo>
                    <a:pt x="694" y="566"/>
                  </a:lnTo>
                  <a:lnTo>
                    <a:pt x="687" y="568"/>
                  </a:lnTo>
                  <a:lnTo>
                    <a:pt x="674" y="562"/>
                  </a:lnTo>
                  <a:lnTo>
                    <a:pt x="685" y="551"/>
                  </a:lnTo>
                  <a:lnTo>
                    <a:pt x="685" y="531"/>
                  </a:lnTo>
                  <a:lnTo>
                    <a:pt x="707" y="525"/>
                  </a:lnTo>
                  <a:lnTo>
                    <a:pt x="720" y="495"/>
                  </a:lnTo>
                  <a:lnTo>
                    <a:pt x="709" y="484"/>
                  </a:lnTo>
                  <a:lnTo>
                    <a:pt x="707" y="447"/>
                  </a:lnTo>
                  <a:lnTo>
                    <a:pt x="679" y="447"/>
                  </a:lnTo>
                  <a:lnTo>
                    <a:pt x="651" y="413"/>
                  </a:lnTo>
                  <a:lnTo>
                    <a:pt x="651" y="387"/>
                  </a:lnTo>
                  <a:lnTo>
                    <a:pt x="681" y="372"/>
                  </a:lnTo>
                  <a:lnTo>
                    <a:pt x="735" y="362"/>
                  </a:lnTo>
                  <a:lnTo>
                    <a:pt x="818" y="364"/>
                  </a:lnTo>
                  <a:lnTo>
                    <a:pt x="844" y="346"/>
                  </a:lnTo>
                  <a:lnTo>
                    <a:pt x="835" y="292"/>
                  </a:lnTo>
                  <a:lnTo>
                    <a:pt x="797" y="256"/>
                  </a:lnTo>
                  <a:lnTo>
                    <a:pt x="750" y="262"/>
                  </a:lnTo>
                  <a:lnTo>
                    <a:pt x="737" y="252"/>
                  </a:lnTo>
                  <a:lnTo>
                    <a:pt x="735" y="213"/>
                  </a:lnTo>
                  <a:lnTo>
                    <a:pt x="769" y="183"/>
                  </a:lnTo>
                  <a:lnTo>
                    <a:pt x="743" y="151"/>
                  </a:lnTo>
                  <a:lnTo>
                    <a:pt x="726" y="105"/>
                  </a:lnTo>
                  <a:lnTo>
                    <a:pt x="698" y="88"/>
                  </a:lnTo>
                  <a:lnTo>
                    <a:pt x="698" y="58"/>
                  </a:lnTo>
                  <a:lnTo>
                    <a:pt x="695" y="49"/>
                  </a:lnTo>
                  <a:lnTo>
                    <a:pt x="646" y="37"/>
                  </a:lnTo>
                  <a:lnTo>
                    <a:pt x="623" y="5"/>
                  </a:lnTo>
                  <a:lnTo>
                    <a:pt x="584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44</a:t>
              </a:r>
            </a:p>
          </p:txBody>
        </p:sp>
        <p:sp>
          <p:nvSpPr>
            <p:cNvPr id="61" name="FR-49">
              <a:extLst>
                <a:ext uri="{FF2B5EF4-FFF2-40B4-BE49-F238E27FC236}">
                  <a16:creationId xmlns:a16="http://schemas.microsoft.com/office/drawing/2014/main" id="{20CC73B5-2D4B-45DC-8F16-5211B42D7FF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675818" y="4413651"/>
              <a:ext cx="365880" cy="276245"/>
            </a:xfrm>
            <a:custGeom>
              <a:avLst/>
              <a:gdLst>
                <a:gd name="T0" fmla="*/ 48 w 792"/>
                <a:gd name="T1" fmla="*/ 12 h 627"/>
                <a:gd name="T2" fmla="*/ 47 w 792"/>
                <a:gd name="T3" fmla="*/ 20 h 627"/>
                <a:gd name="T4" fmla="*/ 75 w 792"/>
                <a:gd name="T5" fmla="*/ 67 h 627"/>
                <a:gd name="T6" fmla="*/ 118 w 792"/>
                <a:gd name="T7" fmla="*/ 145 h 627"/>
                <a:gd name="T8" fmla="*/ 86 w 792"/>
                <a:gd name="T9" fmla="*/ 214 h 627"/>
                <a:gd name="T10" fmla="*/ 146 w 792"/>
                <a:gd name="T11" fmla="*/ 218 h 627"/>
                <a:gd name="T12" fmla="*/ 193 w 792"/>
                <a:gd name="T13" fmla="*/ 308 h 627"/>
                <a:gd name="T14" fmla="*/ 84 w 792"/>
                <a:gd name="T15" fmla="*/ 324 h 627"/>
                <a:gd name="T16" fmla="*/ 0 w 792"/>
                <a:gd name="T17" fmla="*/ 349 h 627"/>
                <a:gd name="T18" fmla="*/ 28 w 792"/>
                <a:gd name="T19" fmla="*/ 409 h 627"/>
                <a:gd name="T20" fmla="*/ 58 w 792"/>
                <a:gd name="T21" fmla="*/ 446 h 627"/>
                <a:gd name="T22" fmla="*/ 56 w 792"/>
                <a:gd name="T23" fmla="*/ 487 h 627"/>
                <a:gd name="T24" fmla="*/ 34 w 792"/>
                <a:gd name="T25" fmla="*/ 513 h 627"/>
                <a:gd name="T26" fmla="*/ 36 w 792"/>
                <a:gd name="T27" fmla="*/ 530 h 627"/>
                <a:gd name="T28" fmla="*/ 62 w 792"/>
                <a:gd name="T29" fmla="*/ 528 h 627"/>
                <a:gd name="T30" fmla="*/ 83 w 792"/>
                <a:gd name="T31" fmla="*/ 583 h 627"/>
                <a:gd name="T32" fmla="*/ 109 w 792"/>
                <a:gd name="T33" fmla="*/ 597 h 627"/>
                <a:gd name="T34" fmla="*/ 211 w 792"/>
                <a:gd name="T35" fmla="*/ 627 h 627"/>
                <a:gd name="T36" fmla="*/ 342 w 792"/>
                <a:gd name="T37" fmla="*/ 624 h 627"/>
                <a:gd name="T38" fmla="*/ 378 w 792"/>
                <a:gd name="T39" fmla="*/ 564 h 627"/>
                <a:gd name="T40" fmla="*/ 514 w 792"/>
                <a:gd name="T41" fmla="*/ 545 h 627"/>
                <a:gd name="T42" fmla="*/ 592 w 792"/>
                <a:gd name="T43" fmla="*/ 561 h 627"/>
                <a:gd name="T44" fmla="*/ 628 w 792"/>
                <a:gd name="T45" fmla="*/ 545 h 627"/>
                <a:gd name="T46" fmla="*/ 698 w 792"/>
                <a:gd name="T47" fmla="*/ 493 h 627"/>
                <a:gd name="T48" fmla="*/ 769 w 792"/>
                <a:gd name="T49" fmla="*/ 337 h 627"/>
                <a:gd name="T50" fmla="*/ 792 w 792"/>
                <a:gd name="T51" fmla="*/ 246 h 627"/>
                <a:gd name="T52" fmla="*/ 779 w 792"/>
                <a:gd name="T53" fmla="*/ 214 h 627"/>
                <a:gd name="T54" fmla="*/ 752 w 792"/>
                <a:gd name="T55" fmla="*/ 184 h 627"/>
                <a:gd name="T56" fmla="*/ 541 w 792"/>
                <a:gd name="T57" fmla="*/ 87 h 627"/>
                <a:gd name="T58" fmla="*/ 503 w 792"/>
                <a:gd name="T59" fmla="*/ 59 h 627"/>
                <a:gd name="T60" fmla="*/ 454 w 792"/>
                <a:gd name="T61" fmla="*/ 39 h 627"/>
                <a:gd name="T62" fmla="*/ 376 w 792"/>
                <a:gd name="T63" fmla="*/ 54 h 627"/>
                <a:gd name="T64" fmla="*/ 277 w 792"/>
                <a:gd name="T65" fmla="*/ 39 h 627"/>
                <a:gd name="T66" fmla="*/ 182 w 792"/>
                <a:gd name="T67" fmla="*/ 37 h 627"/>
                <a:gd name="T68" fmla="*/ 101 w 792"/>
                <a:gd name="T69" fmla="*/ 9 h 62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792"/>
                <a:gd name="T106" fmla="*/ 0 h 627"/>
                <a:gd name="T107" fmla="*/ 792 w 792"/>
                <a:gd name="T108" fmla="*/ 627 h 627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792" h="627">
                  <a:moveTo>
                    <a:pt x="54" y="0"/>
                  </a:moveTo>
                  <a:lnTo>
                    <a:pt x="48" y="12"/>
                  </a:lnTo>
                  <a:lnTo>
                    <a:pt x="44" y="11"/>
                  </a:lnTo>
                  <a:lnTo>
                    <a:pt x="47" y="20"/>
                  </a:lnTo>
                  <a:lnTo>
                    <a:pt x="47" y="50"/>
                  </a:lnTo>
                  <a:lnTo>
                    <a:pt x="75" y="67"/>
                  </a:lnTo>
                  <a:lnTo>
                    <a:pt x="92" y="113"/>
                  </a:lnTo>
                  <a:lnTo>
                    <a:pt x="118" y="145"/>
                  </a:lnTo>
                  <a:lnTo>
                    <a:pt x="84" y="175"/>
                  </a:lnTo>
                  <a:lnTo>
                    <a:pt x="86" y="214"/>
                  </a:lnTo>
                  <a:lnTo>
                    <a:pt x="99" y="224"/>
                  </a:lnTo>
                  <a:lnTo>
                    <a:pt x="146" y="218"/>
                  </a:lnTo>
                  <a:lnTo>
                    <a:pt x="184" y="254"/>
                  </a:lnTo>
                  <a:lnTo>
                    <a:pt x="193" y="308"/>
                  </a:lnTo>
                  <a:lnTo>
                    <a:pt x="167" y="326"/>
                  </a:lnTo>
                  <a:lnTo>
                    <a:pt x="84" y="324"/>
                  </a:lnTo>
                  <a:lnTo>
                    <a:pt x="30" y="334"/>
                  </a:lnTo>
                  <a:lnTo>
                    <a:pt x="0" y="349"/>
                  </a:lnTo>
                  <a:lnTo>
                    <a:pt x="0" y="375"/>
                  </a:lnTo>
                  <a:lnTo>
                    <a:pt x="28" y="409"/>
                  </a:lnTo>
                  <a:lnTo>
                    <a:pt x="56" y="409"/>
                  </a:lnTo>
                  <a:lnTo>
                    <a:pt x="58" y="446"/>
                  </a:lnTo>
                  <a:lnTo>
                    <a:pt x="69" y="457"/>
                  </a:lnTo>
                  <a:lnTo>
                    <a:pt x="56" y="487"/>
                  </a:lnTo>
                  <a:lnTo>
                    <a:pt x="34" y="493"/>
                  </a:lnTo>
                  <a:lnTo>
                    <a:pt x="34" y="513"/>
                  </a:lnTo>
                  <a:lnTo>
                    <a:pt x="23" y="524"/>
                  </a:lnTo>
                  <a:lnTo>
                    <a:pt x="36" y="530"/>
                  </a:lnTo>
                  <a:lnTo>
                    <a:pt x="43" y="528"/>
                  </a:lnTo>
                  <a:lnTo>
                    <a:pt x="62" y="528"/>
                  </a:lnTo>
                  <a:lnTo>
                    <a:pt x="84" y="556"/>
                  </a:lnTo>
                  <a:lnTo>
                    <a:pt x="83" y="583"/>
                  </a:lnTo>
                  <a:lnTo>
                    <a:pt x="88" y="584"/>
                  </a:lnTo>
                  <a:lnTo>
                    <a:pt x="109" y="597"/>
                  </a:lnTo>
                  <a:lnTo>
                    <a:pt x="176" y="597"/>
                  </a:lnTo>
                  <a:lnTo>
                    <a:pt x="211" y="627"/>
                  </a:lnTo>
                  <a:lnTo>
                    <a:pt x="261" y="605"/>
                  </a:lnTo>
                  <a:lnTo>
                    <a:pt x="342" y="624"/>
                  </a:lnTo>
                  <a:lnTo>
                    <a:pt x="378" y="600"/>
                  </a:lnTo>
                  <a:lnTo>
                    <a:pt x="378" y="564"/>
                  </a:lnTo>
                  <a:lnTo>
                    <a:pt x="449" y="558"/>
                  </a:lnTo>
                  <a:lnTo>
                    <a:pt x="514" y="545"/>
                  </a:lnTo>
                  <a:lnTo>
                    <a:pt x="584" y="543"/>
                  </a:lnTo>
                  <a:lnTo>
                    <a:pt x="592" y="561"/>
                  </a:lnTo>
                  <a:lnTo>
                    <a:pt x="610" y="577"/>
                  </a:lnTo>
                  <a:lnTo>
                    <a:pt x="628" y="545"/>
                  </a:lnTo>
                  <a:lnTo>
                    <a:pt x="678" y="493"/>
                  </a:lnTo>
                  <a:lnTo>
                    <a:pt x="698" y="493"/>
                  </a:lnTo>
                  <a:lnTo>
                    <a:pt x="727" y="387"/>
                  </a:lnTo>
                  <a:lnTo>
                    <a:pt x="769" y="337"/>
                  </a:lnTo>
                  <a:lnTo>
                    <a:pt x="766" y="280"/>
                  </a:lnTo>
                  <a:lnTo>
                    <a:pt x="792" y="246"/>
                  </a:lnTo>
                  <a:lnTo>
                    <a:pt x="792" y="230"/>
                  </a:lnTo>
                  <a:lnTo>
                    <a:pt x="779" y="214"/>
                  </a:lnTo>
                  <a:lnTo>
                    <a:pt x="788" y="197"/>
                  </a:lnTo>
                  <a:lnTo>
                    <a:pt x="752" y="184"/>
                  </a:lnTo>
                  <a:lnTo>
                    <a:pt x="643" y="117"/>
                  </a:lnTo>
                  <a:lnTo>
                    <a:pt x="541" y="87"/>
                  </a:lnTo>
                  <a:lnTo>
                    <a:pt x="503" y="85"/>
                  </a:lnTo>
                  <a:lnTo>
                    <a:pt x="503" y="59"/>
                  </a:lnTo>
                  <a:lnTo>
                    <a:pt x="479" y="39"/>
                  </a:lnTo>
                  <a:lnTo>
                    <a:pt x="454" y="39"/>
                  </a:lnTo>
                  <a:lnTo>
                    <a:pt x="406" y="24"/>
                  </a:lnTo>
                  <a:lnTo>
                    <a:pt x="376" y="54"/>
                  </a:lnTo>
                  <a:lnTo>
                    <a:pt x="307" y="57"/>
                  </a:lnTo>
                  <a:lnTo>
                    <a:pt x="277" y="39"/>
                  </a:lnTo>
                  <a:lnTo>
                    <a:pt x="200" y="16"/>
                  </a:lnTo>
                  <a:lnTo>
                    <a:pt x="182" y="37"/>
                  </a:lnTo>
                  <a:lnTo>
                    <a:pt x="139" y="9"/>
                  </a:lnTo>
                  <a:lnTo>
                    <a:pt x="101" y="9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0063AC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solidFill>
                    <a:schemeClr val="bg1"/>
                  </a:solidFill>
                  <a:latin typeface="+mj-lt"/>
                </a:rPr>
                <a:t>49</a:t>
              </a:r>
            </a:p>
          </p:txBody>
        </p:sp>
        <p:sp>
          <p:nvSpPr>
            <p:cNvPr id="62" name="FR-72">
              <a:extLst>
                <a:ext uri="{FF2B5EF4-FFF2-40B4-BE49-F238E27FC236}">
                  <a16:creationId xmlns:a16="http://schemas.microsoft.com/office/drawing/2014/main" id="{EB7A719E-C546-4237-B533-BE8741384B6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897101" y="4197325"/>
              <a:ext cx="305824" cy="304002"/>
            </a:xfrm>
            <a:custGeom>
              <a:avLst/>
              <a:gdLst>
                <a:gd name="T0" fmla="*/ 381 w 662"/>
                <a:gd name="T1" fmla="*/ 0 h 690"/>
                <a:gd name="T2" fmla="*/ 311 w 662"/>
                <a:gd name="T3" fmla="*/ 3 h 690"/>
                <a:gd name="T4" fmla="*/ 240 w 662"/>
                <a:gd name="T5" fmla="*/ 68 h 690"/>
                <a:gd name="T6" fmla="*/ 204 w 662"/>
                <a:gd name="T7" fmla="*/ 65 h 690"/>
                <a:gd name="T8" fmla="*/ 155 w 662"/>
                <a:gd name="T9" fmla="*/ 81 h 690"/>
                <a:gd name="T10" fmla="*/ 140 w 662"/>
                <a:gd name="T11" fmla="*/ 107 h 690"/>
                <a:gd name="T12" fmla="*/ 133 w 662"/>
                <a:gd name="T13" fmla="*/ 163 h 690"/>
                <a:gd name="T14" fmla="*/ 138 w 662"/>
                <a:gd name="T15" fmla="*/ 197 h 690"/>
                <a:gd name="T16" fmla="*/ 99 w 662"/>
                <a:gd name="T17" fmla="*/ 230 h 690"/>
                <a:gd name="T18" fmla="*/ 88 w 662"/>
                <a:gd name="T19" fmla="*/ 251 h 690"/>
                <a:gd name="T20" fmla="*/ 97 w 662"/>
                <a:gd name="T21" fmla="*/ 270 h 690"/>
                <a:gd name="T22" fmla="*/ 86 w 662"/>
                <a:gd name="T23" fmla="*/ 296 h 690"/>
                <a:gd name="T24" fmla="*/ 90 w 662"/>
                <a:gd name="T25" fmla="*/ 307 h 690"/>
                <a:gd name="T26" fmla="*/ 47 w 662"/>
                <a:gd name="T27" fmla="*/ 311 h 690"/>
                <a:gd name="T28" fmla="*/ 41 w 662"/>
                <a:gd name="T29" fmla="*/ 330 h 690"/>
                <a:gd name="T30" fmla="*/ 60 w 662"/>
                <a:gd name="T31" fmla="*/ 378 h 690"/>
                <a:gd name="T32" fmla="*/ 58 w 662"/>
                <a:gd name="T33" fmla="*/ 391 h 690"/>
                <a:gd name="T34" fmla="*/ 41 w 662"/>
                <a:gd name="T35" fmla="*/ 406 h 690"/>
                <a:gd name="T36" fmla="*/ 5 w 662"/>
                <a:gd name="T37" fmla="*/ 408 h 690"/>
                <a:gd name="T38" fmla="*/ 0 w 662"/>
                <a:gd name="T39" fmla="*/ 421 h 690"/>
                <a:gd name="T40" fmla="*/ 9 w 662"/>
                <a:gd name="T41" fmla="*/ 434 h 690"/>
                <a:gd name="T42" fmla="*/ 9 w 662"/>
                <a:gd name="T43" fmla="*/ 511 h 690"/>
                <a:gd name="T44" fmla="*/ 0 w 662"/>
                <a:gd name="T45" fmla="*/ 531 h 690"/>
                <a:gd name="T46" fmla="*/ 24 w 662"/>
                <a:gd name="T47" fmla="*/ 550 h 690"/>
                <a:gd name="T48" fmla="*/ 24 w 662"/>
                <a:gd name="T49" fmla="*/ 576 h 690"/>
                <a:gd name="T50" fmla="*/ 62 w 662"/>
                <a:gd name="T51" fmla="*/ 578 h 690"/>
                <a:gd name="T52" fmla="*/ 164 w 662"/>
                <a:gd name="T53" fmla="*/ 608 h 690"/>
                <a:gd name="T54" fmla="*/ 273 w 662"/>
                <a:gd name="T55" fmla="*/ 675 h 690"/>
                <a:gd name="T56" fmla="*/ 309 w 662"/>
                <a:gd name="T57" fmla="*/ 688 h 690"/>
                <a:gd name="T58" fmla="*/ 326 w 662"/>
                <a:gd name="T59" fmla="*/ 653 h 690"/>
                <a:gd name="T60" fmla="*/ 378 w 662"/>
                <a:gd name="T61" fmla="*/ 690 h 690"/>
                <a:gd name="T62" fmla="*/ 407 w 662"/>
                <a:gd name="T63" fmla="*/ 690 h 690"/>
                <a:gd name="T64" fmla="*/ 391 w 662"/>
                <a:gd name="T65" fmla="*/ 638 h 690"/>
                <a:gd name="T66" fmla="*/ 423 w 662"/>
                <a:gd name="T67" fmla="*/ 659 h 690"/>
                <a:gd name="T68" fmla="*/ 441 w 662"/>
                <a:gd name="T69" fmla="*/ 633 h 690"/>
                <a:gd name="T70" fmla="*/ 516 w 662"/>
                <a:gd name="T71" fmla="*/ 612 h 690"/>
                <a:gd name="T72" fmla="*/ 503 w 662"/>
                <a:gd name="T73" fmla="*/ 580 h 690"/>
                <a:gd name="T74" fmla="*/ 522 w 662"/>
                <a:gd name="T75" fmla="*/ 557 h 690"/>
                <a:gd name="T76" fmla="*/ 561 w 662"/>
                <a:gd name="T77" fmla="*/ 542 h 690"/>
                <a:gd name="T78" fmla="*/ 597 w 662"/>
                <a:gd name="T79" fmla="*/ 495 h 690"/>
                <a:gd name="T80" fmla="*/ 597 w 662"/>
                <a:gd name="T81" fmla="*/ 445 h 690"/>
                <a:gd name="T82" fmla="*/ 623 w 662"/>
                <a:gd name="T83" fmla="*/ 445 h 690"/>
                <a:gd name="T84" fmla="*/ 634 w 662"/>
                <a:gd name="T85" fmla="*/ 409 h 690"/>
                <a:gd name="T86" fmla="*/ 636 w 662"/>
                <a:gd name="T87" fmla="*/ 354 h 690"/>
                <a:gd name="T88" fmla="*/ 610 w 662"/>
                <a:gd name="T89" fmla="*/ 330 h 690"/>
                <a:gd name="T90" fmla="*/ 631 w 662"/>
                <a:gd name="T91" fmla="*/ 294 h 690"/>
                <a:gd name="T92" fmla="*/ 662 w 662"/>
                <a:gd name="T93" fmla="*/ 255 h 690"/>
                <a:gd name="T94" fmla="*/ 626 w 662"/>
                <a:gd name="T95" fmla="*/ 229 h 690"/>
                <a:gd name="T96" fmla="*/ 592 w 662"/>
                <a:gd name="T97" fmla="*/ 224 h 690"/>
                <a:gd name="T98" fmla="*/ 555 w 662"/>
                <a:gd name="T99" fmla="*/ 169 h 690"/>
                <a:gd name="T100" fmla="*/ 545 w 662"/>
                <a:gd name="T101" fmla="*/ 169 h 690"/>
                <a:gd name="T102" fmla="*/ 542 w 662"/>
                <a:gd name="T103" fmla="*/ 195 h 690"/>
                <a:gd name="T104" fmla="*/ 540 w 662"/>
                <a:gd name="T105" fmla="*/ 177 h 690"/>
                <a:gd name="T106" fmla="*/ 485 w 662"/>
                <a:gd name="T107" fmla="*/ 177 h 690"/>
                <a:gd name="T108" fmla="*/ 459 w 662"/>
                <a:gd name="T109" fmla="*/ 138 h 690"/>
                <a:gd name="T110" fmla="*/ 415 w 662"/>
                <a:gd name="T111" fmla="*/ 122 h 690"/>
                <a:gd name="T112" fmla="*/ 402 w 662"/>
                <a:gd name="T113" fmla="*/ 28 h 690"/>
                <a:gd name="T114" fmla="*/ 381 w 662"/>
                <a:gd name="T115" fmla="*/ 0 h 69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62"/>
                <a:gd name="T175" fmla="*/ 0 h 690"/>
                <a:gd name="T176" fmla="*/ 662 w 662"/>
                <a:gd name="T177" fmla="*/ 690 h 69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62" h="690">
                  <a:moveTo>
                    <a:pt x="381" y="0"/>
                  </a:moveTo>
                  <a:lnTo>
                    <a:pt x="311" y="3"/>
                  </a:lnTo>
                  <a:lnTo>
                    <a:pt x="240" y="68"/>
                  </a:lnTo>
                  <a:lnTo>
                    <a:pt x="204" y="65"/>
                  </a:lnTo>
                  <a:lnTo>
                    <a:pt x="155" y="81"/>
                  </a:lnTo>
                  <a:lnTo>
                    <a:pt x="140" y="107"/>
                  </a:lnTo>
                  <a:lnTo>
                    <a:pt x="133" y="163"/>
                  </a:lnTo>
                  <a:lnTo>
                    <a:pt x="138" y="197"/>
                  </a:lnTo>
                  <a:lnTo>
                    <a:pt x="99" y="230"/>
                  </a:lnTo>
                  <a:lnTo>
                    <a:pt x="88" y="251"/>
                  </a:lnTo>
                  <a:lnTo>
                    <a:pt x="97" y="270"/>
                  </a:lnTo>
                  <a:lnTo>
                    <a:pt x="86" y="296"/>
                  </a:lnTo>
                  <a:lnTo>
                    <a:pt x="90" y="307"/>
                  </a:lnTo>
                  <a:lnTo>
                    <a:pt x="47" y="311"/>
                  </a:lnTo>
                  <a:lnTo>
                    <a:pt x="41" y="330"/>
                  </a:lnTo>
                  <a:lnTo>
                    <a:pt x="60" y="378"/>
                  </a:lnTo>
                  <a:lnTo>
                    <a:pt x="58" y="391"/>
                  </a:lnTo>
                  <a:lnTo>
                    <a:pt x="41" y="406"/>
                  </a:lnTo>
                  <a:lnTo>
                    <a:pt x="5" y="408"/>
                  </a:lnTo>
                  <a:lnTo>
                    <a:pt x="0" y="421"/>
                  </a:lnTo>
                  <a:lnTo>
                    <a:pt x="9" y="434"/>
                  </a:lnTo>
                  <a:lnTo>
                    <a:pt x="9" y="511"/>
                  </a:lnTo>
                  <a:lnTo>
                    <a:pt x="0" y="531"/>
                  </a:lnTo>
                  <a:lnTo>
                    <a:pt x="24" y="550"/>
                  </a:lnTo>
                  <a:lnTo>
                    <a:pt x="24" y="576"/>
                  </a:lnTo>
                  <a:lnTo>
                    <a:pt x="62" y="578"/>
                  </a:lnTo>
                  <a:lnTo>
                    <a:pt x="164" y="608"/>
                  </a:lnTo>
                  <a:lnTo>
                    <a:pt x="273" y="675"/>
                  </a:lnTo>
                  <a:lnTo>
                    <a:pt x="309" y="688"/>
                  </a:lnTo>
                  <a:lnTo>
                    <a:pt x="326" y="653"/>
                  </a:lnTo>
                  <a:lnTo>
                    <a:pt x="378" y="690"/>
                  </a:lnTo>
                  <a:lnTo>
                    <a:pt x="407" y="690"/>
                  </a:lnTo>
                  <a:lnTo>
                    <a:pt x="391" y="638"/>
                  </a:lnTo>
                  <a:lnTo>
                    <a:pt x="423" y="659"/>
                  </a:lnTo>
                  <a:lnTo>
                    <a:pt x="441" y="633"/>
                  </a:lnTo>
                  <a:lnTo>
                    <a:pt x="516" y="612"/>
                  </a:lnTo>
                  <a:lnTo>
                    <a:pt x="503" y="580"/>
                  </a:lnTo>
                  <a:lnTo>
                    <a:pt x="522" y="557"/>
                  </a:lnTo>
                  <a:lnTo>
                    <a:pt x="561" y="542"/>
                  </a:lnTo>
                  <a:lnTo>
                    <a:pt x="597" y="495"/>
                  </a:lnTo>
                  <a:lnTo>
                    <a:pt x="597" y="445"/>
                  </a:lnTo>
                  <a:lnTo>
                    <a:pt x="623" y="445"/>
                  </a:lnTo>
                  <a:lnTo>
                    <a:pt x="634" y="409"/>
                  </a:lnTo>
                  <a:lnTo>
                    <a:pt x="636" y="354"/>
                  </a:lnTo>
                  <a:lnTo>
                    <a:pt x="610" y="330"/>
                  </a:lnTo>
                  <a:lnTo>
                    <a:pt x="631" y="294"/>
                  </a:lnTo>
                  <a:lnTo>
                    <a:pt x="662" y="255"/>
                  </a:lnTo>
                  <a:lnTo>
                    <a:pt x="626" y="229"/>
                  </a:lnTo>
                  <a:lnTo>
                    <a:pt x="592" y="224"/>
                  </a:lnTo>
                  <a:lnTo>
                    <a:pt x="555" y="169"/>
                  </a:lnTo>
                  <a:lnTo>
                    <a:pt x="545" y="169"/>
                  </a:lnTo>
                  <a:lnTo>
                    <a:pt x="542" y="195"/>
                  </a:lnTo>
                  <a:lnTo>
                    <a:pt x="540" y="177"/>
                  </a:lnTo>
                  <a:lnTo>
                    <a:pt x="485" y="177"/>
                  </a:lnTo>
                  <a:lnTo>
                    <a:pt x="459" y="138"/>
                  </a:lnTo>
                  <a:lnTo>
                    <a:pt x="415" y="122"/>
                  </a:lnTo>
                  <a:lnTo>
                    <a:pt x="402" y="28"/>
                  </a:lnTo>
                  <a:lnTo>
                    <a:pt x="381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72</a:t>
              </a:r>
            </a:p>
          </p:txBody>
        </p:sp>
        <p:sp>
          <p:nvSpPr>
            <p:cNvPr id="63" name="FR-53">
              <a:extLst>
                <a:ext uri="{FF2B5EF4-FFF2-40B4-BE49-F238E27FC236}">
                  <a16:creationId xmlns:a16="http://schemas.microsoft.com/office/drawing/2014/main" id="{89A7263F-03BC-4F3F-9DD5-C5DAB790548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700764" y="4165162"/>
              <a:ext cx="290579" cy="273601"/>
            </a:xfrm>
            <a:custGeom>
              <a:avLst/>
              <a:gdLst>
                <a:gd name="T0" fmla="*/ 540 w 629"/>
                <a:gd name="T1" fmla="*/ 0 h 621"/>
                <a:gd name="T2" fmla="*/ 515 w 629"/>
                <a:gd name="T3" fmla="*/ 3 h 621"/>
                <a:gd name="T4" fmla="*/ 504 w 629"/>
                <a:gd name="T5" fmla="*/ 28 h 621"/>
                <a:gd name="T6" fmla="*/ 465 w 629"/>
                <a:gd name="T7" fmla="*/ 44 h 621"/>
                <a:gd name="T8" fmla="*/ 395 w 629"/>
                <a:gd name="T9" fmla="*/ 34 h 621"/>
                <a:gd name="T10" fmla="*/ 324 w 629"/>
                <a:gd name="T11" fmla="*/ 76 h 621"/>
                <a:gd name="T12" fmla="*/ 298 w 629"/>
                <a:gd name="T13" fmla="*/ 57 h 621"/>
                <a:gd name="T14" fmla="*/ 259 w 629"/>
                <a:gd name="T15" fmla="*/ 83 h 621"/>
                <a:gd name="T16" fmla="*/ 230 w 629"/>
                <a:gd name="T17" fmla="*/ 63 h 621"/>
                <a:gd name="T18" fmla="*/ 212 w 629"/>
                <a:gd name="T19" fmla="*/ 31 h 621"/>
                <a:gd name="T20" fmla="*/ 173 w 629"/>
                <a:gd name="T21" fmla="*/ 16 h 621"/>
                <a:gd name="T22" fmla="*/ 147 w 629"/>
                <a:gd name="T23" fmla="*/ 36 h 621"/>
                <a:gd name="T24" fmla="*/ 103 w 629"/>
                <a:gd name="T25" fmla="*/ 31 h 621"/>
                <a:gd name="T26" fmla="*/ 100 w 629"/>
                <a:gd name="T27" fmla="*/ 99 h 621"/>
                <a:gd name="T28" fmla="*/ 113 w 629"/>
                <a:gd name="T29" fmla="*/ 109 h 621"/>
                <a:gd name="T30" fmla="*/ 113 w 629"/>
                <a:gd name="T31" fmla="*/ 161 h 621"/>
                <a:gd name="T32" fmla="*/ 87 w 629"/>
                <a:gd name="T33" fmla="*/ 188 h 621"/>
                <a:gd name="T34" fmla="*/ 87 w 629"/>
                <a:gd name="T35" fmla="*/ 229 h 621"/>
                <a:gd name="T36" fmla="*/ 95 w 629"/>
                <a:gd name="T37" fmla="*/ 255 h 621"/>
                <a:gd name="T38" fmla="*/ 95 w 629"/>
                <a:gd name="T39" fmla="*/ 331 h 621"/>
                <a:gd name="T40" fmla="*/ 113 w 629"/>
                <a:gd name="T41" fmla="*/ 349 h 621"/>
                <a:gd name="T42" fmla="*/ 113 w 629"/>
                <a:gd name="T43" fmla="*/ 419 h 621"/>
                <a:gd name="T44" fmla="*/ 69 w 629"/>
                <a:gd name="T45" fmla="*/ 414 h 621"/>
                <a:gd name="T46" fmla="*/ 51 w 629"/>
                <a:gd name="T47" fmla="*/ 424 h 621"/>
                <a:gd name="T48" fmla="*/ 17 w 629"/>
                <a:gd name="T49" fmla="*/ 508 h 621"/>
                <a:gd name="T50" fmla="*/ 4 w 629"/>
                <a:gd name="T51" fmla="*/ 555 h 621"/>
                <a:gd name="T52" fmla="*/ 0 w 629"/>
                <a:gd name="T53" fmla="*/ 564 h 621"/>
                <a:gd name="T54" fmla="*/ 47 w 629"/>
                <a:gd name="T55" fmla="*/ 573 h 621"/>
                <a:gd name="T56" fmla="*/ 85 w 629"/>
                <a:gd name="T57" fmla="*/ 573 h 621"/>
                <a:gd name="T58" fmla="*/ 128 w 629"/>
                <a:gd name="T59" fmla="*/ 601 h 621"/>
                <a:gd name="T60" fmla="*/ 146 w 629"/>
                <a:gd name="T61" fmla="*/ 580 h 621"/>
                <a:gd name="T62" fmla="*/ 223 w 629"/>
                <a:gd name="T63" fmla="*/ 603 h 621"/>
                <a:gd name="T64" fmla="*/ 253 w 629"/>
                <a:gd name="T65" fmla="*/ 621 h 621"/>
                <a:gd name="T66" fmla="*/ 322 w 629"/>
                <a:gd name="T67" fmla="*/ 618 h 621"/>
                <a:gd name="T68" fmla="*/ 352 w 629"/>
                <a:gd name="T69" fmla="*/ 588 h 621"/>
                <a:gd name="T70" fmla="*/ 400 w 629"/>
                <a:gd name="T71" fmla="*/ 603 h 621"/>
                <a:gd name="T72" fmla="*/ 425 w 629"/>
                <a:gd name="T73" fmla="*/ 603 h 621"/>
                <a:gd name="T74" fmla="*/ 425 w 629"/>
                <a:gd name="T75" fmla="*/ 604 h 621"/>
                <a:gd name="T76" fmla="*/ 434 w 629"/>
                <a:gd name="T77" fmla="*/ 584 h 621"/>
                <a:gd name="T78" fmla="*/ 434 w 629"/>
                <a:gd name="T79" fmla="*/ 507 h 621"/>
                <a:gd name="T80" fmla="*/ 425 w 629"/>
                <a:gd name="T81" fmla="*/ 494 h 621"/>
                <a:gd name="T82" fmla="*/ 430 w 629"/>
                <a:gd name="T83" fmla="*/ 481 h 621"/>
                <a:gd name="T84" fmla="*/ 466 w 629"/>
                <a:gd name="T85" fmla="*/ 479 h 621"/>
                <a:gd name="T86" fmla="*/ 483 w 629"/>
                <a:gd name="T87" fmla="*/ 464 h 621"/>
                <a:gd name="T88" fmla="*/ 485 w 629"/>
                <a:gd name="T89" fmla="*/ 451 h 621"/>
                <a:gd name="T90" fmla="*/ 466 w 629"/>
                <a:gd name="T91" fmla="*/ 403 h 621"/>
                <a:gd name="T92" fmla="*/ 472 w 629"/>
                <a:gd name="T93" fmla="*/ 384 h 621"/>
                <a:gd name="T94" fmla="*/ 515 w 629"/>
                <a:gd name="T95" fmla="*/ 380 h 621"/>
                <a:gd name="T96" fmla="*/ 511 w 629"/>
                <a:gd name="T97" fmla="*/ 369 h 621"/>
                <a:gd name="T98" fmla="*/ 522 w 629"/>
                <a:gd name="T99" fmla="*/ 343 h 621"/>
                <a:gd name="T100" fmla="*/ 513 w 629"/>
                <a:gd name="T101" fmla="*/ 324 h 621"/>
                <a:gd name="T102" fmla="*/ 524 w 629"/>
                <a:gd name="T103" fmla="*/ 303 h 621"/>
                <a:gd name="T104" fmla="*/ 563 w 629"/>
                <a:gd name="T105" fmla="*/ 270 h 621"/>
                <a:gd name="T106" fmla="*/ 558 w 629"/>
                <a:gd name="T107" fmla="*/ 236 h 621"/>
                <a:gd name="T108" fmla="*/ 565 w 629"/>
                <a:gd name="T109" fmla="*/ 180 h 621"/>
                <a:gd name="T110" fmla="*/ 580 w 629"/>
                <a:gd name="T111" fmla="*/ 154 h 621"/>
                <a:gd name="T112" fmla="*/ 629 w 629"/>
                <a:gd name="T113" fmla="*/ 138 h 621"/>
                <a:gd name="T114" fmla="*/ 621 w 629"/>
                <a:gd name="T115" fmla="*/ 138 h 621"/>
                <a:gd name="T116" fmla="*/ 608 w 629"/>
                <a:gd name="T117" fmla="*/ 91 h 621"/>
                <a:gd name="T118" fmla="*/ 574 w 629"/>
                <a:gd name="T119" fmla="*/ 78 h 621"/>
                <a:gd name="T120" fmla="*/ 564 w 629"/>
                <a:gd name="T121" fmla="*/ 21 h 621"/>
                <a:gd name="T122" fmla="*/ 540 w 629"/>
                <a:gd name="T123" fmla="*/ 0 h 621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29"/>
                <a:gd name="T187" fmla="*/ 0 h 621"/>
                <a:gd name="T188" fmla="*/ 629 w 629"/>
                <a:gd name="T189" fmla="*/ 621 h 621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29" h="621">
                  <a:moveTo>
                    <a:pt x="540" y="0"/>
                  </a:moveTo>
                  <a:lnTo>
                    <a:pt x="515" y="3"/>
                  </a:lnTo>
                  <a:lnTo>
                    <a:pt x="504" y="28"/>
                  </a:lnTo>
                  <a:lnTo>
                    <a:pt x="465" y="44"/>
                  </a:lnTo>
                  <a:lnTo>
                    <a:pt x="395" y="34"/>
                  </a:lnTo>
                  <a:lnTo>
                    <a:pt x="324" y="76"/>
                  </a:lnTo>
                  <a:lnTo>
                    <a:pt x="298" y="57"/>
                  </a:lnTo>
                  <a:lnTo>
                    <a:pt x="259" y="83"/>
                  </a:lnTo>
                  <a:lnTo>
                    <a:pt x="230" y="63"/>
                  </a:lnTo>
                  <a:lnTo>
                    <a:pt x="212" y="31"/>
                  </a:lnTo>
                  <a:lnTo>
                    <a:pt x="173" y="16"/>
                  </a:lnTo>
                  <a:lnTo>
                    <a:pt x="147" y="36"/>
                  </a:lnTo>
                  <a:lnTo>
                    <a:pt x="103" y="31"/>
                  </a:lnTo>
                  <a:lnTo>
                    <a:pt x="100" y="99"/>
                  </a:lnTo>
                  <a:lnTo>
                    <a:pt x="113" y="109"/>
                  </a:lnTo>
                  <a:lnTo>
                    <a:pt x="113" y="161"/>
                  </a:lnTo>
                  <a:lnTo>
                    <a:pt x="87" y="188"/>
                  </a:lnTo>
                  <a:lnTo>
                    <a:pt x="87" y="229"/>
                  </a:lnTo>
                  <a:lnTo>
                    <a:pt x="95" y="255"/>
                  </a:lnTo>
                  <a:lnTo>
                    <a:pt x="95" y="331"/>
                  </a:lnTo>
                  <a:lnTo>
                    <a:pt x="113" y="349"/>
                  </a:lnTo>
                  <a:lnTo>
                    <a:pt x="113" y="419"/>
                  </a:lnTo>
                  <a:lnTo>
                    <a:pt x="69" y="414"/>
                  </a:lnTo>
                  <a:lnTo>
                    <a:pt x="51" y="424"/>
                  </a:lnTo>
                  <a:lnTo>
                    <a:pt x="17" y="508"/>
                  </a:lnTo>
                  <a:lnTo>
                    <a:pt x="4" y="555"/>
                  </a:lnTo>
                  <a:lnTo>
                    <a:pt x="0" y="564"/>
                  </a:lnTo>
                  <a:lnTo>
                    <a:pt x="47" y="573"/>
                  </a:lnTo>
                  <a:lnTo>
                    <a:pt x="85" y="573"/>
                  </a:lnTo>
                  <a:lnTo>
                    <a:pt x="128" y="601"/>
                  </a:lnTo>
                  <a:lnTo>
                    <a:pt x="146" y="580"/>
                  </a:lnTo>
                  <a:lnTo>
                    <a:pt x="223" y="603"/>
                  </a:lnTo>
                  <a:lnTo>
                    <a:pt x="253" y="621"/>
                  </a:lnTo>
                  <a:lnTo>
                    <a:pt x="322" y="618"/>
                  </a:lnTo>
                  <a:lnTo>
                    <a:pt x="352" y="588"/>
                  </a:lnTo>
                  <a:lnTo>
                    <a:pt x="400" y="603"/>
                  </a:lnTo>
                  <a:lnTo>
                    <a:pt x="425" y="603"/>
                  </a:lnTo>
                  <a:lnTo>
                    <a:pt x="425" y="604"/>
                  </a:lnTo>
                  <a:lnTo>
                    <a:pt x="434" y="584"/>
                  </a:lnTo>
                  <a:lnTo>
                    <a:pt x="434" y="507"/>
                  </a:lnTo>
                  <a:lnTo>
                    <a:pt x="425" y="494"/>
                  </a:lnTo>
                  <a:lnTo>
                    <a:pt x="430" y="481"/>
                  </a:lnTo>
                  <a:lnTo>
                    <a:pt x="466" y="479"/>
                  </a:lnTo>
                  <a:lnTo>
                    <a:pt x="483" y="464"/>
                  </a:lnTo>
                  <a:lnTo>
                    <a:pt x="485" y="451"/>
                  </a:lnTo>
                  <a:lnTo>
                    <a:pt x="466" y="403"/>
                  </a:lnTo>
                  <a:lnTo>
                    <a:pt x="472" y="384"/>
                  </a:lnTo>
                  <a:lnTo>
                    <a:pt x="515" y="380"/>
                  </a:lnTo>
                  <a:lnTo>
                    <a:pt x="511" y="369"/>
                  </a:lnTo>
                  <a:lnTo>
                    <a:pt x="522" y="343"/>
                  </a:lnTo>
                  <a:lnTo>
                    <a:pt x="513" y="324"/>
                  </a:lnTo>
                  <a:lnTo>
                    <a:pt x="524" y="303"/>
                  </a:lnTo>
                  <a:lnTo>
                    <a:pt x="563" y="270"/>
                  </a:lnTo>
                  <a:lnTo>
                    <a:pt x="558" y="236"/>
                  </a:lnTo>
                  <a:lnTo>
                    <a:pt x="565" y="180"/>
                  </a:lnTo>
                  <a:lnTo>
                    <a:pt x="580" y="154"/>
                  </a:lnTo>
                  <a:lnTo>
                    <a:pt x="629" y="138"/>
                  </a:lnTo>
                  <a:lnTo>
                    <a:pt x="621" y="138"/>
                  </a:lnTo>
                  <a:lnTo>
                    <a:pt x="608" y="91"/>
                  </a:lnTo>
                  <a:lnTo>
                    <a:pt x="574" y="78"/>
                  </a:lnTo>
                  <a:lnTo>
                    <a:pt x="564" y="21"/>
                  </a:lnTo>
                  <a:lnTo>
                    <a:pt x="54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53</a:t>
              </a:r>
            </a:p>
          </p:txBody>
        </p:sp>
        <p:sp>
          <p:nvSpPr>
            <p:cNvPr id="64" name="FR-14">
              <a:extLst>
                <a:ext uri="{FF2B5EF4-FFF2-40B4-BE49-F238E27FC236}">
                  <a16:creationId xmlns:a16="http://schemas.microsoft.com/office/drawing/2014/main" id="{E4DF8CAE-F580-4473-A5F2-E60DE4B6AA3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739108" y="3879665"/>
              <a:ext cx="365418" cy="221172"/>
            </a:xfrm>
            <a:custGeom>
              <a:avLst/>
              <a:gdLst>
                <a:gd name="T0" fmla="*/ 726 w 791"/>
                <a:gd name="T1" fmla="*/ 0 h 502"/>
                <a:gd name="T2" fmla="*/ 665 w 791"/>
                <a:gd name="T3" fmla="*/ 11 h 502"/>
                <a:gd name="T4" fmla="*/ 566 w 791"/>
                <a:gd name="T5" fmla="*/ 68 h 502"/>
                <a:gd name="T6" fmla="*/ 454 w 791"/>
                <a:gd name="T7" fmla="*/ 112 h 502"/>
                <a:gd name="T8" fmla="*/ 366 w 791"/>
                <a:gd name="T9" fmla="*/ 63 h 502"/>
                <a:gd name="T10" fmla="*/ 152 w 791"/>
                <a:gd name="T11" fmla="*/ 31 h 502"/>
                <a:gd name="T12" fmla="*/ 103 w 791"/>
                <a:gd name="T13" fmla="*/ 6 h 502"/>
                <a:gd name="T14" fmla="*/ 26 w 791"/>
                <a:gd name="T15" fmla="*/ 25 h 502"/>
                <a:gd name="T16" fmla="*/ 30 w 791"/>
                <a:gd name="T17" fmla="*/ 54 h 502"/>
                <a:gd name="T18" fmla="*/ 15 w 791"/>
                <a:gd name="T19" fmla="*/ 69 h 502"/>
                <a:gd name="T20" fmla="*/ 17 w 791"/>
                <a:gd name="T21" fmla="*/ 90 h 502"/>
                <a:gd name="T22" fmla="*/ 67 w 791"/>
                <a:gd name="T23" fmla="*/ 140 h 502"/>
                <a:gd name="T24" fmla="*/ 97 w 791"/>
                <a:gd name="T25" fmla="*/ 157 h 502"/>
                <a:gd name="T26" fmla="*/ 119 w 791"/>
                <a:gd name="T27" fmla="*/ 129 h 502"/>
                <a:gd name="T28" fmla="*/ 136 w 791"/>
                <a:gd name="T29" fmla="*/ 151 h 502"/>
                <a:gd name="T30" fmla="*/ 114 w 791"/>
                <a:gd name="T31" fmla="*/ 179 h 502"/>
                <a:gd name="T32" fmla="*/ 134 w 791"/>
                <a:gd name="T33" fmla="*/ 211 h 502"/>
                <a:gd name="T34" fmla="*/ 125 w 791"/>
                <a:gd name="T35" fmla="*/ 221 h 502"/>
                <a:gd name="T36" fmla="*/ 140 w 791"/>
                <a:gd name="T37" fmla="*/ 252 h 502"/>
                <a:gd name="T38" fmla="*/ 132 w 791"/>
                <a:gd name="T39" fmla="*/ 286 h 502"/>
                <a:gd name="T40" fmla="*/ 110 w 791"/>
                <a:gd name="T41" fmla="*/ 321 h 502"/>
                <a:gd name="T42" fmla="*/ 75 w 791"/>
                <a:gd name="T43" fmla="*/ 342 h 502"/>
                <a:gd name="T44" fmla="*/ 56 w 791"/>
                <a:gd name="T45" fmla="*/ 327 h 502"/>
                <a:gd name="T46" fmla="*/ 37 w 791"/>
                <a:gd name="T47" fmla="*/ 344 h 502"/>
                <a:gd name="T48" fmla="*/ 58 w 791"/>
                <a:gd name="T49" fmla="*/ 364 h 502"/>
                <a:gd name="T50" fmla="*/ 41 w 791"/>
                <a:gd name="T51" fmla="*/ 396 h 502"/>
                <a:gd name="T52" fmla="*/ 0 w 791"/>
                <a:gd name="T53" fmla="*/ 411 h 502"/>
                <a:gd name="T54" fmla="*/ 50 w 791"/>
                <a:gd name="T55" fmla="*/ 473 h 502"/>
                <a:gd name="T56" fmla="*/ 99 w 791"/>
                <a:gd name="T57" fmla="*/ 477 h 502"/>
                <a:gd name="T58" fmla="*/ 137 w 791"/>
                <a:gd name="T59" fmla="*/ 502 h 502"/>
                <a:gd name="T60" fmla="*/ 189 w 791"/>
                <a:gd name="T61" fmla="*/ 486 h 502"/>
                <a:gd name="T62" fmla="*/ 228 w 791"/>
                <a:gd name="T63" fmla="*/ 441 h 502"/>
                <a:gd name="T64" fmla="*/ 282 w 791"/>
                <a:gd name="T65" fmla="*/ 456 h 502"/>
                <a:gd name="T66" fmla="*/ 329 w 791"/>
                <a:gd name="T67" fmla="*/ 424 h 502"/>
                <a:gd name="T68" fmla="*/ 357 w 791"/>
                <a:gd name="T69" fmla="*/ 413 h 502"/>
                <a:gd name="T70" fmla="*/ 387 w 791"/>
                <a:gd name="T71" fmla="*/ 443 h 502"/>
                <a:gd name="T72" fmla="*/ 437 w 791"/>
                <a:gd name="T73" fmla="*/ 434 h 502"/>
                <a:gd name="T74" fmla="*/ 480 w 791"/>
                <a:gd name="T75" fmla="*/ 458 h 502"/>
                <a:gd name="T76" fmla="*/ 534 w 791"/>
                <a:gd name="T77" fmla="*/ 441 h 502"/>
                <a:gd name="T78" fmla="*/ 583 w 791"/>
                <a:gd name="T79" fmla="*/ 404 h 502"/>
                <a:gd name="T80" fmla="*/ 615 w 791"/>
                <a:gd name="T81" fmla="*/ 368 h 502"/>
                <a:gd name="T82" fmla="*/ 637 w 791"/>
                <a:gd name="T83" fmla="*/ 364 h 502"/>
                <a:gd name="T84" fmla="*/ 643 w 791"/>
                <a:gd name="T85" fmla="*/ 391 h 502"/>
                <a:gd name="T86" fmla="*/ 660 w 791"/>
                <a:gd name="T87" fmla="*/ 387 h 502"/>
                <a:gd name="T88" fmla="*/ 662 w 791"/>
                <a:gd name="T89" fmla="*/ 368 h 502"/>
                <a:gd name="T90" fmla="*/ 712 w 791"/>
                <a:gd name="T91" fmla="*/ 359 h 502"/>
                <a:gd name="T92" fmla="*/ 729 w 791"/>
                <a:gd name="T93" fmla="*/ 370 h 502"/>
                <a:gd name="T94" fmla="*/ 782 w 791"/>
                <a:gd name="T95" fmla="*/ 358 h 502"/>
                <a:gd name="T96" fmla="*/ 791 w 791"/>
                <a:gd name="T97" fmla="*/ 333 h 502"/>
                <a:gd name="T98" fmla="*/ 788 w 791"/>
                <a:gd name="T99" fmla="*/ 309 h 502"/>
                <a:gd name="T100" fmla="*/ 762 w 791"/>
                <a:gd name="T101" fmla="*/ 299 h 502"/>
                <a:gd name="T102" fmla="*/ 759 w 791"/>
                <a:gd name="T103" fmla="*/ 281 h 502"/>
                <a:gd name="T104" fmla="*/ 783 w 791"/>
                <a:gd name="T105" fmla="*/ 265 h 502"/>
                <a:gd name="T106" fmla="*/ 786 w 791"/>
                <a:gd name="T107" fmla="*/ 239 h 502"/>
                <a:gd name="T108" fmla="*/ 770 w 791"/>
                <a:gd name="T109" fmla="*/ 176 h 502"/>
                <a:gd name="T110" fmla="*/ 739 w 791"/>
                <a:gd name="T111" fmla="*/ 132 h 502"/>
                <a:gd name="T112" fmla="*/ 765 w 791"/>
                <a:gd name="T113" fmla="*/ 117 h 502"/>
                <a:gd name="T114" fmla="*/ 765 w 791"/>
                <a:gd name="T115" fmla="*/ 106 h 502"/>
                <a:gd name="T116" fmla="*/ 739 w 791"/>
                <a:gd name="T117" fmla="*/ 99 h 502"/>
                <a:gd name="T118" fmla="*/ 726 w 791"/>
                <a:gd name="T119" fmla="*/ 0 h 50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791"/>
                <a:gd name="T181" fmla="*/ 0 h 502"/>
                <a:gd name="T182" fmla="*/ 791 w 791"/>
                <a:gd name="T183" fmla="*/ 502 h 50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791" h="502">
                  <a:moveTo>
                    <a:pt x="726" y="0"/>
                  </a:moveTo>
                  <a:lnTo>
                    <a:pt x="665" y="11"/>
                  </a:lnTo>
                  <a:lnTo>
                    <a:pt x="566" y="68"/>
                  </a:lnTo>
                  <a:lnTo>
                    <a:pt x="454" y="112"/>
                  </a:lnTo>
                  <a:lnTo>
                    <a:pt x="366" y="63"/>
                  </a:lnTo>
                  <a:lnTo>
                    <a:pt x="152" y="31"/>
                  </a:lnTo>
                  <a:lnTo>
                    <a:pt x="103" y="6"/>
                  </a:lnTo>
                  <a:lnTo>
                    <a:pt x="26" y="25"/>
                  </a:lnTo>
                  <a:lnTo>
                    <a:pt x="30" y="54"/>
                  </a:lnTo>
                  <a:lnTo>
                    <a:pt x="15" y="69"/>
                  </a:lnTo>
                  <a:lnTo>
                    <a:pt x="17" y="90"/>
                  </a:lnTo>
                  <a:lnTo>
                    <a:pt x="67" y="140"/>
                  </a:lnTo>
                  <a:lnTo>
                    <a:pt x="97" y="157"/>
                  </a:lnTo>
                  <a:lnTo>
                    <a:pt x="119" y="129"/>
                  </a:lnTo>
                  <a:lnTo>
                    <a:pt x="136" y="151"/>
                  </a:lnTo>
                  <a:lnTo>
                    <a:pt x="114" y="179"/>
                  </a:lnTo>
                  <a:lnTo>
                    <a:pt x="134" y="211"/>
                  </a:lnTo>
                  <a:lnTo>
                    <a:pt x="125" y="221"/>
                  </a:lnTo>
                  <a:lnTo>
                    <a:pt x="140" y="252"/>
                  </a:lnTo>
                  <a:lnTo>
                    <a:pt x="132" y="286"/>
                  </a:lnTo>
                  <a:lnTo>
                    <a:pt x="110" y="321"/>
                  </a:lnTo>
                  <a:lnTo>
                    <a:pt x="75" y="342"/>
                  </a:lnTo>
                  <a:lnTo>
                    <a:pt x="56" y="327"/>
                  </a:lnTo>
                  <a:lnTo>
                    <a:pt x="37" y="344"/>
                  </a:lnTo>
                  <a:lnTo>
                    <a:pt x="58" y="364"/>
                  </a:lnTo>
                  <a:lnTo>
                    <a:pt x="41" y="396"/>
                  </a:lnTo>
                  <a:lnTo>
                    <a:pt x="0" y="411"/>
                  </a:lnTo>
                  <a:lnTo>
                    <a:pt x="50" y="473"/>
                  </a:lnTo>
                  <a:lnTo>
                    <a:pt x="99" y="477"/>
                  </a:lnTo>
                  <a:lnTo>
                    <a:pt x="137" y="502"/>
                  </a:lnTo>
                  <a:lnTo>
                    <a:pt x="189" y="486"/>
                  </a:lnTo>
                  <a:lnTo>
                    <a:pt x="228" y="441"/>
                  </a:lnTo>
                  <a:lnTo>
                    <a:pt x="282" y="456"/>
                  </a:lnTo>
                  <a:lnTo>
                    <a:pt x="329" y="424"/>
                  </a:lnTo>
                  <a:lnTo>
                    <a:pt x="357" y="413"/>
                  </a:lnTo>
                  <a:lnTo>
                    <a:pt x="387" y="443"/>
                  </a:lnTo>
                  <a:lnTo>
                    <a:pt x="437" y="434"/>
                  </a:lnTo>
                  <a:lnTo>
                    <a:pt x="480" y="458"/>
                  </a:lnTo>
                  <a:lnTo>
                    <a:pt x="534" y="441"/>
                  </a:lnTo>
                  <a:lnTo>
                    <a:pt x="583" y="404"/>
                  </a:lnTo>
                  <a:lnTo>
                    <a:pt x="615" y="368"/>
                  </a:lnTo>
                  <a:lnTo>
                    <a:pt x="637" y="364"/>
                  </a:lnTo>
                  <a:lnTo>
                    <a:pt x="643" y="391"/>
                  </a:lnTo>
                  <a:lnTo>
                    <a:pt x="660" y="387"/>
                  </a:lnTo>
                  <a:lnTo>
                    <a:pt x="662" y="368"/>
                  </a:lnTo>
                  <a:lnTo>
                    <a:pt x="712" y="359"/>
                  </a:lnTo>
                  <a:lnTo>
                    <a:pt x="729" y="370"/>
                  </a:lnTo>
                  <a:lnTo>
                    <a:pt x="782" y="358"/>
                  </a:lnTo>
                  <a:lnTo>
                    <a:pt x="791" y="333"/>
                  </a:lnTo>
                  <a:lnTo>
                    <a:pt x="788" y="309"/>
                  </a:lnTo>
                  <a:lnTo>
                    <a:pt x="762" y="299"/>
                  </a:lnTo>
                  <a:lnTo>
                    <a:pt x="759" y="281"/>
                  </a:lnTo>
                  <a:lnTo>
                    <a:pt x="783" y="265"/>
                  </a:lnTo>
                  <a:lnTo>
                    <a:pt x="786" y="239"/>
                  </a:lnTo>
                  <a:lnTo>
                    <a:pt x="770" y="176"/>
                  </a:lnTo>
                  <a:lnTo>
                    <a:pt x="739" y="132"/>
                  </a:lnTo>
                  <a:lnTo>
                    <a:pt x="765" y="117"/>
                  </a:lnTo>
                  <a:lnTo>
                    <a:pt x="765" y="106"/>
                  </a:lnTo>
                  <a:lnTo>
                    <a:pt x="739" y="99"/>
                  </a:lnTo>
                  <a:lnTo>
                    <a:pt x="726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14</a:t>
              </a:r>
            </a:p>
          </p:txBody>
        </p:sp>
        <p:sp>
          <p:nvSpPr>
            <p:cNvPr id="65" name="FR-61">
              <a:extLst>
                <a:ext uri="{FF2B5EF4-FFF2-40B4-BE49-F238E27FC236}">
                  <a16:creationId xmlns:a16="http://schemas.microsoft.com/office/drawing/2014/main" id="{CFE1E9A6-3D7E-46BC-B32B-63239A166D9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799164" y="4037394"/>
              <a:ext cx="421778" cy="260384"/>
            </a:xfrm>
            <a:custGeom>
              <a:avLst/>
              <a:gdLst>
                <a:gd name="T0" fmla="*/ 599 w 913"/>
                <a:gd name="T1" fmla="*/ 12 h 591"/>
                <a:gd name="T2" fmla="*/ 532 w 913"/>
                <a:gd name="T3" fmla="*/ 10 h 591"/>
                <a:gd name="T4" fmla="*/ 513 w 913"/>
                <a:gd name="T5" fmla="*/ 33 h 591"/>
                <a:gd name="T6" fmla="*/ 485 w 913"/>
                <a:gd name="T7" fmla="*/ 10 h 591"/>
                <a:gd name="T8" fmla="*/ 404 w 913"/>
                <a:gd name="T9" fmla="*/ 83 h 591"/>
                <a:gd name="T10" fmla="*/ 307 w 913"/>
                <a:gd name="T11" fmla="*/ 76 h 591"/>
                <a:gd name="T12" fmla="*/ 227 w 913"/>
                <a:gd name="T13" fmla="*/ 55 h 591"/>
                <a:gd name="T14" fmla="*/ 152 w 913"/>
                <a:gd name="T15" fmla="*/ 98 h 591"/>
                <a:gd name="T16" fmla="*/ 59 w 913"/>
                <a:gd name="T17" fmla="*/ 128 h 591"/>
                <a:gd name="T18" fmla="*/ 36 w 913"/>
                <a:gd name="T19" fmla="*/ 163 h 591"/>
                <a:gd name="T20" fmla="*/ 55 w 913"/>
                <a:gd name="T21" fmla="*/ 214 h 591"/>
                <a:gd name="T22" fmla="*/ 44 w 913"/>
                <a:gd name="T23" fmla="*/ 285 h 591"/>
                <a:gd name="T24" fmla="*/ 17 w 913"/>
                <a:gd name="T25" fmla="*/ 353 h 591"/>
                <a:gd name="T26" fmla="*/ 85 w 913"/>
                <a:gd name="T27" fmla="*/ 347 h 591"/>
                <a:gd name="T28" fmla="*/ 182 w 913"/>
                <a:gd name="T29" fmla="*/ 324 h 591"/>
                <a:gd name="T30" fmla="*/ 291 w 913"/>
                <a:gd name="T31" fmla="*/ 318 h 591"/>
                <a:gd name="T32" fmla="*/ 327 w 913"/>
                <a:gd name="T33" fmla="*/ 290 h 591"/>
                <a:gd name="T34" fmla="*/ 361 w 913"/>
                <a:gd name="T35" fmla="*/ 368 h 591"/>
                <a:gd name="T36" fmla="*/ 408 w 913"/>
                <a:gd name="T37" fmla="*/ 428 h 591"/>
                <a:gd name="T38" fmla="*/ 523 w 913"/>
                <a:gd name="T39" fmla="*/ 366 h 591"/>
                <a:gd name="T40" fmla="*/ 614 w 913"/>
                <a:gd name="T41" fmla="*/ 391 h 591"/>
                <a:gd name="T42" fmla="*/ 671 w 913"/>
                <a:gd name="T43" fmla="*/ 501 h 591"/>
                <a:gd name="T44" fmla="*/ 752 w 913"/>
                <a:gd name="T45" fmla="*/ 540 h 591"/>
                <a:gd name="T46" fmla="*/ 757 w 913"/>
                <a:gd name="T47" fmla="*/ 532 h 591"/>
                <a:gd name="T48" fmla="*/ 804 w 913"/>
                <a:gd name="T49" fmla="*/ 587 h 591"/>
                <a:gd name="T50" fmla="*/ 832 w 913"/>
                <a:gd name="T51" fmla="*/ 530 h 591"/>
                <a:gd name="T52" fmla="*/ 809 w 913"/>
                <a:gd name="T53" fmla="*/ 485 h 591"/>
                <a:gd name="T54" fmla="*/ 887 w 913"/>
                <a:gd name="T55" fmla="*/ 454 h 591"/>
                <a:gd name="T56" fmla="*/ 908 w 913"/>
                <a:gd name="T57" fmla="*/ 326 h 591"/>
                <a:gd name="T58" fmla="*/ 851 w 913"/>
                <a:gd name="T59" fmla="*/ 235 h 591"/>
                <a:gd name="T60" fmla="*/ 822 w 913"/>
                <a:gd name="T61" fmla="*/ 178 h 591"/>
                <a:gd name="T62" fmla="*/ 775 w 913"/>
                <a:gd name="T63" fmla="*/ 126 h 591"/>
                <a:gd name="T64" fmla="*/ 734 w 913"/>
                <a:gd name="T65" fmla="*/ 63 h 591"/>
                <a:gd name="T66" fmla="*/ 640 w 913"/>
                <a:gd name="T67" fmla="*/ 35 h 591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913"/>
                <a:gd name="T103" fmla="*/ 0 h 591"/>
                <a:gd name="T104" fmla="*/ 913 w 913"/>
                <a:gd name="T105" fmla="*/ 591 h 591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913" h="591">
                  <a:moveTo>
                    <a:pt x="652" y="0"/>
                  </a:moveTo>
                  <a:lnTo>
                    <a:pt x="599" y="12"/>
                  </a:lnTo>
                  <a:lnTo>
                    <a:pt x="582" y="1"/>
                  </a:lnTo>
                  <a:lnTo>
                    <a:pt x="532" y="10"/>
                  </a:lnTo>
                  <a:lnTo>
                    <a:pt x="530" y="29"/>
                  </a:lnTo>
                  <a:lnTo>
                    <a:pt x="513" y="33"/>
                  </a:lnTo>
                  <a:lnTo>
                    <a:pt x="507" y="6"/>
                  </a:lnTo>
                  <a:lnTo>
                    <a:pt x="485" y="10"/>
                  </a:lnTo>
                  <a:lnTo>
                    <a:pt x="453" y="46"/>
                  </a:lnTo>
                  <a:lnTo>
                    <a:pt x="404" y="83"/>
                  </a:lnTo>
                  <a:lnTo>
                    <a:pt x="350" y="100"/>
                  </a:lnTo>
                  <a:lnTo>
                    <a:pt x="307" y="76"/>
                  </a:lnTo>
                  <a:lnTo>
                    <a:pt x="257" y="85"/>
                  </a:lnTo>
                  <a:lnTo>
                    <a:pt x="227" y="55"/>
                  </a:lnTo>
                  <a:lnTo>
                    <a:pt x="199" y="66"/>
                  </a:lnTo>
                  <a:lnTo>
                    <a:pt x="152" y="98"/>
                  </a:lnTo>
                  <a:lnTo>
                    <a:pt x="98" y="83"/>
                  </a:lnTo>
                  <a:lnTo>
                    <a:pt x="59" y="128"/>
                  </a:lnTo>
                  <a:lnTo>
                    <a:pt x="7" y="144"/>
                  </a:lnTo>
                  <a:lnTo>
                    <a:pt x="36" y="163"/>
                  </a:lnTo>
                  <a:lnTo>
                    <a:pt x="62" y="188"/>
                  </a:lnTo>
                  <a:lnTo>
                    <a:pt x="55" y="214"/>
                  </a:lnTo>
                  <a:lnTo>
                    <a:pt x="59" y="236"/>
                  </a:lnTo>
                  <a:lnTo>
                    <a:pt x="44" y="285"/>
                  </a:lnTo>
                  <a:lnTo>
                    <a:pt x="0" y="323"/>
                  </a:lnTo>
                  <a:lnTo>
                    <a:pt x="17" y="353"/>
                  </a:lnTo>
                  <a:lnTo>
                    <a:pt x="46" y="373"/>
                  </a:lnTo>
                  <a:lnTo>
                    <a:pt x="85" y="347"/>
                  </a:lnTo>
                  <a:lnTo>
                    <a:pt x="111" y="366"/>
                  </a:lnTo>
                  <a:lnTo>
                    <a:pt x="182" y="324"/>
                  </a:lnTo>
                  <a:lnTo>
                    <a:pt x="252" y="334"/>
                  </a:lnTo>
                  <a:lnTo>
                    <a:pt x="291" y="318"/>
                  </a:lnTo>
                  <a:lnTo>
                    <a:pt x="302" y="293"/>
                  </a:lnTo>
                  <a:lnTo>
                    <a:pt x="327" y="290"/>
                  </a:lnTo>
                  <a:lnTo>
                    <a:pt x="351" y="311"/>
                  </a:lnTo>
                  <a:lnTo>
                    <a:pt x="361" y="368"/>
                  </a:lnTo>
                  <a:lnTo>
                    <a:pt x="395" y="381"/>
                  </a:lnTo>
                  <a:lnTo>
                    <a:pt x="408" y="428"/>
                  </a:lnTo>
                  <a:lnTo>
                    <a:pt x="452" y="431"/>
                  </a:lnTo>
                  <a:lnTo>
                    <a:pt x="523" y="366"/>
                  </a:lnTo>
                  <a:lnTo>
                    <a:pt x="593" y="363"/>
                  </a:lnTo>
                  <a:lnTo>
                    <a:pt x="614" y="391"/>
                  </a:lnTo>
                  <a:lnTo>
                    <a:pt x="627" y="485"/>
                  </a:lnTo>
                  <a:lnTo>
                    <a:pt x="671" y="501"/>
                  </a:lnTo>
                  <a:lnTo>
                    <a:pt x="697" y="540"/>
                  </a:lnTo>
                  <a:lnTo>
                    <a:pt x="752" y="540"/>
                  </a:lnTo>
                  <a:lnTo>
                    <a:pt x="754" y="558"/>
                  </a:lnTo>
                  <a:lnTo>
                    <a:pt x="757" y="532"/>
                  </a:lnTo>
                  <a:lnTo>
                    <a:pt x="767" y="532"/>
                  </a:lnTo>
                  <a:lnTo>
                    <a:pt x="804" y="587"/>
                  </a:lnTo>
                  <a:lnTo>
                    <a:pt x="832" y="591"/>
                  </a:lnTo>
                  <a:lnTo>
                    <a:pt x="832" y="530"/>
                  </a:lnTo>
                  <a:lnTo>
                    <a:pt x="814" y="506"/>
                  </a:lnTo>
                  <a:lnTo>
                    <a:pt x="809" y="485"/>
                  </a:lnTo>
                  <a:lnTo>
                    <a:pt x="848" y="462"/>
                  </a:lnTo>
                  <a:lnTo>
                    <a:pt x="887" y="454"/>
                  </a:lnTo>
                  <a:lnTo>
                    <a:pt x="913" y="423"/>
                  </a:lnTo>
                  <a:lnTo>
                    <a:pt x="908" y="326"/>
                  </a:lnTo>
                  <a:lnTo>
                    <a:pt x="853" y="280"/>
                  </a:lnTo>
                  <a:lnTo>
                    <a:pt x="851" y="235"/>
                  </a:lnTo>
                  <a:lnTo>
                    <a:pt x="804" y="204"/>
                  </a:lnTo>
                  <a:lnTo>
                    <a:pt x="822" y="178"/>
                  </a:lnTo>
                  <a:lnTo>
                    <a:pt x="812" y="139"/>
                  </a:lnTo>
                  <a:lnTo>
                    <a:pt x="775" y="126"/>
                  </a:lnTo>
                  <a:lnTo>
                    <a:pt x="749" y="100"/>
                  </a:lnTo>
                  <a:lnTo>
                    <a:pt x="734" y="63"/>
                  </a:lnTo>
                  <a:lnTo>
                    <a:pt x="661" y="61"/>
                  </a:lnTo>
                  <a:lnTo>
                    <a:pt x="640" y="35"/>
                  </a:lnTo>
                  <a:lnTo>
                    <a:pt x="652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61</a:t>
              </a:r>
            </a:p>
          </p:txBody>
        </p:sp>
        <p:sp>
          <p:nvSpPr>
            <p:cNvPr id="66" name="FR-28">
              <a:extLst>
                <a:ext uri="{FF2B5EF4-FFF2-40B4-BE49-F238E27FC236}">
                  <a16:creationId xmlns:a16="http://schemas.microsoft.com/office/drawing/2014/main" id="{0A83E6BA-2A02-4095-8E2B-1085DD7D647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172897" y="4045765"/>
              <a:ext cx="290579" cy="331318"/>
            </a:xfrm>
            <a:custGeom>
              <a:avLst/>
              <a:gdLst>
                <a:gd name="T0" fmla="*/ 365 w 629"/>
                <a:gd name="T1" fmla="*/ 13 h 752"/>
                <a:gd name="T2" fmla="*/ 313 w 629"/>
                <a:gd name="T3" fmla="*/ 81 h 752"/>
                <a:gd name="T4" fmla="*/ 297 w 629"/>
                <a:gd name="T5" fmla="*/ 138 h 752"/>
                <a:gd name="T6" fmla="*/ 201 w 629"/>
                <a:gd name="T7" fmla="*/ 125 h 752"/>
                <a:gd name="T8" fmla="*/ 70 w 629"/>
                <a:gd name="T9" fmla="*/ 174 h 752"/>
                <a:gd name="T10" fmla="*/ 42 w 629"/>
                <a:gd name="T11" fmla="*/ 216 h 752"/>
                <a:gd name="T12" fmla="*/ 99 w 629"/>
                <a:gd name="T13" fmla="*/ 307 h 752"/>
                <a:gd name="T14" fmla="*/ 78 w 629"/>
                <a:gd name="T15" fmla="*/ 435 h 752"/>
                <a:gd name="T16" fmla="*/ 0 w 629"/>
                <a:gd name="T17" fmla="*/ 466 h 752"/>
                <a:gd name="T18" fmla="*/ 23 w 629"/>
                <a:gd name="T19" fmla="*/ 511 h 752"/>
                <a:gd name="T20" fmla="*/ 29 w 629"/>
                <a:gd name="T21" fmla="*/ 573 h 752"/>
                <a:gd name="T22" fmla="*/ 52 w 629"/>
                <a:gd name="T23" fmla="*/ 616 h 752"/>
                <a:gd name="T24" fmla="*/ 119 w 629"/>
                <a:gd name="T25" fmla="*/ 621 h 752"/>
                <a:gd name="T26" fmla="*/ 141 w 629"/>
                <a:gd name="T27" fmla="*/ 632 h 752"/>
                <a:gd name="T28" fmla="*/ 134 w 629"/>
                <a:gd name="T29" fmla="*/ 657 h 752"/>
                <a:gd name="T30" fmla="*/ 184 w 629"/>
                <a:gd name="T31" fmla="*/ 687 h 752"/>
                <a:gd name="T32" fmla="*/ 223 w 629"/>
                <a:gd name="T33" fmla="*/ 737 h 752"/>
                <a:gd name="T34" fmla="*/ 317 w 629"/>
                <a:gd name="T35" fmla="*/ 748 h 752"/>
                <a:gd name="T36" fmla="*/ 377 w 629"/>
                <a:gd name="T37" fmla="*/ 726 h 752"/>
                <a:gd name="T38" fmla="*/ 383 w 629"/>
                <a:gd name="T39" fmla="*/ 694 h 752"/>
                <a:gd name="T40" fmla="*/ 422 w 629"/>
                <a:gd name="T41" fmla="*/ 698 h 752"/>
                <a:gd name="T42" fmla="*/ 437 w 629"/>
                <a:gd name="T43" fmla="*/ 666 h 752"/>
                <a:gd name="T44" fmla="*/ 476 w 629"/>
                <a:gd name="T45" fmla="*/ 660 h 752"/>
                <a:gd name="T46" fmla="*/ 523 w 629"/>
                <a:gd name="T47" fmla="*/ 662 h 752"/>
                <a:gd name="T48" fmla="*/ 577 w 629"/>
                <a:gd name="T49" fmla="*/ 638 h 752"/>
                <a:gd name="T50" fmla="*/ 610 w 629"/>
                <a:gd name="T51" fmla="*/ 586 h 752"/>
                <a:gd name="T52" fmla="*/ 629 w 629"/>
                <a:gd name="T53" fmla="*/ 517 h 752"/>
                <a:gd name="T54" fmla="*/ 625 w 629"/>
                <a:gd name="T55" fmla="*/ 497 h 752"/>
                <a:gd name="T56" fmla="*/ 612 w 629"/>
                <a:gd name="T57" fmla="*/ 427 h 752"/>
                <a:gd name="T58" fmla="*/ 602 w 629"/>
                <a:gd name="T59" fmla="*/ 386 h 752"/>
                <a:gd name="T60" fmla="*/ 523 w 629"/>
                <a:gd name="T61" fmla="*/ 347 h 752"/>
                <a:gd name="T62" fmla="*/ 485 w 629"/>
                <a:gd name="T63" fmla="*/ 284 h 752"/>
                <a:gd name="T64" fmla="*/ 443 w 629"/>
                <a:gd name="T65" fmla="*/ 229 h 752"/>
                <a:gd name="T66" fmla="*/ 443 w 629"/>
                <a:gd name="T67" fmla="*/ 154 h 752"/>
                <a:gd name="T68" fmla="*/ 425 w 629"/>
                <a:gd name="T69" fmla="*/ 107 h 752"/>
                <a:gd name="T70" fmla="*/ 414 w 629"/>
                <a:gd name="T71" fmla="*/ 57 h 752"/>
                <a:gd name="T72" fmla="*/ 380 w 629"/>
                <a:gd name="T73" fmla="*/ 0 h 75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29"/>
                <a:gd name="T112" fmla="*/ 0 h 752"/>
                <a:gd name="T113" fmla="*/ 629 w 629"/>
                <a:gd name="T114" fmla="*/ 752 h 75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29" h="752">
                  <a:moveTo>
                    <a:pt x="380" y="0"/>
                  </a:moveTo>
                  <a:lnTo>
                    <a:pt x="365" y="13"/>
                  </a:lnTo>
                  <a:lnTo>
                    <a:pt x="365" y="55"/>
                  </a:lnTo>
                  <a:lnTo>
                    <a:pt x="313" y="81"/>
                  </a:lnTo>
                  <a:lnTo>
                    <a:pt x="313" y="120"/>
                  </a:lnTo>
                  <a:lnTo>
                    <a:pt x="297" y="138"/>
                  </a:lnTo>
                  <a:lnTo>
                    <a:pt x="232" y="138"/>
                  </a:lnTo>
                  <a:lnTo>
                    <a:pt x="201" y="125"/>
                  </a:lnTo>
                  <a:lnTo>
                    <a:pt x="107" y="174"/>
                  </a:lnTo>
                  <a:lnTo>
                    <a:pt x="70" y="174"/>
                  </a:lnTo>
                  <a:lnTo>
                    <a:pt x="33" y="210"/>
                  </a:lnTo>
                  <a:lnTo>
                    <a:pt x="42" y="216"/>
                  </a:lnTo>
                  <a:lnTo>
                    <a:pt x="44" y="261"/>
                  </a:lnTo>
                  <a:lnTo>
                    <a:pt x="99" y="307"/>
                  </a:lnTo>
                  <a:lnTo>
                    <a:pt x="104" y="404"/>
                  </a:lnTo>
                  <a:lnTo>
                    <a:pt x="78" y="435"/>
                  </a:lnTo>
                  <a:lnTo>
                    <a:pt x="39" y="443"/>
                  </a:lnTo>
                  <a:lnTo>
                    <a:pt x="0" y="466"/>
                  </a:lnTo>
                  <a:lnTo>
                    <a:pt x="5" y="487"/>
                  </a:lnTo>
                  <a:lnTo>
                    <a:pt x="23" y="511"/>
                  </a:lnTo>
                  <a:lnTo>
                    <a:pt x="23" y="572"/>
                  </a:lnTo>
                  <a:lnTo>
                    <a:pt x="29" y="573"/>
                  </a:lnTo>
                  <a:lnTo>
                    <a:pt x="65" y="599"/>
                  </a:lnTo>
                  <a:lnTo>
                    <a:pt x="52" y="616"/>
                  </a:lnTo>
                  <a:lnTo>
                    <a:pt x="78" y="629"/>
                  </a:lnTo>
                  <a:lnTo>
                    <a:pt x="119" y="621"/>
                  </a:lnTo>
                  <a:lnTo>
                    <a:pt x="143" y="621"/>
                  </a:lnTo>
                  <a:lnTo>
                    <a:pt x="141" y="632"/>
                  </a:lnTo>
                  <a:lnTo>
                    <a:pt x="119" y="645"/>
                  </a:lnTo>
                  <a:lnTo>
                    <a:pt x="134" y="657"/>
                  </a:lnTo>
                  <a:lnTo>
                    <a:pt x="171" y="657"/>
                  </a:lnTo>
                  <a:lnTo>
                    <a:pt x="184" y="687"/>
                  </a:lnTo>
                  <a:lnTo>
                    <a:pt x="207" y="699"/>
                  </a:lnTo>
                  <a:lnTo>
                    <a:pt x="223" y="737"/>
                  </a:lnTo>
                  <a:lnTo>
                    <a:pt x="281" y="752"/>
                  </a:lnTo>
                  <a:lnTo>
                    <a:pt x="317" y="748"/>
                  </a:lnTo>
                  <a:lnTo>
                    <a:pt x="349" y="718"/>
                  </a:lnTo>
                  <a:lnTo>
                    <a:pt x="377" y="726"/>
                  </a:lnTo>
                  <a:lnTo>
                    <a:pt x="384" y="711"/>
                  </a:lnTo>
                  <a:lnTo>
                    <a:pt x="383" y="694"/>
                  </a:lnTo>
                  <a:lnTo>
                    <a:pt x="398" y="683"/>
                  </a:lnTo>
                  <a:lnTo>
                    <a:pt x="422" y="698"/>
                  </a:lnTo>
                  <a:lnTo>
                    <a:pt x="437" y="687"/>
                  </a:lnTo>
                  <a:lnTo>
                    <a:pt x="437" y="666"/>
                  </a:lnTo>
                  <a:lnTo>
                    <a:pt x="457" y="653"/>
                  </a:lnTo>
                  <a:lnTo>
                    <a:pt x="476" y="660"/>
                  </a:lnTo>
                  <a:lnTo>
                    <a:pt x="493" y="679"/>
                  </a:lnTo>
                  <a:lnTo>
                    <a:pt x="523" y="662"/>
                  </a:lnTo>
                  <a:lnTo>
                    <a:pt x="554" y="662"/>
                  </a:lnTo>
                  <a:lnTo>
                    <a:pt x="577" y="638"/>
                  </a:lnTo>
                  <a:lnTo>
                    <a:pt x="590" y="589"/>
                  </a:lnTo>
                  <a:lnTo>
                    <a:pt x="610" y="586"/>
                  </a:lnTo>
                  <a:lnTo>
                    <a:pt x="605" y="537"/>
                  </a:lnTo>
                  <a:lnTo>
                    <a:pt x="629" y="517"/>
                  </a:lnTo>
                  <a:lnTo>
                    <a:pt x="622" y="502"/>
                  </a:lnTo>
                  <a:lnTo>
                    <a:pt x="625" y="497"/>
                  </a:lnTo>
                  <a:lnTo>
                    <a:pt x="618" y="497"/>
                  </a:lnTo>
                  <a:lnTo>
                    <a:pt x="612" y="427"/>
                  </a:lnTo>
                  <a:lnTo>
                    <a:pt x="607" y="419"/>
                  </a:lnTo>
                  <a:lnTo>
                    <a:pt x="602" y="386"/>
                  </a:lnTo>
                  <a:lnTo>
                    <a:pt x="547" y="375"/>
                  </a:lnTo>
                  <a:lnTo>
                    <a:pt x="523" y="347"/>
                  </a:lnTo>
                  <a:lnTo>
                    <a:pt x="516" y="289"/>
                  </a:lnTo>
                  <a:lnTo>
                    <a:pt x="485" y="284"/>
                  </a:lnTo>
                  <a:lnTo>
                    <a:pt x="479" y="255"/>
                  </a:lnTo>
                  <a:lnTo>
                    <a:pt x="443" y="229"/>
                  </a:lnTo>
                  <a:lnTo>
                    <a:pt x="425" y="185"/>
                  </a:lnTo>
                  <a:lnTo>
                    <a:pt x="443" y="154"/>
                  </a:lnTo>
                  <a:lnTo>
                    <a:pt x="425" y="133"/>
                  </a:lnTo>
                  <a:lnTo>
                    <a:pt x="425" y="107"/>
                  </a:lnTo>
                  <a:lnTo>
                    <a:pt x="435" y="78"/>
                  </a:lnTo>
                  <a:lnTo>
                    <a:pt x="414" y="57"/>
                  </a:lnTo>
                  <a:lnTo>
                    <a:pt x="406" y="26"/>
                  </a:lnTo>
                  <a:lnTo>
                    <a:pt x="38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28</a:t>
              </a:r>
            </a:p>
          </p:txBody>
        </p:sp>
        <p:sp>
          <p:nvSpPr>
            <p:cNvPr id="67" name="FR-89">
              <a:extLst>
                <a:ext uri="{FF2B5EF4-FFF2-40B4-BE49-F238E27FC236}">
                  <a16:creationId xmlns:a16="http://schemas.microsoft.com/office/drawing/2014/main" id="{8CE4377B-9DCE-4BE9-B52B-BABF8D9FA6A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663970" y="4229488"/>
              <a:ext cx="351558" cy="358634"/>
            </a:xfrm>
            <a:custGeom>
              <a:avLst/>
              <a:gdLst>
                <a:gd name="T0" fmla="*/ 245 w 761"/>
                <a:gd name="T1" fmla="*/ 18 h 814"/>
                <a:gd name="T2" fmla="*/ 96 w 761"/>
                <a:gd name="T3" fmla="*/ 36 h 814"/>
                <a:gd name="T4" fmla="*/ 99 w 761"/>
                <a:gd name="T5" fmla="*/ 99 h 814"/>
                <a:gd name="T6" fmla="*/ 44 w 761"/>
                <a:gd name="T7" fmla="*/ 164 h 814"/>
                <a:gd name="T8" fmla="*/ 104 w 761"/>
                <a:gd name="T9" fmla="*/ 250 h 814"/>
                <a:gd name="T10" fmla="*/ 138 w 761"/>
                <a:gd name="T11" fmla="*/ 333 h 814"/>
                <a:gd name="T12" fmla="*/ 93 w 761"/>
                <a:gd name="T13" fmla="*/ 417 h 814"/>
                <a:gd name="T14" fmla="*/ 52 w 761"/>
                <a:gd name="T15" fmla="*/ 482 h 814"/>
                <a:gd name="T16" fmla="*/ 7 w 761"/>
                <a:gd name="T17" fmla="*/ 510 h 814"/>
                <a:gd name="T18" fmla="*/ 49 w 761"/>
                <a:gd name="T19" fmla="*/ 599 h 814"/>
                <a:gd name="T20" fmla="*/ 42 w 761"/>
                <a:gd name="T21" fmla="*/ 632 h 814"/>
                <a:gd name="T22" fmla="*/ 99 w 761"/>
                <a:gd name="T23" fmla="*/ 640 h 814"/>
                <a:gd name="T24" fmla="*/ 129 w 761"/>
                <a:gd name="T25" fmla="*/ 619 h 814"/>
                <a:gd name="T26" fmla="*/ 144 w 761"/>
                <a:gd name="T27" fmla="*/ 657 h 814"/>
                <a:gd name="T28" fmla="*/ 185 w 761"/>
                <a:gd name="T29" fmla="*/ 668 h 814"/>
                <a:gd name="T30" fmla="*/ 234 w 761"/>
                <a:gd name="T31" fmla="*/ 683 h 814"/>
                <a:gd name="T32" fmla="*/ 264 w 761"/>
                <a:gd name="T33" fmla="*/ 692 h 814"/>
                <a:gd name="T34" fmla="*/ 314 w 761"/>
                <a:gd name="T35" fmla="*/ 683 h 814"/>
                <a:gd name="T36" fmla="*/ 331 w 761"/>
                <a:gd name="T37" fmla="*/ 632 h 814"/>
                <a:gd name="T38" fmla="*/ 346 w 761"/>
                <a:gd name="T39" fmla="*/ 658 h 814"/>
                <a:gd name="T40" fmla="*/ 376 w 761"/>
                <a:gd name="T41" fmla="*/ 705 h 814"/>
                <a:gd name="T42" fmla="*/ 475 w 761"/>
                <a:gd name="T43" fmla="*/ 760 h 814"/>
                <a:gd name="T44" fmla="*/ 508 w 761"/>
                <a:gd name="T45" fmla="*/ 745 h 814"/>
                <a:gd name="T46" fmla="*/ 537 w 761"/>
                <a:gd name="T47" fmla="*/ 739 h 814"/>
                <a:gd name="T48" fmla="*/ 531 w 761"/>
                <a:gd name="T49" fmla="*/ 775 h 814"/>
                <a:gd name="T50" fmla="*/ 576 w 761"/>
                <a:gd name="T51" fmla="*/ 761 h 814"/>
                <a:gd name="T52" fmla="*/ 596 w 761"/>
                <a:gd name="T53" fmla="*/ 814 h 814"/>
                <a:gd name="T54" fmla="*/ 655 w 761"/>
                <a:gd name="T55" fmla="*/ 778 h 814"/>
                <a:gd name="T56" fmla="*/ 628 w 761"/>
                <a:gd name="T57" fmla="*/ 757 h 814"/>
                <a:gd name="T58" fmla="*/ 652 w 761"/>
                <a:gd name="T59" fmla="*/ 718 h 814"/>
                <a:gd name="T60" fmla="*/ 656 w 761"/>
                <a:gd name="T61" fmla="*/ 690 h 814"/>
                <a:gd name="T62" fmla="*/ 677 w 761"/>
                <a:gd name="T63" fmla="*/ 630 h 814"/>
                <a:gd name="T64" fmla="*/ 712 w 761"/>
                <a:gd name="T65" fmla="*/ 539 h 814"/>
                <a:gd name="T66" fmla="*/ 733 w 761"/>
                <a:gd name="T67" fmla="*/ 526 h 814"/>
                <a:gd name="T68" fmla="*/ 723 w 761"/>
                <a:gd name="T69" fmla="*/ 496 h 814"/>
                <a:gd name="T70" fmla="*/ 761 w 761"/>
                <a:gd name="T71" fmla="*/ 436 h 814"/>
                <a:gd name="T72" fmla="*/ 727 w 761"/>
                <a:gd name="T73" fmla="*/ 414 h 814"/>
                <a:gd name="T74" fmla="*/ 722 w 761"/>
                <a:gd name="T75" fmla="*/ 376 h 814"/>
                <a:gd name="T76" fmla="*/ 746 w 761"/>
                <a:gd name="T77" fmla="*/ 339 h 814"/>
                <a:gd name="T78" fmla="*/ 729 w 761"/>
                <a:gd name="T79" fmla="*/ 349 h 814"/>
                <a:gd name="T80" fmla="*/ 695 w 761"/>
                <a:gd name="T81" fmla="*/ 317 h 814"/>
                <a:gd name="T82" fmla="*/ 539 w 761"/>
                <a:gd name="T83" fmla="*/ 338 h 814"/>
                <a:gd name="T84" fmla="*/ 497 w 761"/>
                <a:gd name="T85" fmla="*/ 271 h 814"/>
                <a:gd name="T86" fmla="*/ 450 w 761"/>
                <a:gd name="T87" fmla="*/ 174 h 814"/>
                <a:gd name="T88" fmla="*/ 377 w 761"/>
                <a:gd name="T89" fmla="*/ 156 h 814"/>
                <a:gd name="T90" fmla="*/ 317 w 761"/>
                <a:gd name="T91" fmla="*/ 15 h 814"/>
                <a:gd name="T92" fmla="*/ 268 w 761"/>
                <a:gd name="T93" fmla="*/ 0 h 81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61"/>
                <a:gd name="T142" fmla="*/ 0 h 814"/>
                <a:gd name="T143" fmla="*/ 761 w 761"/>
                <a:gd name="T144" fmla="*/ 814 h 81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61" h="814">
                  <a:moveTo>
                    <a:pt x="268" y="0"/>
                  </a:moveTo>
                  <a:lnTo>
                    <a:pt x="245" y="18"/>
                  </a:lnTo>
                  <a:lnTo>
                    <a:pt x="143" y="13"/>
                  </a:lnTo>
                  <a:lnTo>
                    <a:pt x="96" y="36"/>
                  </a:lnTo>
                  <a:lnTo>
                    <a:pt x="78" y="75"/>
                  </a:lnTo>
                  <a:lnTo>
                    <a:pt x="99" y="99"/>
                  </a:lnTo>
                  <a:lnTo>
                    <a:pt x="67" y="135"/>
                  </a:lnTo>
                  <a:lnTo>
                    <a:pt x="44" y="164"/>
                  </a:lnTo>
                  <a:lnTo>
                    <a:pt x="91" y="208"/>
                  </a:lnTo>
                  <a:lnTo>
                    <a:pt x="104" y="250"/>
                  </a:lnTo>
                  <a:lnTo>
                    <a:pt x="138" y="286"/>
                  </a:lnTo>
                  <a:lnTo>
                    <a:pt x="138" y="333"/>
                  </a:lnTo>
                  <a:lnTo>
                    <a:pt x="70" y="390"/>
                  </a:lnTo>
                  <a:lnTo>
                    <a:pt x="93" y="417"/>
                  </a:lnTo>
                  <a:lnTo>
                    <a:pt x="88" y="455"/>
                  </a:lnTo>
                  <a:lnTo>
                    <a:pt x="52" y="482"/>
                  </a:lnTo>
                  <a:lnTo>
                    <a:pt x="0" y="482"/>
                  </a:lnTo>
                  <a:lnTo>
                    <a:pt x="7" y="510"/>
                  </a:lnTo>
                  <a:lnTo>
                    <a:pt x="41" y="557"/>
                  </a:lnTo>
                  <a:lnTo>
                    <a:pt x="49" y="599"/>
                  </a:lnTo>
                  <a:lnTo>
                    <a:pt x="57" y="627"/>
                  </a:lnTo>
                  <a:lnTo>
                    <a:pt x="42" y="632"/>
                  </a:lnTo>
                  <a:lnTo>
                    <a:pt x="75" y="640"/>
                  </a:lnTo>
                  <a:lnTo>
                    <a:pt x="99" y="640"/>
                  </a:lnTo>
                  <a:lnTo>
                    <a:pt x="112" y="619"/>
                  </a:lnTo>
                  <a:lnTo>
                    <a:pt x="129" y="619"/>
                  </a:lnTo>
                  <a:lnTo>
                    <a:pt x="147" y="636"/>
                  </a:lnTo>
                  <a:lnTo>
                    <a:pt x="144" y="657"/>
                  </a:lnTo>
                  <a:lnTo>
                    <a:pt x="161" y="668"/>
                  </a:lnTo>
                  <a:lnTo>
                    <a:pt x="185" y="668"/>
                  </a:lnTo>
                  <a:lnTo>
                    <a:pt x="219" y="690"/>
                  </a:lnTo>
                  <a:lnTo>
                    <a:pt x="234" y="683"/>
                  </a:lnTo>
                  <a:lnTo>
                    <a:pt x="249" y="696"/>
                  </a:lnTo>
                  <a:lnTo>
                    <a:pt x="264" y="692"/>
                  </a:lnTo>
                  <a:lnTo>
                    <a:pt x="290" y="675"/>
                  </a:lnTo>
                  <a:lnTo>
                    <a:pt x="314" y="683"/>
                  </a:lnTo>
                  <a:lnTo>
                    <a:pt x="331" y="679"/>
                  </a:lnTo>
                  <a:lnTo>
                    <a:pt x="331" y="632"/>
                  </a:lnTo>
                  <a:lnTo>
                    <a:pt x="340" y="634"/>
                  </a:lnTo>
                  <a:lnTo>
                    <a:pt x="346" y="658"/>
                  </a:lnTo>
                  <a:lnTo>
                    <a:pt x="376" y="677"/>
                  </a:lnTo>
                  <a:lnTo>
                    <a:pt x="376" y="705"/>
                  </a:lnTo>
                  <a:lnTo>
                    <a:pt x="419" y="707"/>
                  </a:lnTo>
                  <a:lnTo>
                    <a:pt x="475" y="760"/>
                  </a:lnTo>
                  <a:lnTo>
                    <a:pt x="510" y="761"/>
                  </a:lnTo>
                  <a:lnTo>
                    <a:pt x="508" y="745"/>
                  </a:lnTo>
                  <a:lnTo>
                    <a:pt x="523" y="722"/>
                  </a:lnTo>
                  <a:lnTo>
                    <a:pt x="537" y="739"/>
                  </a:lnTo>
                  <a:lnTo>
                    <a:pt x="525" y="757"/>
                  </a:lnTo>
                  <a:lnTo>
                    <a:pt x="531" y="775"/>
                  </a:lnTo>
                  <a:lnTo>
                    <a:pt x="551" y="761"/>
                  </a:lnTo>
                  <a:lnTo>
                    <a:pt x="576" y="761"/>
                  </a:lnTo>
                  <a:lnTo>
                    <a:pt x="574" y="799"/>
                  </a:lnTo>
                  <a:lnTo>
                    <a:pt x="596" y="814"/>
                  </a:lnTo>
                  <a:lnTo>
                    <a:pt x="613" y="806"/>
                  </a:lnTo>
                  <a:lnTo>
                    <a:pt x="655" y="778"/>
                  </a:lnTo>
                  <a:lnTo>
                    <a:pt x="652" y="772"/>
                  </a:lnTo>
                  <a:lnTo>
                    <a:pt x="628" y="757"/>
                  </a:lnTo>
                  <a:lnTo>
                    <a:pt x="626" y="731"/>
                  </a:lnTo>
                  <a:lnTo>
                    <a:pt x="652" y="718"/>
                  </a:lnTo>
                  <a:lnTo>
                    <a:pt x="664" y="703"/>
                  </a:lnTo>
                  <a:lnTo>
                    <a:pt x="656" y="690"/>
                  </a:lnTo>
                  <a:lnTo>
                    <a:pt x="656" y="660"/>
                  </a:lnTo>
                  <a:lnTo>
                    <a:pt x="677" y="630"/>
                  </a:lnTo>
                  <a:lnTo>
                    <a:pt x="707" y="567"/>
                  </a:lnTo>
                  <a:lnTo>
                    <a:pt x="712" y="539"/>
                  </a:lnTo>
                  <a:lnTo>
                    <a:pt x="731" y="531"/>
                  </a:lnTo>
                  <a:lnTo>
                    <a:pt x="733" y="526"/>
                  </a:lnTo>
                  <a:lnTo>
                    <a:pt x="723" y="518"/>
                  </a:lnTo>
                  <a:lnTo>
                    <a:pt x="723" y="496"/>
                  </a:lnTo>
                  <a:lnTo>
                    <a:pt x="753" y="473"/>
                  </a:lnTo>
                  <a:lnTo>
                    <a:pt x="761" y="436"/>
                  </a:lnTo>
                  <a:lnTo>
                    <a:pt x="748" y="414"/>
                  </a:lnTo>
                  <a:lnTo>
                    <a:pt x="727" y="414"/>
                  </a:lnTo>
                  <a:lnTo>
                    <a:pt x="722" y="408"/>
                  </a:lnTo>
                  <a:lnTo>
                    <a:pt x="722" y="376"/>
                  </a:lnTo>
                  <a:lnTo>
                    <a:pt x="748" y="357"/>
                  </a:lnTo>
                  <a:lnTo>
                    <a:pt x="746" y="339"/>
                  </a:lnTo>
                  <a:lnTo>
                    <a:pt x="742" y="320"/>
                  </a:lnTo>
                  <a:lnTo>
                    <a:pt x="729" y="349"/>
                  </a:lnTo>
                  <a:lnTo>
                    <a:pt x="710" y="346"/>
                  </a:lnTo>
                  <a:lnTo>
                    <a:pt x="695" y="317"/>
                  </a:lnTo>
                  <a:lnTo>
                    <a:pt x="643" y="344"/>
                  </a:lnTo>
                  <a:lnTo>
                    <a:pt x="539" y="338"/>
                  </a:lnTo>
                  <a:lnTo>
                    <a:pt x="526" y="310"/>
                  </a:lnTo>
                  <a:lnTo>
                    <a:pt x="497" y="271"/>
                  </a:lnTo>
                  <a:lnTo>
                    <a:pt x="492" y="224"/>
                  </a:lnTo>
                  <a:lnTo>
                    <a:pt x="450" y="174"/>
                  </a:lnTo>
                  <a:lnTo>
                    <a:pt x="424" y="192"/>
                  </a:lnTo>
                  <a:lnTo>
                    <a:pt x="377" y="156"/>
                  </a:lnTo>
                  <a:lnTo>
                    <a:pt x="385" y="86"/>
                  </a:lnTo>
                  <a:lnTo>
                    <a:pt x="317" y="15"/>
                  </a:lnTo>
                  <a:lnTo>
                    <a:pt x="286" y="15"/>
                  </a:lnTo>
                  <a:lnTo>
                    <a:pt x="26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89</a:t>
              </a:r>
            </a:p>
          </p:txBody>
        </p:sp>
        <p:sp>
          <p:nvSpPr>
            <p:cNvPr id="68" name="FR-70">
              <a:extLst>
                <a:ext uri="{FF2B5EF4-FFF2-40B4-BE49-F238E27FC236}">
                  <a16:creationId xmlns:a16="http://schemas.microsoft.com/office/drawing/2014/main" id="{E9000C1A-071D-4367-88D5-1AC343AE2BA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264068" y="4336108"/>
              <a:ext cx="342781" cy="257740"/>
            </a:xfrm>
            <a:custGeom>
              <a:avLst/>
              <a:gdLst>
                <a:gd name="T0" fmla="*/ 321 w 742"/>
                <a:gd name="T1" fmla="*/ 8 h 585"/>
                <a:gd name="T2" fmla="*/ 286 w 742"/>
                <a:gd name="T3" fmla="*/ 52 h 585"/>
                <a:gd name="T4" fmla="*/ 256 w 742"/>
                <a:gd name="T5" fmla="*/ 39 h 585"/>
                <a:gd name="T6" fmla="*/ 240 w 742"/>
                <a:gd name="T7" fmla="*/ 70 h 585"/>
                <a:gd name="T8" fmla="*/ 219 w 742"/>
                <a:gd name="T9" fmla="*/ 102 h 585"/>
                <a:gd name="T10" fmla="*/ 182 w 742"/>
                <a:gd name="T11" fmla="*/ 135 h 585"/>
                <a:gd name="T12" fmla="*/ 143 w 742"/>
                <a:gd name="T13" fmla="*/ 164 h 585"/>
                <a:gd name="T14" fmla="*/ 169 w 742"/>
                <a:gd name="T15" fmla="*/ 198 h 585"/>
                <a:gd name="T16" fmla="*/ 148 w 742"/>
                <a:gd name="T17" fmla="*/ 265 h 585"/>
                <a:gd name="T18" fmla="*/ 86 w 742"/>
                <a:gd name="T19" fmla="*/ 281 h 585"/>
                <a:gd name="T20" fmla="*/ 8 w 742"/>
                <a:gd name="T21" fmla="*/ 281 h 585"/>
                <a:gd name="T22" fmla="*/ 36 w 742"/>
                <a:gd name="T23" fmla="*/ 313 h 585"/>
                <a:gd name="T24" fmla="*/ 60 w 742"/>
                <a:gd name="T25" fmla="*/ 375 h 585"/>
                <a:gd name="T26" fmla="*/ 11 w 742"/>
                <a:gd name="T27" fmla="*/ 419 h 585"/>
                <a:gd name="T28" fmla="*/ 29 w 742"/>
                <a:gd name="T29" fmla="*/ 445 h 585"/>
                <a:gd name="T30" fmla="*/ 57 w 742"/>
                <a:gd name="T31" fmla="*/ 490 h 585"/>
                <a:gd name="T32" fmla="*/ 71 w 742"/>
                <a:gd name="T33" fmla="*/ 552 h 585"/>
                <a:gd name="T34" fmla="*/ 92 w 742"/>
                <a:gd name="T35" fmla="*/ 566 h 585"/>
                <a:gd name="T36" fmla="*/ 148 w 742"/>
                <a:gd name="T37" fmla="*/ 585 h 585"/>
                <a:gd name="T38" fmla="*/ 184 w 742"/>
                <a:gd name="T39" fmla="*/ 573 h 585"/>
                <a:gd name="T40" fmla="*/ 260 w 742"/>
                <a:gd name="T41" fmla="*/ 530 h 585"/>
                <a:gd name="T42" fmla="*/ 292 w 742"/>
                <a:gd name="T43" fmla="*/ 518 h 585"/>
                <a:gd name="T44" fmla="*/ 387 w 742"/>
                <a:gd name="T45" fmla="*/ 485 h 585"/>
                <a:gd name="T46" fmla="*/ 428 w 742"/>
                <a:gd name="T47" fmla="*/ 452 h 585"/>
                <a:gd name="T48" fmla="*/ 477 w 742"/>
                <a:gd name="T49" fmla="*/ 403 h 585"/>
                <a:gd name="T50" fmla="*/ 546 w 742"/>
                <a:gd name="T51" fmla="*/ 372 h 585"/>
                <a:gd name="T52" fmla="*/ 621 w 742"/>
                <a:gd name="T53" fmla="*/ 385 h 585"/>
                <a:gd name="T54" fmla="*/ 641 w 742"/>
                <a:gd name="T55" fmla="*/ 347 h 585"/>
                <a:gd name="T56" fmla="*/ 686 w 742"/>
                <a:gd name="T57" fmla="*/ 326 h 585"/>
                <a:gd name="T58" fmla="*/ 709 w 742"/>
                <a:gd name="T59" fmla="*/ 267 h 585"/>
                <a:gd name="T60" fmla="*/ 698 w 742"/>
                <a:gd name="T61" fmla="*/ 201 h 585"/>
                <a:gd name="T62" fmla="*/ 718 w 742"/>
                <a:gd name="T63" fmla="*/ 153 h 585"/>
                <a:gd name="T64" fmla="*/ 740 w 742"/>
                <a:gd name="T65" fmla="*/ 135 h 585"/>
                <a:gd name="T66" fmla="*/ 633 w 742"/>
                <a:gd name="T67" fmla="*/ 65 h 585"/>
                <a:gd name="T68" fmla="*/ 589 w 742"/>
                <a:gd name="T69" fmla="*/ 60 h 585"/>
                <a:gd name="T70" fmla="*/ 565 w 742"/>
                <a:gd name="T71" fmla="*/ 88 h 585"/>
                <a:gd name="T72" fmla="*/ 513 w 742"/>
                <a:gd name="T73" fmla="*/ 44 h 585"/>
                <a:gd name="T74" fmla="*/ 435 w 742"/>
                <a:gd name="T75" fmla="*/ 63 h 585"/>
                <a:gd name="T76" fmla="*/ 381 w 742"/>
                <a:gd name="T77" fmla="*/ 39 h 585"/>
                <a:gd name="T78" fmla="*/ 370 w 742"/>
                <a:gd name="T79" fmla="*/ 0 h 585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742"/>
                <a:gd name="T121" fmla="*/ 0 h 585"/>
                <a:gd name="T122" fmla="*/ 742 w 742"/>
                <a:gd name="T123" fmla="*/ 585 h 585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742" h="585">
                  <a:moveTo>
                    <a:pt x="370" y="0"/>
                  </a:moveTo>
                  <a:lnTo>
                    <a:pt x="321" y="8"/>
                  </a:lnTo>
                  <a:lnTo>
                    <a:pt x="313" y="34"/>
                  </a:lnTo>
                  <a:lnTo>
                    <a:pt x="286" y="52"/>
                  </a:lnTo>
                  <a:lnTo>
                    <a:pt x="268" y="31"/>
                  </a:lnTo>
                  <a:lnTo>
                    <a:pt x="256" y="39"/>
                  </a:lnTo>
                  <a:lnTo>
                    <a:pt x="266" y="55"/>
                  </a:lnTo>
                  <a:lnTo>
                    <a:pt x="240" y="70"/>
                  </a:lnTo>
                  <a:lnTo>
                    <a:pt x="248" y="91"/>
                  </a:lnTo>
                  <a:lnTo>
                    <a:pt x="219" y="102"/>
                  </a:lnTo>
                  <a:lnTo>
                    <a:pt x="219" y="135"/>
                  </a:lnTo>
                  <a:lnTo>
                    <a:pt x="182" y="135"/>
                  </a:lnTo>
                  <a:lnTo>
                    <a:pt x="180" y="156"/>
                  </a:lnTo>
                  <a:lnTo>
                    <a:pt x="143" y="164"/>
                  </a:lnTo>
                  <a:lnTo>
                    <a:pt x="146" y="195"/>
                  </a:lnTo>
                  <a:lnTo>
                    <a:pt x="169" y="198"/>
                  </a:lnTo>
                  <a:lnTo>
                    <a:pt x="156" y="213"/>
                  </a:lnTo>
                  <a:lnTo>
                    <a:pt x="148" y="265"/>
                  </a:lnTo>
                  <a:lnTo>
                    <a:pt x="125" y="265"/>
                  </a:lnTo>
                  <a:lnTo>
                    <a:pt x="86" y="281"/>
                  </a:lnTo>
                  <a:lnTo>
                    <a:pt x="44" y="265"/>
                  </a:lnTo>
                  <a:lnTo>
                    <a:pt x="8" y="281"/>
                  </a:lnTo>
                  <a:lnTo>
                    <a:pt x="8" y="308"/>
                  </a:lnTo>
                  <a:lnTo>
                    <a:pt x="36" y="313"/>
                  </a:lnTo>
                  <a:lnTo>
                    <a:pt x="57" y="354"/>
                  </a:lnTo>
                  <a:lnTo>
                    <a:pt x="60" y="375"/>
                  </a:lnTo>
                  <a:lnTo>
                    <a:pt x="26" y="414"/>
                  </a:lnTo>
                  <a:lnTo>
                    <a:pt x="11" y="419"/>
                  </a:lnTo>
                  <a:lnTo>
                    <a:pt x="0" y="432"/>
                  </a:lnTo>
                  <a:lnTo>
                    <a:pt x="29" y="445"/>
                  </a:lnTo>
                  <a:lnTo>
                    <a:pt x="34" y="487"/>
                  </a:lnTo>
                  <a:lnTo>
                    <a:pt x="57" y="490"/>
                  </a:lnTo>
                  <a:lnTo>
                    <a:pt x="60" y="542"/>
                  </a:lnTo>
                  <a:lnTo>
                    <a:pt x="71" y="552"/>
                  </a:lnTo>
                  <a:lnTo>
                    <a:pt x="72" y="560"/>
                  </a:lnTo>
                  <a:lnTo>
                    <a:pt x="92" y="566"/>
                  </a:lnTo>
                  <a:lnTo>
                    <a:pt x="114" y="585"/>
                  </a:lnTo>
                  <a:lnTo>
                    <a:pt x="148" y="585"/>
                  </a:lnTo>
                  <a:lnTo>
                    <a:pt x="161" y="572"/>
                  </a:lnTo>
                  <a:lnTo>
                    <a:pt x="184" y="573"/>
                  </a:lnTo>
                  <a:lnTo>
                    <a:pt x="208" y="573"/>
                  </a:lnTo>
                  <a:lnTo>
                    <a:pt x="260" y="530"/>
                  </a:lnTo>
                  <a:lnTo>
                    <a:pt x="275" y="530"/>
                  </a:lnTo>
                  <a:lnTo>
                    <a:pt x="292" y="518"/>
                  </a:lnTo>
                  <a:lnTo>
                    <a:pt x="346" y="519"/>
                  </a:lnTo>
                  <a:lnTo>
                    <a:pt x="387" y="485"/>
                  </a:lnTo>
                  <a:lnTo>
                    <a:pt x="417" y="480"/>
                  </a:lnTo>
                  <a:lnTo>
                    <a:pt x="428" y="452"/>
                  </a:lnTo>
                  <a:lnTo>
                    <a:pt x="453" y="445"/>
                  </a:lnTo>
                  <a:lnTo>
                    <a:pt x="477" y="403"/>
                  </a:lnTo>
                  <a:lnTo>
                    <a:pt x="511" y="377"/>
                  </a:lnTo>
                  <a:lnTo>
                    <a:pt x="546" y="372"/>
                  </a:lnTo>
                  <a:lnTo>
                    <a:pt x="572" y="390"/>
                  </a:lnTo>
                  <a:lnTo>
                    <a:pt x="621" y="385"/>
                  </a:lnTo>
                  <a:lnTo>
                    <a:pt x="621" y="358"/>
                  </a:lnTo>
                  <a:lnTo>
                    <a:pt x="641" y="347"/>
                  </a:lnTo>
                  <a:lnTo>
                    <a:pt x="656" y="326"/>
                  </a:lnTo>
                  <a:lnTo>
                    <a:pt x="686" y="326"/>
                  </a:lnTo>
                  <a:lnTo>
                    <a:pt x="703" y="308"/>
                  </a:lnTo>
                  <a:lnTo>
                    <a:pt x="709" y="267"/>
                  </a:lnTo>
                  <a:lnTo>
                    <a:pt x="709" y="241"/>
                  </a:lnTo>
                  <a:lnTo>
                    <a:pt x="698" y="201"/>
                  </a:lnTo>
                  <a:lnTo>
                    <a:pt x="698" y="168"/>
                  </a:lnTo>
                  <a:lnTo>
                    <a:pt x="718" y="153"/>
                  </a:lnTo>
                  <a:lnTo>
                    <a:pt x="742" y="140"/>
                  </a:lnTo>
                  <a:lnTo>
                    <a:pt x="740" y="135"/>
                  </a:lnTo>
                  <a:lnTo>
                    <a:pt x="656" y="91"/>
                  </a:lnTo>
                  <a:lnTo>
                    <a:pt x="633" y="65"/>
                  </a:lnTo>
                  <a:lnTo>
                    <a:pt x="610" y="50"/>
                  </a:lnTo>
                  <a:lnTo>
                    <a:pt x="589" y="60"/>
                  </a:lnTo>
                  <a:lnTo>
                    <a:pt x="586" y="75"/>
                  </a:lnTo>
                  <a:lnTo>
                    <a:pt x="565" y="88"/>
                  </a:lnTo>
                  <a:lnTo>
                    <a:pt x="552" y="88"/>
                  </a:lnTo>
                  <a:lnTo>
                    <a:pt x="513" y="44"/>
                  </a:lnTo>
                  <a:lnTo>
                    <a:pt x="458" y="44"/>
                  </a:lnTo>
                  <a:lnTo>
                    <a:pt x="435" y="63"/>
                  </a:lnTo>
                  <a:lnTo>
                    <a:pt x="414" y="65"/>
                  </a:lnTo>
                  <a:lnTo>
                    <a:pt x="381" y="39"/>
                  </a:lnTo>
                  <a:lnTo>
                    <a:pt x="383" y="10"/>
                  </a:lnTo>
                  <a:lnTo>
                    <a:pt x="37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70</a:t>
              </a:r>
            </a:p>
          </p:txBody>
        </p:sp>
        <p:sp>
          <p:nvSpPr>
            <p:cNvPr id="69" name="FR-76">
              <a:extLst>
                <a:ext uri="{FF2B5EF4-FFF2-40B4-BE49-F238E27FC236}">
                  <a16:creationId xmlns:a16="http://schemas.microsoft.com/office/drawing/2014/main" id="{3429ABEB-290C-4735-ACC6-9C608B4716E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021371" y="3666424"/>
              <a:ext cx="395908" cy="273161"/>
            </a:xfrm>
            <a:custGeom>
              <a:avLst/>
              <a:gdLst>
                <a:gd name="T0" fmla="*/ 639 w 857"/>
                <a:gd name="T1" fmla="*/ 0 h 620"/>
                <a:gd name="T2" fmla="*/ 622 w 857"/>
                <a:gd name="T3" fmla="*/ 21 h 620"/>
                <a:gd name="T4" fmla="*/ 510 w 857"/>
                <a:gd name="T5" fmla="*/ 107 h 620"/>
                <a:gd name="T6" fmla="*/ 312 w 857"/>
                <a:gd name="T7" fmla="*/ 156 h 620"/>
                <a:gd name="T8" fmla="*/ 182 w 857"/>
                <a:gd name="T9" fmla="*/ 203 h 620"/>
                <a:gd name="T10" fmla="*/ 75 w 857"/>
                <a:gd name="T11" fmla="*/ 260 h 620"/>
                <a:gd name="T12" fmla="*/ 13 w 857"/>
                <a:gd name="T13" fmla="*/ 354 h 620"/>
                <a:gd name="T14" fmla="*/ 0 w 857"/>
                <a:gd name="T15" fmla="*/ 427 h 620"/>
                <a:gd name="T16" fmla="*/ 52 w 857"/>
                <a:gd name="T17" fmla="*/ 466 h 620"/>
                <a:gd name="T18" fmla="*/ 127 w 857"/>
                <a:gd name="T19" fmla="*/ 482 h 620"/>
                <a:gd name="T20" fmla="*/ 115 w 857"/>
                <a:gd name="T21" fmla="*/ 484 h 620"/>
                <a:gd name="T22" fmla="*/ 116 w 857"/>
                <a:gd name="T23" fmla="*/ 486 h 620"/>
                <a:gd name="T24" fmla="*/ 174 w 857"/>
                <a:gd name="T25" fmla="*/ 478 h 620"/>
                <a:gd name="T26" fmla="*/ 204 w 857"/>
                <a:gd name="T27" fmla="*/ 446 h 620"/>
                <a:gd name="T28" fmla="*/ 226 w 857"/>
                <a:gd name="T29" fmla="*/ 441 h 620"/>
                <a:gd name="T30" fmla="*/ 252 w 857"/>
                <a:gd name="T31" fmla="*/ 486 h 620"/>
                <a:gd name="T32" fmla="*/ 288 w 857"/>
                <a:gd name="T33" fmla="*/ 482 h 620"/>
                <a:gd name="T34" fmla="*/ 303 w 857"/>
                <a:gd name="T35" fmla="*/ 508 h 620"/>
                <a:gd name="T36" fmla="*/ 366 w 857"/>
                <a:gd name="T37" fmla="*/ 504 h 620"/>
                <a:gd name="T38" fmla="*/ 430 w 857"/>
                <a:gd name="T39" fmla="*/ 549 h 620"/>
                <a:gd name="T40" fmla="*/ 389 w 857"/>
                <a:gd name="T41" fmla="*/ 562 h 620"/>
                <a:gd name="T42" fmla="*/ 419 w 857"/>
                <a:gd name="T43" fmla="*/ 585 h 620"/>
                <a:gd name="T44" fmla="*/ 438 w 857"/>
                <a:gd name="T45" fmla="*/ 585 h 620"/>
                <a:gd name="T46" fmla="*/ 454 w 857"/>
                <a:gd name="T47" fmla="*/ 620 h 620"/>
                <a:gd name="T48" fmla="*/ 484 w 857"/>
                <a:gd name="T49" fmla="*/ 620 h 620"/>
                <a:gd name="T50" fmla="*/ 493 w 857"/>
                <a:gd name="T51" fmla="*/ 598 h 620"/>
                <a:gd name="T52" fmla="*/ 471 w 857"/>
                <a:gd name="T53" fmla="*/ 583 h 620"/>
                <a:gd name="T54" fmla="*/ 535 w 857"/>
                <a:gd name="T55" fmla="*/ 564 h 620"/>
                <a:gd name="T56" fmla="*/ 602 w 857"/>
                <a:gd name="T57" fmla="*/ 557 h 620"/>
                <a:gd name="T58" fmla="*/ 619 w 857"/>
                <a:gd name="T59" fmla="*/ 508 h 620"/>
                <a:gd name="T60" fmla="*/ 651 w 857"/>
                <a:gd name="T61" fmla="*/ 480 h 620"/>
                <a:gd name="T62" fmla="*/ 711 w 857"/>
                <a:gd name="T63" fmla="*/ 478 h 620"/>
                <a:gd name="T64" fmla="*/ 780 w 857"/>
                <a:gd name="T65" fmla="*/ 514 h 620"/>
                <a:gd name="T66" fmla="*/ 821 w 857"/>
                <a:gd name="T67" fmla="*/ 518 h 620"/>
                <a:gd name="T68" fmla="*/ 828 w 857"/>
                <a:gd name="T69" fmla="*/ 497 h 620"/>
                <a:gd name="T70" fmla="*/ 846 w 857"/>
                <a:gd name="T71" fmla="*/ 463 h 620"/>
                <a:gd name="T72" fmla="*/ 857 w 857"/>
                <a:gd name="T73" fmla="*/ 445 h 620"/>
                <a:gd name="T74" fmla="*/ 831 w 857"/>
                <a:gd name="T75" fmla="*/ 445 h 620"/>
                <a:gd name="T76" fmla="*/ 831 w 857"/>
                <a:gd name="T77" fmla="*/ 400 h 620"/>
                <a:gd name="T78" fmla="*/ 815 w 857"/>
                <a:gd name="T79" fmla="*/ 374 h 620"/>
                <a:gd name="T80" fmla="*/ 826 w 857"/>
                <a:gd name="T81" fmla="*/ 322 h 620"/>
                <a:gd name="T82" fmla="*/ 836 w 857"/>
                <a:gd name="T83" fmla="*/ 296 h 620"/>
                <a:gd name="T84" fmla="*/ 815 w 857"/>
                <a:gd name="T85" fmla="*/ 296 h 620"/>
                <a:gd name="T86" fmla="*/ 826 w 857"/>
                <a:gd name="T87" fmla="*/ 270 h 620"/>
                <a:gd name="T88" fmla="*/ 851 w 857"/>
                <a:gd name="T89" fmla="*/ 239 h 620"/>
                <a:gd name="T90" fmla="*/ 826 w 857"/>
                <a:gd name="T91" fmla="*/ 192 h 620"/>
                <a:gd name="T92" fmla="*/ 818 w 857"/>
                <a:gd name="T93" fmla="*/ 145 h 620"/>
                <a:gd name="T94" fmla="*/ 703 w 857"/>
                <a:gd name="T95" fmla="*/ 33 h 620"/>
                <a:gd name="T96" fmla="*/ 690 w 857"/>
                <a:gd name="T97" fmla="*/ 7 h 620"/>
                <a:gd name="T98" fmla="*/ 661 w 857"/>
                <a:gd name="T99" fmla="*/ 10 h 620"/>
                <a:gd name="T100" fmla="*/ 639 w 857"/>
                <a:gd name="T101" fmla="*/ 0 h 62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57"/>
                <a:gd name="T154" fmla="*/ 0 h 620"/>
                <a:gd name="T155" fmla="*/ 857 w 857"/>
                <a:gd name="T156" fmla="*/ 620 h 62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57" h="620">
                  <a:moveTo>
                    <a:pt x="639" y="0"/>
                  </a:moveTo>
                  <a:lnTo>
                    <a:pt x="622" y="21"/>
                  </a:lnTo>
                  <a:lnTo>
                    <a:pt x="510" y="107"/>
                  </a:lnTo>
                  <a:lnTo>
                    <a:pt x="312" y="156"/>
                  </a:lnTo>
                  <a:lnTo>
                    <a:pt x="182" y="203"/>
                  </a:lnTo>
                  <a:lnTo>
                    <a:pt x="75" y="260"/>
                  </a:lnTo>
                  <a:lnTo>
                    <a:pt x="13" y="354"/>
                  </a:lnTo>
                  <a:lnTo>
                    <a:pt x="0" y="427"/>
                  </a:lnTo>
                  <a:lnTo>
                    <a:pt x="52" y="466"/>
                  </a:lnTo>
                  <a:lnTo>
                    <a:pt x="127" y="482"/>
                  </a:lnTo>
                  <a:lnTo>
                    <a:pt x="115" y="484"/>
                  </a:lnTo>
                  <a:lnTo>
                    <a:pt x="116" y="486"/>
                  </a:lnTo>
                  <a:lnTo>
                    <a:pt x="174" y="478"/>
                  </a:lnTo>
                  <a:lnTo>
                    <a:pt x="204" y="446"/>
                  </a:lnTo>
                  <a:lnTo>
                    <a:pt x="226" y="441"/>
                  </a:lnTo>
                  <a:lnTo>
                    <a:pt x="252" y="486"/>
                  </a:lnTo>
                  <a:lnTo>
                    <a:pt x="288" y="482"/>
                  </a:lnTo>
                  <a:lnTo>
                    <a:pt x="303" y="508"/>
                  </a:lnTo>
                  <a:lnTo>
                    <a:pt x="366" y="504"/>
                  </a:lnTo>
                  <a:lnTo>
                    <a:pt x="430" y="549"/>
                  </a:lnTo>
                  <a:lnTo>
                    <a:pt x="389" y="562"/>
                  </a:lnTo>
                  <a:lnTo>
                    <a:pt x="419" y="585"/>
                  </a:lnTo>
                  <a:lnTo>
                    <a:pt x="438" y="585"/>
                  </a:lnTo>
                  <a:lnTo>
                    <a:pt x="454" y="620"/>
                  </a:lnTo>
                  <a:lnTo>
                    <a:pt x="484" y="620"/>
                  </a:lnTo>
                  <a:lnTo>
                    <a:pt x="493" y="598"/>
                  </a:lnTo>
                  <a:lnTo>
                    <a:pt x="471" y="583"/>
                  </a:lnTo>
                  <a:lnTo>
                    <a:pt x="535" y="564"/>
                  </a:lnTo>
                  <a:lnTo>
                    <a:pt x="602" y="557"/>
                  </a:lnTo>
                  <a:lnTo>
                    <a:pt x="619" y="508"/>
                  </a:lnTo>
                  <a:lnTo>
                    <a:pt x="651" y="480"/>
                  </a:lnTo>
                  <a:lnTo>
                    <a:pt x="711" y="478"/>
                  </a:lnTo>
                  <a:lnTo>
                    <a:pt x="780" y="514"/>
                  </a:lnTo>
                  <a:lnTo>
                    <a:pt x="821" y="518"/>
                  </a:lnTo>
                  <a:lnTo>
                    <a:pt x="828" y="497"/>
                  </a:lnTo>
                  <a:lnTo>
                    <a:pt x="846" y="463"/>
                  </a:lnTo>
                  <a:lnTo>
                    <a:pt x="857" y="445"/>
                  </a:lnTo>
                  <a:lnTo>
                    <a:pt x="831" y="445"/>
                  </a:lnTo>
                  <a:lnTo>
                    <a:pt x="831" y="400"/>
                  </a:lnTo>
                  <a:lnTo>
                    <a:pt x="815" y="374"/>
                  </a:lnTo>
                  <a:lnTo>
                    <a:pt x="826" y="322"/>
                  </a:lnTo>
                  <a:lnTo>
                    <a:pt x="836" y="296"/>
                  </a:lnTo>
                  <a:lnTo>
                    <a:pt x="815" y="296"/>
                  </a:lnTo>
                  <a:lnTo>
                    <a:pt x="826" y="270"/>
                  </a:lnTo>
                  <a:lnTo>
                    <a:pt x="851" y="239"/>
                  </a:lnTo>
                  <a:lnTo>
                    <a:pt x="826" y="192"/>
                  </a:lnTo>
                  <a:lnTo>
                    <a:pt x="818" y="145"/>
                  </a:lnTo>
                  <a:lnTo>
                    <a:pt x="703" y="33"/>
                  </a:lnTo>
                  <a:lnTo>
                    <a:pt x="690" y="7"/>
                  </a:lnTo>
                  <a:lnTo>
                    <a:pt x="661" y="10"/>
                  </a:lnTo>
                  <a:lnTo>
                    <a:pt x="639" y="0"/>
                  </a:lnTo>
                  <a:close/>
                </a:path>
              </a:pathLst>
            </a:custGeom>
            <a:solidFill>
              <a:srgbClr val="0063AC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solidFill>
                    <a:schemeClr val="bg1"/>
                  </a:solidFill>
                  <a:latin typeface="+mj-lt"/>
                </a:rPr>
                <a:t>76</a:t>
              </a:r>
            </a:p>
          </p:txBody>
        </p:sp>
        <p:sp>
          <p:nvSpPr>
            <p:cNvPr id="70" name="FR-27">
              <a:extLst>
                <a:ext uri="{FF2B5EF4-FFF2-40B4-BE49-F238E27FC236}">
                  <a16:creationId xmlns:a16="http://schemas.microsoft.com/office/drawing/2014/main" id="{C85558DF-2764-4049-B1D3-73A72A512ED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074960" y="3860720"/>
              <a:ext cx="346015" cy="277567"/>
            </a:xfrm>
            <a:custGeom>
              <a:avLst/>
              <a:gdLst>
                <a:gd name="T0" fmla="*/ 88 w 749"/>
                <a:gd name="T1" fmla="*/ 5 h 630"/>
                <a:gd name="T2" fmla="*/ 0 w 749"/>
                <a:gd name="T3" fmla="*/ 45 h 630"/>
                <a:gd name="T4" fmla="*/ 38 w 749"/>
                <a:gd name="T5" fmla="*/ 149 h 630"/>
                <a:gd name="T6" fmla="*/ 12 w 749"/>
                <a:gd name="T7" fmla="*/ 175 h 630"/>
                <a:gd name="T8" fmla="*/ 59 w 749"/>
                <a:gd name="T9" fmla="*/ 282 h 630"/>
                <a:gd name="T10" fmla="*/ 32 w 749"/>
                <a:gd name="T11" fmla="*/ 324 h 630"/>
                <a:gd name="T12" fmla="*/ 61 w 749"/>
                <a:gd name="T13" fmla="*/ 352 h 630"/>
                <a:gd name="T14" fmla="*/ 43 w 749"/>
                <a:gd name="T15" fmla="*/ 436 h 630"/>
                <a:gd name="T16" fmla="*/ 137 w 749"/>
                <a:gd name="T17" fmla="*/ 464 h 630"/>
                <a:gd name="T18" fmla="*/ 178 w 749"/>
                <a:gd name="T19" fmla="*/ 527 h 630"/>
                <a:gd name="T20" fmla="*/ 225 w 749"/>
                <a:gd name="T21" fmla="*/ 579 h 630"/>
                <a:gd name="T22" fmla="*/ 245 w 749"/>
                <a:gd name="T23" fmla="*/ 630 h 630"/>
                <a:gd name="T24" fmla="*/ 319 w 749"/>
                <a:gd name="T25" fmla="*/ 594 h 630"/>
                <a:gd name="T26" fmla="*/ 444 w 749"/>
                <a:gd name="T27" fmla="*/ 558 h 630"/>
                <a:gd name="T28" fmla="*/ 525 w 749"/>
                <a:gd name="T29" fmla="*/ 540 h 630"/>
                <a:gd name="T30" fmla="*/ 577 w 749"/>
                <a:gd name="T31" fmla="*/ 475 h 630"/>
                <a:gd name="T32" fmla="*/ 591 w 749"/>
                <a:gd name="T33" fmla="*/ 422 h 630"/>
                <a:gd name="T34" fmla="*/ 603 w 749"/>
                <a:gd name="T35" fmla="*/ 397 h 630"/>
                <a:gd name="T36" fmla="*/ 580 w 749"/>
                <a:gd name="T37" fmla="*/ 371 h 630"/>
                <a:gd name="T38" fmla="*/ 577 w 749"/>
                <a:gd name="T39" fmla="*/ 337 h 630"/>
                <a:gd name="T40" fmla="*/ 668 w 749"/>
                <a:gd name="T41" fmla="*/ 285 h 630"/>
                <a:gd name="T42" fmla="*/ 703 w 749"/>
                <a:gd name="T43" fmla="*/ 204 h 630"/>
                <a:gd name="T44" fmla="*/ 730 w 749"/>
                <a:gd name="T45" fmla="*/ 186 h 630"/>
                <a:gd name="T46" fmla="*/ 735 w 749"/>
                <a:gd name="T47" fmla="*/ 160 h 630"/>
                <a:gd name="T48" fmla="*/ 705 w 749"/>
                <a:gd name="T49" fmla="*/ 79 h 630"/>
                <a:gd name="T50" fmla="*/ 664 w 749"/>
                <a:gd name="T51" fmla="*/ 73 h 630"/>
                <a:gd name="T52" fmla="*/ 535 w 749"/>
                <a:gd name="T53" fmla="*/ 39 h 630"/>
                <a:gd name="T54" fmla="*/ 486 w 749"/>
                <a:gd name="T55" fmla="*/ 116 h 630"/>
                <a:gd name="T56" fmla="*/ 355 w 749"/>
                <a:gd name="T57" fmla="*/ 142 h 630"/>
                <a:gd name="T58" fmla="*/ 368 w 749"/>
                <a:gd name="T59" fmla="*/ 179 h 630"/>
                <a:gd name="T60" fmla="*/ 322 w 749"/>
                <a:gd name="T61" fmla="*/ 144 h 630"/>
                <a:gd name="T62" fmla="*/ 273 w 749"/>
                <a:gd name="T63" fmla="*/ 121 h 630"/>
                <a:gd name="T64" fmla="*/ 250 w 749"/>
                <a:gd name="T65" fmla="*/ 63 h 630"/>
                <a:gd name="T66" fmla="*/ 172 w 749"/>
                <a:gd name="T67" fmla="*/ 41 h 630"/>
                <a:gd name="T68" fmla="*/ 110 w 749"/>
                <a:gd name="T69" fmla="*/ 0 h 63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749"/>
                <a:gd name="T106" fmla="*/ 0 h 630"/>
                <a:gd name="T107" fmla="*/ 749 w 749"/>
                <a:gd name="T108" fmla="*/ 630 h 63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749" h="630">
                  <a:moveTo>
                    <a:pt x="110" y="0"/>
                  </a:moveTo>
                  <a:lnTo>
                    <a:pt x="88" y="5"/>
                  </a:lnTo>
                  <a:lnTo>
                    <a:pt x="58" y="37"/>
                  </a:lnTo>
                  <a:lnTo>
                    <a:pt x="0" y="45"/>
                  </a:lnTo>
                  <a:lnTo>
                    <a:pt x="12" y="142"/>
                  </a:lnTo>
                  <a:lnTo>
                    <a:pt x="38" y="149"/>
                  </a:lnTo>
                  <a:lnTo>
                    <a:pt x="38" y="160"/>
                  </a:lnTo>
                  <a:lnTo>
                    <a:pt x="12" y="175"/>
                  </a:lnTo>
                  <a:lnTo>
                    <a:pt x="43" y="219"/>
                  </a:lnTo>
                  <a:lnTo>
                    <a:pt x="59" y="282"/>
                  </a:lnTo>
                  <a:lnTo>
                    <a:pt x="56" y="308"/>
                  </a:lnTo>
                  <a:lnTo>
                    <a:pt x="32" y="324"/>
                  </a:lnTo>
                  <a:lnTo>
                    <a:pt x="35" y="342"/>
                  </a:lnTo>
                  <a:lnTo>
                    <a:pt x="61" y="352"/>
                  </a:lnTo>
                  <a:lnTo>
                    <a:pt x="64" y="376"/>
                  </a:lnTo>
                  <a:lnTo>
                    <a:pt x="43" y="436"/>
                  </a:lnTo>
                  <a:lnTo>
                    <a:pt x="64" y="462"/>
                  </a:lnTo>
                  <a:lnTo>
                    <a:pt x="137" y="464"/>
                  </a:lnTo>
                  <a:lnTo>
                    <a:pt x="152" y="501"/>
                  </a:lnTo>
                  <a:lnTo>
                    <a:pt x="178" y="527"/>
                  </a:lnTo>
                  <a:lnTo>
                    <a:pt x="215" y="540"/>
                  </a:lnTo>
                  <a:lnTo>
                    <a:pt x="225" y="579"/>
                  </a:lnTo>
                  <a:lnTo>
                    <a:pt x="207" y="605"/>
                  </a:lnTo>
                  <a:lnTo>
                    <a:pt x="245" y="630"/>
                  </a:lnTo>
                  <a:lnTo>
                    <a:pt x="282" y="594"/>
                  </a:lnTo>
                  <a:lnTo>
                    <a:pt x="319" y="594"/>
                  </a:lnTo>
                  <a:lnTo>
                    <a:pt x="413" y="545"/>
                  </a:lnTo>
                  <a:lnTo>
                    <a:pt x="444" y="558"/>
                  </a:lnTo>
                  <a:lnTo>
                    <a:pt x="509" y="558"/>
                  </a:lnTo>
                  <a:lnTo>
                    <a:pt x="525" y="540"/>
                  </a:lnTo>
                  <a:lnTo>
                    <a:pt x="525" y="501"/>
                  </a:lnTo>
                  <a:lnTo>
                    <a:pt x="577" y="475"/>
                  </a:lnTo>
                  <a:lnTo>
                    <a:pt x="577" y="433"/>
                  </a:lnTo>
                  <a:lnTo>
                    <a:pt x="591" y="422"/>
                  </a:lnTo>
                  <a:lnTo>
                    <a:pt x="590" y="410"/>
                  </a:lnTo>
                  <a:lnTo>
                    <a:pt x="603" y="397"/>
                  </a:lnTo>
                  <a:lnTo>
                    <a:pt x="580" y="392"/>
                  </a:lnTo>
                  <a:lnTo>
                    <a:pt x="580" y="371"/>
                  </a:lnTo>
                  <a:lnTo>
                    <a:pt x="566" y="350"/>
                  </a:lnTo>
                  <a:lnTo>
                    <a:pt x="577" y="337"/>
                  </a:lnTo>
                  <a:lnTo>
                    <a:pt x="650" y="316"/>
                  </a:lnTo>
                  <a:lnTo>
                    <a:pt x="668" y="285"/>
                  </a:lnTo>
                  <a:lnTo>
                    <a:pt x="684" y="227"/>
                  </a:lnTo>
                  <a:lnTo>
                    <a:pt x="703" y="204"/>
                  </a:lnTo>
                  <a:lnTo>
                    <a:pt x="707" y="173"/>
                  </a:lnTo>
                  <a:lnTo>
                    <a:pt x="730" y="186"/>
                  </a:lnTo>
                  <a:lnTo>
                    <a:pt x="749" y="181"/>
                  </a:lnTo>
                  <a:lnTo>
                    <a:pt x="735" y="160"/>
                  </a:lnTo>
                  <a:lnTo>
                    <a:pt x="728" y="100"/>
                  </a:lnTo>
                  <a:lnTo>
                    <a:pt x="705" y="79"/>
                  </a:lnTo>
                  <a:lnTo>
                    <a:pt x="705" y="77"/>
                  </a:lnTo>
                  <a:lnTo>
                    <a:pt x="664" y="73"/>
                  </a:lnTo>
                  <a:lnTo>
                    <a:pt x="595" y="37"/>
                  </a:lnTo>
                  <a:lnTo>
                    <a:pt x="535" y="39"/>
                  </a:lnTo>
                  <a:lnTo>
                    <a:pt x="503" y="67"/>
                  </a:lnTo>
                  <a:lnTo>
                    <a:pt x="486" y="116"/>
                  </a:lnTo>
                  <a:lnTo>
                    <a:pt x="419" y="123"/>
                  </a:lnTo>
                  <a:lnTo>
                    <a:pt x="355" y="142"/>
                  </a:lnTo>
                  <a:lnTo>
                    <a:pt x="377" y="157"/>
                  </a:lnTo>
                  <a:lnTo>
                    <a:pt x="368" y="179"/>
                  </a:lnTo>
                  <a:lnTo>
                    <a:pt x="338" y="179"/>
                  </a:lnTo>
                  <a:lnTo>
                    <a:pt x="322" y="144"/>
                  </a:lnTo>
                  <a:lnTo>
                    <a:pt x="303" y="144"/>
                  </a:lnTo>
                  <a:lnTo>
                    <a:pt x="273" y="121"/>
                  </a:lnTo>
                  <a:lnTo>
                    <a:pt x="314" y="108"/>
                  </a:lnTo>
                  <a:lnTo>
                    <a:pt x="250" y="63"/>
                  </a:lnTo>
                  <a:lnTo>
                    <a:pt x="187" y="67"/>
                  </a:lnTo>
                  <a:lnTo>
                    <a:pt x="172" y="41"/>
                  </a:lnTo>
                  <a:lnTo>
                    <a:pt x="136" y="45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27</a:t>
              </a:r>
            </a:p>
          </p:txBody>
        </p:sp>
        <p:sp>
          <p:nvSpPr>
            <p:cNvPr id="71" name="FR-37">
              <a:extLst>
                <a:ext uri="{FF2B5EF4-FFF2-40B4-BE49-F238E27FC236}">
                  <a16:creationId xmlns:a16="http://schemas.microsoft.com/office/drawing/2014/main" id="{388983DF-3A0A-47B4-A4A8-C582864093B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998273" y="4461674"/>
              <a:ext cx="314139" cy="322506"/>
            </a:xfrm>
            <a:custGeom>
              <a:avLst/>
              <a:gdLst>
                <a:gd name="T0" fmla="*/ 297 w 680"/>
                <a:gd name="T1" fmla="*/ 12 h 732"/>
                <a:gd name="T2" fmla="*/ 204 w 680"/>
                <a:gd name="T3" fmla="*/ 59 h 732"/>
                <a:gd name="T4" fmla="*/ 188 w 680"/>
                <a:gd name="T5" fmla="*/ 90 h 732"/>
                <a:gd name="T6" fmla="*/ 107 w 680"/>
                <a:gd name="T7" fmla="*/ 53 h 732"/>
                <a:gd name="T8" fmla="*/ 94 w 680"/>
                <a:gd name="T9" fmla="*/ 121 h 732"/>
                <a:gd name="T10" fmla="*/ 68 w 680"/>
                <a:gd name="T11" fmla="*/ 171 h 732"/>
                <a:gd name="T12" fmla="*/ 29 w 680"/>
                <a:gd name="T13" fmla="*/ 278 h 732"/>
                <a:gd name="T14" fmla="*/ 3 w 680"/>
                <a:gd name="T15" fmla="*/ 384 h 732"/>
                <a:gd name="T16" fmla="*/ 63 w 680"/>
                <a:gd name="T17" fmla="*/ 436 h 732"/>
                <a:gd name="T18" fmla="*/ 126 w 680"/>
                <a:gd name="T19" fmla="*/ 486 h 732"/>
                <a:gd name="T20" fmla="*/ 123 w 680"/>
                <a:gd name="T21" fmla="*/ 567 h 732"/>
                <a:gd name="T22" fmla="*/ 269 w 680"/>
                <a:gd name="T23" fmla="*/ 551 h 732"/>
                <a:gd name="T24" fmla="*/ 284 w 680"/>
                <a:gd name="T25" fmla="*/ 509 h 732"/>
                <a:gd name="T26" fmla="*/ 323 w 680"/>
                <a:gd name="T27" fmla="*/ 546 h 732"/>
                <a:gd name="T28" fmla="*/ 383 w 680"/>
                <a:gd name="T29" fmla="*/ 655 h 732"/>
                <a:gd name="T30" fmla="*/ 429 w 680"/>
                <a:gd name="T31" fmla="*/ 732 h 732"/>
                <a:gd name="T32" fmla="*/ 480 w 680"/>
                <a:gd name="T33" fmla="*/ 703 h 732"/>
                <a:gd name="T34" fmla="*/ 513 w 680"/>
                <a:gd name="T35" fmla="*/ 560 h 732"/>
                <a:gd name="T36" fmla="*/ 564 w 680"/>
                <a:gd name="T37" fmla="*/ 498 h 732"/>
                <a:gd name="T38" fmla="*/ 611 w 680"/>
                <a:gd name="T39" fmla="*/ 520 h 732"/>
                <a:gd name="T40" fmla="*/ 650 w 680"/>
                <a:gd name="T41" fmla="*/ 470 h 732"/>
                <a:gd name="T42" fmla="*/ 674 w 680"/>
                <a:gd name="T43" fmla="*/ 448 h 732"/>
                <a:gd name="T44" fmla="*/ 659 w 680"/>
                <a:gd name="T45" fmla="*/ 395 h 732"/>
                <a:gd name="T46" fmla="*/ 648 w 680"/>
                <a:gd name="T47" fmla="*/ 371 h 732"/>
                <a:gd name="T48" fmla="*/ 558 w 680"/>
                <a:gd name="T49" fmla="*/ 313 h 732"/>
                <a:gd name="T50" fmla="*/ 543 w 680"/>
                <a:gd name="T51" fmla="*/ 197 h 732"/>
                <a:gd name="T52" fmla="*/ 519 w 680"/>
                <a:gd name="T53" fmla="*/ 75 h 732"/>
                <a:gd name="T54" fmla="*/ 463 w 680"/>
                <a:gd name="T55" fmla="*/ 51 h 732"/>
                <a:gd name="T56" fmla="*/ 429 w 680"/>
                <a:gd name="T57" fmla="*/ 70 h 732"/>
                <a:gd name="T58" fmla="*/ 409 w 680"/>
                <a:gd name="T59" fmla="*/ 33 h 732"/>
                <a:gd name="T60" fmla="*/ 429 w 680"/>
                <a:gd name="T61" fmla="*/ 14 h 732"/>
                <a:gd name="T62" fmla="*/ 292 w 680"/>
                <a:gd name="T63" fmla="*/ 0 h 73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80"/>
                <a:gd name="T97" fmla="*/ 0 h 732"/>
                <a:gd name="T98" fmla="*/ 680 w 680"/>
                <a:gd name="T99" fmla="*/ 732 h 73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80" h="732">
                  <a:moveTo>
                    <a:pt x="292" y="0"/>
                  </a:moveTo>
                  <a:lnTo>
                    <a:pt x="297" y="12"/>
                  </a:lnTo>
                  <a:lnTo>
                    <a:pt x="222" y="33"/>
                  </a:lnTo>
                  <a:lnTo>
                    <a:pt x="204" y="59"/>
                  </a:lnTo>
                  <a:lnTo>
                    <a:pt x="172" y="38"/>
                  </a:lnTo>
                  <a:lnTo>
                    <a:pt x="188" y="90"/>
                  </a:lnTo>
                  <a:lnTo>
                    <a:pt x="159" y="90"/>
                  </a:lnTo>
                  <a:lnTo>
                    <a:pt x="107" y="53"/>
                  </a:lnTo>
                  <a:lnTo>
                    <a:pt x="81" y="105"/>
                  </a:lnTo>
                  <a:lnTo>
                    <a:pt x="94" y="121"/>
                  </a:lnTo>
                  <a:lnTo>
                    <a:pt x="94" y="137"/>
                  </a:lnTo>
                  <a:lnTo>
                    <a:pt x="68" y="171"/>
                  </a:lnTo>
                  <a:lnTo>
                    <a:pt x="71" y="228"/>
                  </a:lnTo>
                  <a:lnTo>
                    <a:pt x="29" y="278"/>
                  </a:lnTo>
                  <a:lnTo>
                    <a:pt x="0" y="384"/>
                  </a:lnTo>
                  <a:lnTo>
                    <a:pt x="3" y="384"/>
                  </a:lnTo>
                  <a:lnTo>
                    <a:pt x="13" y="426"/>
                  </a:lnTo>
                  <a:lnTo>
                    <a:pt x="63" y="436"/>
                  </a:lnTo>
                  <a:lnTo>
                    <a:pt x="63" y="468"/>
                  </a:lnTo>
                  <a:lnTo>
                    <a:pt x="126" y="486"/>
                  </a:lnTo>
                  <a:lnTo>
                    <a:pt x="126" y="535"/>
                  </a:lnTo>
                  <a:lnTo>
                    <a:pt x="123" y="567"/>
                  </a:lnTo>
                  <a:lnTo>
                    <a:pt x="201" y="567"/>
                  </a:lnTo>
                  <a:lnTo>
                    <a:pt x="269" y="551"/>
                  </a:lnTo>
                  <a:lnTo>
                    <a:pt x="263" y="522"/>
                  </a:lnTo>
                  <a:lnTo>
                    <a:pt x="284" y="509"/>
                  </a:lnTo>
                  <a:lnTo>
                    <a:pt x="305" y="538"/>
                  </a:lnTo>
                  <a:lnTo>
                    <a:pt x="323" y="546"/>
                  </a:lnTo>
                  <a:lnTo>
                    <a:pt x="339" y="608"/>
                  </a:lnTo>
                  <a:lnTo>
                    <a:pt x="383" y="655"/>
                  </a:lnTo>
                  <a:lnTo>
                    <a:pt x="388" y="692"/>
                  </a:lnTo>
                  <a:lnTo>
                    <a:pt x="429" y="732"/>
                  </a:lnTo>
                  <a:lnTo>
                    <a:pt x="452" y="730"/>
                  </a:lnTo>
                  <a:lnTo>
                    <a:pt x="480" y="703"/>
                  </a:lnTo>
                  <a:lnTo>
                    <a:pt x="501" y="597"/>
                  </a:lnTo>
                  <a:lnTo>
                    <a:pt x="513" y="560"/>
                  </a:lnTo>
                  <a:lnTo>
                    <a:pt x="523" y="513"/>
                  </a:lnTo>
                  <a:lnTo>
                    <a:pt x="564" y="498"/>
                  </a:lnTo>
                  <a:lnTo>
                    <a:pt x="592" y="503"/>
                  </a:lnTo>
                  <a:lnTo>
                    <a:pt x="611" y="520"/>
                  </a:lnTo>
                  <a:lnTo>
                    <a:pt x="631" y="487"/>
                  </a:lnTo>
                  <a:lnTo>
                    <a:pt x="650" y="470"/>
                  </a:lnTo>
                  <a:lnTo>
                    <a:pt x="650" y="449"/>
                  </a:lnTo>
                  <a:lnTo>
                    <a:pt x="674" y="448"/>
                  </a:lnTo>
                  <a:lnTo>
                    <a:pt x="680" y="423"/>
                  </a:lnTo>
                  <a:lnTo>
                    <a:pt x="659" y="395"/>
                  </a:lnTo>
                  <a:lnTo>
                    <a:pt x="663" y="383"/>
                  </a:lnTo>
                  <a:lnTo>
                    <a:pt x="648" y="371"/>
                  </a:lnTo>
                  <a:lnTo>
                    <a:pt x="609" y="313"/>
                  </a:lnTo>
                  <a:lnTo>
                    <a:pt x="558" y="313"/>
                  </a:lnTo>
                  <a:lnTo>
                    <a:pt x="543" y="290"/>
                  </a:lnTo>
                  <a:lnTo>
                    <a:pt x="543" y="197"/>
                  </a:lnTo>
                  <a:lnTo>
                    <a:pt x="523" y="143"/>
                  </a:lnTo>
                  <a:lnTo>
                    <a:pt x="519" y="75"/>
                  </a:lnTo>
                  <a:lnTo>
                    <a:pt x="493" y="73"/>
                  </a:lnTo>
                  <a:lnTo>
                    <a:pt x="463" y="51"/>
                  </a:lnTo>
                  <a:lnTo>
                    <a:pt x="456" y="51"/>
                  </a:lnTo>
                  <a:lnTo>
                    <a:pt x="429" y="70"/>
                  </a:lnTo>
                  <a:lnTo>
                    <a:pt x="413" y="58"/>
                  </a:lnTo>
                  <a:lnTo>
                    <a:pt x="409" y="33"/>
                  </a:lnTo>
                  <a:lnTo>
                    <a:pt x="428" y="23"/>
                  </a:lnTo>
                  <a:lnTo>
                    <a:pt x="429" y="14"/>
                  </a:lnTo>
                  <a:lnTo>
                    <a:pt x="418" y="4"/>
                  </a:lnTo>
                  <a:lnTo>
                    <a:pt x="292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37</a:t>
              </a:r>
            </a:p>
          </p:txBody>
        </p:sp>
        <p:sp>
          <p:nvSpPr>
            <p:cNvPr id="72" name="FR-45">
              <a:extLst>
                <a:ext uri="{FF2B5EF4-FFF2-40B4-BE49-F238E27FC236}">
                  <a16:creationId xmlns:a16="http://schemas.microsoft.com/office/drawing/2014/main" id="{EAB16296-09FD-4F34-A851-533E25A96D0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47060" y="4247992"/>
              <a:ext cx="380663" cy="288140"/>
            </a:xfrm>
            <a:custGeom>
              <a:avLst/>
              <a:gdLst>
                <a:gd name="T0" fmla="*/ 324 w 824"/>
                <a:gd name="T1" fmla="*/ 31 h 654"/>
                <a:gd name="T2" fmla="*/ 245 w 824"/>
                <a:gd name="T3" fmla="*/ 43 h 654"/>
                <a:gd name="T4" fmla="*/ 228 w 824"/>
                <a:gd name="T5" fmla="*/ 78 h 654"/>
                <a:gd name="T6" fmla="*/ 213 w 824"/>
                <a:gd name="T7" fmla="*/ 130 h 654"/>
                <a:gd name="T8" fmla="*/ 177 w 824"/>
                <a:gd name="T9" fmla="*/ 203 h 654"/>
                <a:gd name="T10" fmla="*/ 116 w 824"/>
                <a:gd name="T11" fmla="*/ 220 h 654"/>
                <a:gd name="T12" fmla="*/ 80 w 824"/>
                <a:gd name="T13" fmla="*/ 194 h 654"/>
                <a:gd name="T14" fmla="*/ 60 w 824"/>
                <a:gd name="T15" fmla="*/ 228 h 654"/>
                <a:gd name="T16" fmla="*/ 21 w 824"/>
                <a:gd name="T17" fmla="*/ 224 h 654"/>
                <a:gd name="T18" fmla="*/ 7 w 824"/>
                <a:gd name="T19" fmla="*/ 252 h 654"/>
                <a:gd name="T20" fmla="*/ 6 w 824"/>
                <a:gd name="T21" fmla="*/ 269 h 654"/>
                <a:gd name="T22" fmla="*/ 26 w 824"/>
                <a:gd name="T23" fmla="*/ 284 h 654"/>
                <a:gd name="T24" fmla="*/ 11 w 824"/>
                <a:gd name="T25" fmla="*/ 323 h 654"/>
                <a:gd name="T26" fmla="*/ 39 w 824"/>
                <a:gd name="T27" fmla="*/ 338 h 654"/>
                <a:gd name="T28" fmla="*/ 13 w 824"/>
                <a:gd name="T29" fmla="*/ 383 h 654"/>
                <a:gd name="T30" fmla="*/ 28 w 824"/>
                <a:gd name="T31" fmla="*/ 435 h 654"/>
                <a:gd name="T32" fmla="*/ 86 w 824"/>
                <a:gd name="T33" fmla="*/ 455 h 654"/>
                <a:gd name="T34" fmla="*/ 114 w 824"/>
                <a:gd name="T35" fmla="*/ 506 h 654"/>
                <a:gd name="T36" fmla="*/ 164 w 824"/>
                <a:gd name="T37" fmla="*/ 527 h 654"/>
                <a:gd name="T38" fmla="*/ 217 w 824"/>
                <a:gd name="T39" fmla="*/ 508 h 654"/>
                <a:gd name="T40" fmla="*/ 252 w 824"/>
                <a:gd name="T41" fmla="*/ 518 h 654"/>
                <a:gd name="T42" fmla="*/ 361 w 824"/>
                <a:gd name="T43" fmla="*/ 506 h 654"/>
                <a:gd name="T44" fmla="*/ 409 w 824"/>
                <a:gd name="T45" fmla="*/ 551 h 654"/>
                <a:gd name="T46" fmla="*/ 460 w 824"/>
                <a:gd name="T47" fmla="*/ 568 h 654"/>
                <a:gd name="T48" fmla="*/ 484 w 824"/>
                <a:gd name="T49" fmla="*/ 558 h 654"/>
                <a:gd name="T50" fmla="*/ 548 w 824"/>
                <a:gd name="T51" fmla="*/ 587 h 654"/>
                <a:gd name="T52" fmla="*/ 589 w 824"/>
                <a:gd name="T53" fmla="*/ 643 h 654"/>
                <a:gd name="T54" fmla="*/ 618 w 824"/>
                <a:gd name="T55" fmla="*/ 652 h 654"/>
                <a:gd name="T56" fmla="*/ 628 w 824"/>
                <a:gd name="T57" fmla="*/ 611 h 654"/>
                <a:gd name="T58" fmla="*/ 658 w 824"/>
                <a:gd name="T59" fmla="*/ 637 h 654"/>
                <a:gd name="T60" fmla="*/ 698 w 824"/>
                <a:gd name="T61" fmla="*/ 632 h 654"/>
                <a:gd name="T62" fmla="*/ 691 w 824"/>
                <a:gd name="T63" fmla="*/ 601 h 654"/>
                <a:gd name="T64" fmla="*/ 735 w 824"/>
                <a:gd name="T65" fmla="*/ 557 h 654"/>
                <a:gd name="T66" fmla="*/ 693 w 824"/>
                <a:gd name="T67" fmla="*/ 468 h 654"/>
                <a:gd name="T68" fmla="*/ 738 w 824"/>
                <a:gd name="T69" fmla="*/ 440 h 654"/>
                <a:gd name="T70" fmla="*/ 779 w 824"/>
                <a:gd name="T71" fmla="*/ 375 h 654"/>
                <a:gd name="T72" fmla="*/ 824 w 824"/>
                <a:gd name="T73" fmla="*/ 291 h 654"/>
                <a:gd name="T74" fmla="*/ 790 w 824"/>
                <a:gd name="T75" fmla="*/ 208 h 654"/>
                <a:gd name="T76" fmla="*/ 730 w 824"/>
                <a:gd name="T77" fmla="*/ 122 h 654"/>
                <a:gd name="T78" fmla="*/ 660 w 824"/>
                <a:gd name="T79" fmla="*/ 138 h 654"/>
                <a:gd name="T80" fmla="*/ 623 w 824"/>
                <a:gd name="T81" fmla="*/ 156 h 654"/>
                <a:gd name="T82" fmla="*/ 527 w 824"/>
                <a:gd name="T83" fmla="*/ 158 h 654"/>
                <a:gd name="T84" fmla="*/ 475 w 824"/>
                <a:gd name="T85" fmla="*/ 156 h 654"/>
                <a:gd name="T86" fmla="*/ 514 w 824"/>
                <a:gd name="T87" fmla="*/ 83 h 654"/>
                <a:gd name="T88" fmla="*/ 456 w 824"/>
                <a:gd name="T89" fmla="*/ 28 h 654"/>
                <a:gd name="T90" fmla="*/ 358 w 824"/>
                <a:gd name="T91" fmla="*/ 0 h 65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824"/>
                <a:gd name="T139" fmla="*/ 0 h 654"/>
                <a:gd name="T140" fmla="*/ 824 w 824"/>
                <a:gd name="T141" fmla="*/ 654 h 65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824" h="654">
                  <a:moveTo>
                    <a:pt x="358" y="0"/>
                  </a:moveTo>
                  <a:lnTo>
                    <a:pt x="324" y="31"/>
                  </a:lnTo>
                  <a:lnTo>
                    <a:pt x="248" y="38"/>
                  </a:lnTo>
                  <a:lnTo>
                    <a:pt x="245" y="43"/>
                  </a:lnTo>
                  <a:lnTo>
                    <a:pt x="252" y="58"/>
                  </a:lnTo>
                  <a:lnTo>
                    <a:pt x="228" y="78"/>
                  </a:lnTo>
                  <a:lnTo>
                    <a:pt x="233" y="127"/>
                  </a:lnTo>
                  <a:lnTo>
                    <a:pt x="213" y="130"/>
                  </a:lnTo>
                  <a:lnTo>
                    <a:pt x="200" y="179"/>
                  </a:lnTo>
                  <a:lnTo>
                    <a:pt x="177" y="203"/>
                  </a:lnTo>
                  <a:lnTo>
                    <a:pt x="146" y="203"/>
                  </a:lnTo>
                  <a:lnTo>
                    <a:pt x="116" y="220"/>
                  </a:lnTo>
                  <a:lnTo>
                    <a:pt x="99" y="201"/>
                  </a:lnTo>
                  <a:lnTo>
                    <a:pt x="80" y="194"/>
                  </a:lnTo>
                  <a:lnTo>
                    <a:pt x="60" y="207"/>
                  </a:lnTo>
                  <a:lnTo>
                    <a:pt x="60" y="228"/>
                  </a:lnTo>
                  <a:lnTo>
                    <a:pt x="45" y="239"/>
                  </a:lnTo>
                  <a:lnTo>
                    <a:pt x="21" y="224"/>
                  </a:lnTo>
                  <a:lnTo>
                    <a:pt x="6" y="235"/>
                  </a:lnTo>
                  <a:lnTo>
                    <a:pt x="7" y="252"/>
                  </a:lnTo>
                  <a:lnTo>
                    <a:pt x="0" y="267"/>
                  </a:lnTo>
                  <a:lnTo>
                    <a:pt x="6" y="269"/>
                  </a:lnTo>
                  <a:lnTo>
                    <a:pt x="28" y="269"/>
                  </a:lnTo>
                  <a:lnTo>
                    <a:pt x="26" y="284"/>
                  </a:lnTo>
                  <a:lnTo>
                    <a:pt x="11" y="310"/>
                  </a:lnTo>
                  <a:lnTo>
                    <a:pt x="11" y="323"/>
                  </a:lnTo>
                  <a:lnTo>
                    <a:pt x="26" y="323"/>
                  </a:lnTo>
                  <a:lnTo>
                    <a:pt x="39" y="338"/>
                  </a:lnTo>
                  <a:lnTo>
                    <a:pt x="43" y="353"/>
                  </a:lnTo>
                  <a:lnTo>
                    <a:pt x="13" y="383"/>
                  </a:lnTo>
                  <a:lnTo>
                    <a:pt x="28" y="418"/>
                  </a:lnTo>
                  <a:lnTo>
                    <a:pt x="28" y="435"/>
                  </a:lnTo>
                  <a:lnTo>
                    <a:pt x="52" y="452"/>
                  </a:lnTo>
                  <a:lnTo>
                    <a:pt x="86" y="455"/>
                  </a:lnTo>
                  <a:lnTo>
                    <a:pt x="108" y="474"/>
                  </a:lnTo>
                  <a:lnTo>
                    <a:pt x="114" y="506"/>
                  </a:lnTo>
                  <a:lnTo>
                    <a:pt x="138" y="534"/>
                  </a:lnTo>
                  <a:lnTo>
                    <a:pt x="164" y="527"/>
                  </a:lnTo>
                  <a:lnTo>
                    <a:pt x="176" y="503"/>
                  </a:lnTo>
                  <a:lnTo>
                    <a:pt x="217" y="508"/>
                  </a:lnTo>
                  <a:lnTo>
                    <a:pt x="226" y="518"/>
                  </a:lnTo>
                  <a:lnTo>
                    <a:pt x="252" y="518"/>
                  </a:lnTo>
                  <a:lnTo>
                    <a:pt x="265" y="503"/>
                  </a:lnTo>
                  <a:lnTo>
                    <a:pt x="361" y="506"/>
                  </a:lnTo>
                  <a:lnTo>
                    <a:pt x="383" y="540"/>
                  </a:lnTo>
                  <a:lnTo>
                    <a:pt x="409" y="551"/>
                  </a:lnTo>
                  <a:lnTo>
                    <a:pt x="432" y="572"/>
                  </a:lnTo>
                  <a:lnTo>
                    <a:pt x="460" y="568"/>
                  </a:lnTo>
                  <a:lnTo>
                    <a:pt x="467" y="558"/>
                  </a:lnTo>
                  <a:lnTo>
                    <a:pt x="484" y="558"/>
                  </a:lnTo>
                  <a:lnTo>
                    <a:pt x="505" y="585"/>
                  </a:lnTo>
                  <a:lnTo>
                    <a:pt x="548" y="587"/>
                  </a:lnTo>
                  <a:lnTo>
                    <a:pt x="559" y="601"/>
                  </a:lnTo>
                  <a:lnTo>
                    <a:pt x="589" y="643"/>
                  </a:lnTo>
                  <a:lnTo>
                    <a:pt x="602" y="654"/>
                  </a:lnTo>
                  <a:lnTo>
                    <a:pt x="618" y="652"/>
                  </a:lnTo>
                  <a:lnTo>
                    <a:pt x="621" y="615"/>
                  </a:lnTo>
                  <a:lnTo>
                    <a:pt x="628" y="611"/>
                  </a:lnTo>
                  <a:lnTo>
                    <a:pt x="639" y="613"/>
                  </a:lnTo>
                  <a:lnTo>
                    <a:pt x="658" y="637"/>
                  </a:lnTo>
                  <a:lnTo>
                    <a:pt x="671" y="643"/>
                  </a:lnTo>
                  <a:lnTo>
                    <a:pt x="698" y="632"/>
                  </a:lnTo>
                  <a:lnTo>
                    <a:pt x="693" y="627"/>
                  </a:lnTo>
                  <a:lnTo>
                    <a:pt x="691" y="601"/>
                  </a:lnTo>
                  <a:lnTo>
                    <a:pt x="743" y="585"/>
                  </a:lnTo>
                  <a:lnTo>
                    <a:pt x="735" y="557"/>
                  </a:lnTo>
                  <a:lnTo>
                    <a:pt x="727" y="515"/>
                  </a:lnTo>
                  <a:lnTo>
                    <a:pt x="693" y="468"/>
                  </a:lnTo>
                  <a:lnTo>
                    <a:pt x="686" y="440"/>
                  </a:lnTo>
                  <a:lnTo>
                    <a:pt x="738" y="440"/>
                  </a:lnTo>
                  <a:lnTo>
                    <a:pt x="774" y="413"/>
                  </a:lnTo>
                  <a:lnTo>
                    <a:pt x="779" y="375"/>
                  </a:lnTo>
                  <a:lnTo>
                    <a:pt x="756" y="348"/>
                  </a:lnTo>
                  <a:lnTo>
                    <a:pt x="824" y="291"/>
                  </a:lnTo>
                  <a:lnTo>
                    <a:pt x="824" y="244"/>
                  </a:lnTo>
                  <a:lnTo>
                    <a:pt x="790" y="208"/>
                  </a:lnTo>
                  <a:lnTo>
                    <a:pt x="777" y="166"/>
                  </a:lnTo>
                  <a:lnTo>
                    <a:pt x="730" y="122"/>
                  </a:lnTo>
                  <a:lnTo>
                    <a:pt x="665" y="158"/>
                  </a:lnTo>
                  <a:lnTo>
                    <a:pt x="660" y="138"/>
                  </a:lnTo>
                  <a:lnTo>
                    <a:pt x="631" y="135"/>
                  </a:lnTo>
                  <a:lnTo>
                    <a:pt x="623" y="156"/>
                  </a:lnTo>
                  <a:lnTo>
                    <a:pt x="597" y="161"/>
                  </a:lnTo>
                  <a:lnTo>
                    <a:pt x="527" y="158"/>
                  </a:lnTo>
                  <a:lnTo>
                    <a:pt x="498" y="177"/>
                  </a:lnTo>
                  <a:lnTo>
                    <a:pt x="475" y="156"/>
                  </a:lnTo>
                  <a:lnTo>
                    <a:pt x="516" y="127"/>
                  </a:lnTo>
                  <a:lnTo>
                    <a:pt x="514" y="83"/>
                  </a:lnTo>
                  <a:lnTo>
                    <a:pt x="483" y="67"/>
                  </a:lnTo>
                  <a:lnTo>
                    <a:pt x="456" y="28"/>
                  </a:lnTo>
                  <a:lnTo>
                    <a:pt x="386" y="23"/>
                  </a:lnTo>
                  <a:lnTo>
                    <a:pt x="35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45</a:t>
              </a:r>
            </a:p>
          </p:txBody>
        </p:sp>
        <p:sp>
          <p:nvSpPr>
            <p:cNvPr id="73" name="FR-36">
              <a:extLst>
                <a:ext uri="{FF2B5EF4-FFF2-40B4-BE49-F238E27FC236}">
                  <a16:creationId xmlns:a16="http://schemas.microsoft.com/office/drawing/2014/main" id="{411F08F6-8D49-4102-A5D4-30B62F76801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194610" y="4606185"/>
              <a:ext cx="315525" cy="308408"/>
            </a:xfrm>
            <a:custGeom>
              <a:avLst/>
              <a:gdLst>
                <a:gd name="T0" fmla="*/ 418 w 683"/>
                <a:gd name="T1" fmla="*/ 5 h 700"/>
                <a:gd name="T2" fmla="*/ 345 w 683"/>
                <a:gd name="T3" fmla="*/ 17 h 700"/>
                <a:gd name="T4" fmla="*/ 332 w 683"/>
                <a:gd name="T5" fmla="*/ 30 h 700"/>
                <a:gd name="T6" fmla="*/ 264 w 683"/>
                <a:gd name="T7" fmla="*/ 50 h 700"/>
                <a:gd name="T8" fmla="*/ 234 w 683"/>
                <a:gd name="T9" fmla="*/ 67 h 700"/>
                <a:gd name="T10" fmla="*/ 249 w 683"/>
                <a:gd name="T11" fmla="*/ 120 h 700"/>
                <a:gd name="T12" fmla="*/ 225 w 683"/>
                <a:gd name="T13" fmla="*/ 142 h 700"/>
                <a:gd name="T14" fmla="*/ 186 w 683"/>
                <a:gd name="T15" fmla="*/ 192 h 700"/>
                <a:gd name="T16" fmla="*/ 139 w 683"/>
                <a:gd name="T17" fmla="*/ 170 h 700"/>
                <a:gd name="T18" fmla="*/ 88 w 683"/>
                <a:gd name="T19" fmla="*/ 232 h 700"/>
                <a:gd name="T20" fmla="*/ 55 w 683"/>
                <a:gd name="T21" fmla="*/ 375 h 700"/>
                <a:gd name="T22" fmla="*/ 4 w 683"/>
                <a:gd name="T23" fmla="*/ 404 h 700"/>
                <a:gd name="T24" fmla="*/ 11 w 683"/>
                <a:gd name="T25" fmla="*/ 460 h 700"/>
                <a:gd name="T26" fmla="*/ 50 w 683"/>
                <a:gd name="T27" fmla="*/ 530 h 700"/>
                <a:gd name="T28" fmla="*/ 117 w 683"/>
                <a:gd name="T29" fmla="*/ 562 h 700"/>
                <a:gd name="T30" fmla="*/ 161 w 683"/>
                <a:gd name="T31" fmla="*/ 632 h 700"/>
                <a:gd name="T32" fmla="*/ 136 w 683"/>
                <a:gd name="T33" fmla="*/ 675 h 700"/>
                <a:gd name="T34" fmla="*/ 208 w 683"/>
                <a:gd name="T35" fmla="*/ 681 h 700"/>
                <a:gd name="T36" fmla="*/ 273 w 683"/>
                <a:gd name="T37" fmla="*/ 700 h 700"/>
                <a:gd name="T38" fmla="*/ 349 w 683"/>
                <a:gd name="T39" fmla="*/ 655 h 700"/>
                <a:gd name="T40" fmla="*/ 391 w 683"/>
                <a:gd name="T41" fmla="*/ 658 h 700"/>
                <a:gd name="T42" fmla="*/ 453 w 683"/>
                <a:gd name="T43" fmla="*/ 619 h 700"/>
                <a:gd name="T44" fmla="*/ 633 w 683"/>
                <a:gd name="T45" fmla="*/ 647 h 700"/>
                <a:gd name="T46" fmla="*/ 657 w 683"/>
                <a:gd name="T47" fmla="*/ 624 h 700"/>
                <a:gd name="T48" fmla="*/ 678 w 683"/>
                <a:gd name="T49" fmla="*/ 575 h 700"/>
                <a:gd name="T50" fmla="*/ 668 w 683"/>
                <a:gd name="T51" fmla="*/ 535 h 700"/>
                <a:gd name="T52" fmla="*/ 679 w 683"/>
                <a:gd name="T53" fmla="*/ 490 h 700"/>
                <a:gd name="T54" fmla="*/ 659 w 683"/>
                <a:gd name="T55" fmla="*/ 462 h 700"/>
                <a:gd name="T56" fmla="*/ 616 w 683"/>
                <a:gd name="T57" fmla="*/ 417 h 700"/>
                <a:gd name="T58" fmla="*/ 642 w 683"/>
                <a:gd name="T59" fmla="*/ 379 h 700"/>
                <a:gd name="T60" fmla="*/ 618 w 683"/>
                <a:gd name="T61" fmla="*/ 344 h 700"/>
                <a:gd name="T62" fmla="*/ 629 w 683"/>
                <a:gd name="T63" fmla="*/ 321 h 700"/>
                <a:gd name="T64" fmla="*/ 657 w 683"/>
                <a:gd name="T65" fmla="*/ 280 h 700"/>
                <a:gd name="T66" fmla="*/ 631 w 683"/>
                <a:gd name="T67" fmla="*/ 269 h 700"/>
                <a:gd name="T68" fmla="*/ 616 w 683"/>
                <a:gd name="T69" fmla="*/ 243 h 700"/>
                <a:gd name="T70" fmla="*/ 629 w 683"/>
                <a:gd name="T71" fmla="*/ 204 h 700"/>
                <a:gd name="T72" fmla="*/ 605 w 683"/>
                <a:gd name="T73" fmla="*/ 129 h 700"/>
                <a:gd name="T74" fmla="*/ 552 w 683"/>
                <a:gd name="T75" fmla="*/ 117 h 700"/>
                <a:gd name="T76" fmla="*/ 487 w 683"/>
                <a:gd name="T77" fmla="*/ 123 h 700"/>
                <a:gd name="T78" fmla="*/ 464 w 683"/>
                <a:gd name="T79" fmla="*/ 97 h 700"/>
                <a:gd name="T80" fmla="*/ 496 w 683"/>
                <a:gd name="T81" fmla="*/ 43 h 700"/>
                <a:gd name="T82" fmla="*/ 434 w 683"/>
                <a:gd name="T83" fmla="*/ 0 h 70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683"/>
                <a:gd name="T127" fmla="*/ 0 h 700"/>
                <a:gd name="T128" fmla="*/ 683 w 683"/>
                <a:gd name="T129" fmla="*/ 700 h 70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683" h="700">
                  <a:moveTo>
                    <a:pt x="434" y="0"/>
                  </a:moveTo>
                  <a:lnTo>
                    <a:pt x="418" y="5"/>
                  </a:lnTo>
                  <a:lnTo>
                    <a:pt x="384" y="3"/>
                  </a:lnTo>
                  <a:lnTo>
                    <a:pt x="345" y="17"/>
                  </a:lnTo>
                  <a:lnTo>
                    <a:pt x="336" y="37"/>
                  </a:lnTo>
                  <a:lnTo>
                    <a:pt x="332" y="30"/>
                  </a:lnTo>
                  <a:lnTo>
                    <a:pt x="287" y="32"/>
                  </a:lnTo>
                  <a:lnTo>
                    <a:pt x="264" y="50"/>
                  </a:lnTo>
                  <a:lnTo>
                    <a:pt x="238" y="54"/>
                  </a:lnTo>
                  <a:lnTo>
                    <a:pt x="234" y="67"/>
                  </a:lnTo>
                  <a:lnTo>
                    <a:pt x="255" y="95"/>
                  </a:lnTo>
                  <a:lnTo>
                    <a:pt x="249" y="120"/>
                  </a:lnTo>
                  <a:lnTo>
                    <a:pt x="225" y="121"/>
                  </a:lnTo>
                  <a:lnTo>
                    <a:pt x="225" y="142"/>
                  </a:lnTo>
                  <a:lnTo>
                    <a:pt x="206" y="159"/>
                  </a:lnTo>
                  <a:lnTo>
                    <a:pt x="186" y="192"/>
                  </a:lnTo>
                  <a:lnTo>
                    <a:pt x="167" y="175"/>
                  </a:lnTo>
                  <a:lnTo>
                    <a:pt x="139" y="170"/>
                  </a:lnTo>
                  <a:lnTo>
                    <a:pt x="98" y="185"/>
                  </a:lnTo>
                  <a:lnTo>
                    <a:pt x="88" y="232"/>
                  </a:lnTo>
                  <a:lnTo>
                    <a:pt x="76" y="269"/>
                  </a:lnTo>
                  <a:lnTo>
                    <a:pt x="55" y="375"/>
                  </a:lnTo>
                  <a:lnTo>
                    <a:pt x="27" y="402"/>
                  </a:lnTo>
                  <a:lnTo>
                    <a:pt x="4" y="404"/>
                  </a:lnTo>
                  <a:lnTo>
                    <a:pt x="11" y="410"/>
                  </a:lnTo>
                  <a:lnTo>
                    <a:pt x="11" y="460"/>
                  </a:lnTo>
                  <a:lnTo>
                    <a:pt x="0" y="491"/>
                  </a:lnTo>
                  <a:lnTo>
                    <a:pt x="50" y="530"/>
                  </a:lnTo>
                  <a:lnTo>
                    <a:pt x="76" y="556"/>
                  </a:lnTo>
                  <a:lnTo>
                    <a:pt x="117" y="562"/>
                  </a:lnTo>
                  <a:lnTo>
                    <a:pt x="133" y="616"/>
                  </a:lnTo>
                  <a:lnTo>
                    <a:pt x="161" y="632"/>
                  </a:lnTo>
                  <a:lnTo>
                    <a:pt x="156" y="671"/>
                  </a:lnTo>
                  <a:lnTo>
                    <a:pt x="136" y="675"/>
                  </a:lnTo>
                  <a:lnTo>
                    <a:pt x="143" y="676"/>
                  </a:lnTo>
                  <a:lnTo>
                    <a:pt x="208" y="681"/>
                  </a:lnTo>
                  <a:lnTo>
                    <a:pt x="232" y="658"/>
                  </a:lnTo>
                  <a:lnTo>
                    <a:pt x="273" y="700"/>
                  </a:lnTo>
                  <a:lnTo>
                    <a:pt x="326" y="640"/>
                  </a:lnTo>
                  <a:lnTo>
                    <a:pt x="349" y="655"/>
                  </a:lnTo>
                  <a:lnTo>
                    <a:pt x="380" y="652"/>
                  </a:lnTo>
                  <a:lnTo>
                    <a:pt x="391" y="658"/>
                  </a:lnTo>
                  <a:lnTo>
                    <a:pt x="438" y="660"/>
                  </a:lnTo>
                  <a:lnTo>
                    <a:pt x="453" y="619"/>
                  </a:lnTo>
                  <a:lnTo>
                    <a:pt x="583" y="635"/>
                  </a:lnTo>
                  <a:lnTo>
                    <a:pt x="633" y="647"/>
                  </a:lnTo>
                  <a:lnTo>
                    <a:pt x="656" y="645"/>
                  </a:lnTo>
                  <a:lnTo>
                    <a:pt x="657" y="624"/>
                  </a:lnTo>
                  <a:lnTo>
                    <a:pt x="683" y="598"/>
                  </a:lnTo>
                  <a:lnTo>
                    <a:pt x="678" y="575"/>
                  </a:lnTo>
                  <a:lnTo>
                    <a:pt x="663" y="546"/>
                  </a:lnTo>
                  <a:lnTo>
                    <a:pt x="668" y="535"/>
                  </a:lnTo>
                  <a:lnTo>
                    <a:pt x="670" y="501"/>
                  </a:lnTo>
                  <a:lnTo>
                    <a:pt x="679" y="490"/>
                  </a:lnTo>
                  <a:lnTo>
                    <a:pt x="681" y="482"/>
                  </a:lnTo>
                  <a:lnTo>
                    <a:pt x="659" y="462"/>
                  </a:lnTo>
                  <a:lnTo>
                    <a:pt x="651" y="435"/>
                  </a:lnTo>
                  <a:lnTo>
                    <a:pt x="616" y="417"/>
                  </a:lnTo>
                  <a:lnTo>
                    <a:pt x="616" y="394"/>
                  </a:lnTo>
                  <a:lnTo>
                    <a:pt x="642" y="379"/>
                  </a:lnTo>
                  <a:lnTo>
                    <a:pt x="642" y="364"/>
                  </a:lnTo>
                  <a:lnTo>
                    <a:pt x="618" y="344"/>
                  </a:lnTo>
                  <a:lnTo>
                    <a:pt x="610" y="331"/>
                  </a:lnTo>
                  <a:lnTo>
                    <a:pt x="629" y="321"/>
                  </a:lnTo>
                  <a:lnTo>
                    <a:pt x="627" y="305"/>
                  </a:lnTo>
                  <a:lnTo>
                    <a:pt x="657" y="280"/>
                  </a:lnTo>
                  <a:lnTo>
                    <a:pt x="655" y="269"/>
                  </a:lnTo>
                  <a:lnTo>
                    <a:pt x="631" y="269"/>
                  </a:lnTo>
                  <a:lnTo>
                    <a:pt x="616" y="252"/>
                  </a:lnTo>
                  <a:lnTo>
                    <a:pt x="616" y="243"/>
                  </a:lnTo>
                  <a:lnTo>
                    <a:pt x="629" y="220"/>
                  </a:lnTo>
                  <a:lnTo>
                    <a:pt x="629" y="204"/>
                  </a:lnTo>
                  <a:lnTo>
                    <a:pt x="599" y="164"/>
                  </a:lnTo>
                  <a:lnTo>
                    <a:pt x="605" y="129"/>
                  </a:lnTo>
                  <a:lnTo>
                    <a:pt x="588" y="116"/>
                  </a:lnTo>
                  <a:lnTo>
                    <a:pt x="552" y="117"/>
                  </a:lnTo>
                  <a:lnTo>
                    <a:pt x="524" y="129"/>
                  </a:lnTo>
                  <a:lnTo>
                    <a:pt x="487" y="123"/>
                  </a:lnTo>
                  <a:lnTo>
                    <a:pt x="468" y="108"/>
                  </a:lnTo>
                  <a:lnTo>
                    <a:pt x="464" y="97"/>
                  </a:lnTo>
                  <a:lnTo>
                    <a:pt x="494" y="72"/>
                  </a:lnTo>
                  <a:lnTo>
                    <a:pt x="496" y="43"/>
                  </a:lnTo>
                  <a:lnTo>
                    <a:pt x="457" y="20"/>
                  </a:lnTo>
                  <a:lnTo>
                    <a:pt x="434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36</a:t>
              </a:r>
            </a:p>
          </p:txBody>
        </p:sp>
        <p:sp>
          <p:nvSpPr>
            <p:cNvPr id="74" name="FR-41">
              <a:extLst>
                <a:ext uri="{FF2B5EF4-FFF2-40B4-BE49-F238E27FC236}">
                  <a16:creationId xmlns:a16="http://schemas.microsoft.com/office/drawing/2014/main" id="{CFB5D739-AC14-43B3-828D-B1BCD36BC75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129472" y="4317163"/>
              <a:ext cx="394060" cy="313254"/>
            </a:xfrm>
            <a:custGeom>
              <a:avLst/>
              <a:gdLst>
                <a:gd name="T0" fmla="*/ 128 w 853"/>
                <a:gd name="T1" fmla="*/ 22 h 711"/>
                <a:gd name="T2" fmla="*/ 133 w 853"/>
                <a:gd name="T3" fmla="*/ 82 h 711"/>
                <a:gd name="T4" fmla="*/ 120 w 853"/>
                <a:gd name="T5" fmla="*/ 173 h 711"/>
                <a:gd name="T6" fmla="*/ 94 w 853"/>
                <a:gd name="T7" fmla="*/ 223 h 711"/>
                <a:gd name="T8" fmla="*/ 19 w 853"/>
                <a:gd name="T9" fmla="*/ 285 h 711"/>
                <a:gd name="T10" fmla="*/ 8 w 853"/>
                <a:gd name="T11" fmla="*/ 328 h 711"/>
                <a:gd name="T12" fmla="*/ 145 w 853"/>
                <a:gd name="T13" fmla="*/ 342 h 711"/>
                <a:gd name="T14" fmla="*/ 125 w 853"/>
                <a:gd name="T15" fmla="*/ 361 h 711"/>
                <a:gd name="T16" fmla="*/ 145 w 853"/>
                <a:gd name="T17" fmla="*/ 398 h 711"/>
                <a:gd name="T18" fmla="*/ 179 w 853"/>
                <a:gd name="T19" fmla="*/ 379 h 711"/>
                <a:gd name="T20" fmla="*/ 235 w 853"/>
                <a:gd name="T21" fmla="*/ 403 h 711"/>
                <a:gd name="T22" fmla="*/ 259 w 853"/>
                <a:gd name="T23" fmla="*/ 525 h 711"/>
                <a:gd name="T24" fmla="*/ 274 w 853"/>
                <a:gd name="T25" fmla="*/ 641 h 711"/>
                <a:gd name="T26" fmla="*/ 364 w 853"/>
                <a:gd name="T27" fmla="*/ 699 h 711"/>
                <a:gd name="T28" fmla="*/ 379 w 853"/>
                <a:gd name="T29" fmla="*/ 710 h 711"/>
                <a:gd name="T30" fmla="*/ 428 w 853"/>
                <a:gd name="T31" fmla="*/ 688 h 711"/>
                <a:gd name="T32" fmla="*/ 477 w 853"/>
                <a:gd name="T33" fmla="*/ 693 h 711"/>
                <a:gd name="T34" fmla="*/ 525 w 853"/>
                <a:gd name="T35" fmla="*/ 659 h 711"/>
                <a:gd name="T36" fmla="*/ 575 w 853"/>
                <a:gd name="T37" fmla="*/ 656 h 711"/>
                <a:gd name="T38" fmla="*/ 637 w 853"/>
                <a:gd name="T39" fmla="*/ 699 h 711"/>
                <a:gd name="T40" fmla="*/ 669 w 853"/>
                <a:gd name="T41" fmla="*/ 663 h 711"/>
                <a:gd name="T42" fmla="*/ 699 w 853"/>
                <a:gd name="T43" fmla="*/ 645 h 711"/>
                <a:gd name="T44" fmla="*/ 764 w 853"/>
                <a:gd name="T45" fmla="*/ 654 h 711"/>
                <a:gd name="T46" fmla="*/ 794 w 853"/>
                <a:gd name="T47" fmla="*/ 622 h 711"/>
                <a:gd name="T48" fmla="*/ 787 w 853"/>
                <a:gd name="T49" fmla="*/ 586 h 711"/>
                <a:gd name="T50" fmla="*/ 843 w 853"/>
                <a:gd name="T51" fmla="*/ 528 h 711"/>
                <a:gd name="T52" fmla="*/ 850 w 853"/>
                <a:gd name="T53" fmla="*/ 484 h 711"/>
                <a:gd name="T54" fmla="*/ 817 w 853"/>
                <a:gd name="T55" fmla="*/ 448 h 711"/>
                <a:gd name="T56" fmla="*/ 781 w 853"/>
                <a:gd name="T57" fmla="*/ 428 h 711"/>
                <a:gd name="T58" fmla="*/ 853 w 853"/>
                <a:gd name="T59" fmla="*/ 381 h 711"/>
                <a:gd name="T60" fmla="*/ 736 w 853"/>
                <a:gd name="T61" fmla="*/ 346 h 711"/>
                <a:gd name="T62" fmla="*/ 697 w 853"/>
                <a:gd name="T63" fmla="*/ 361 h 711"/>
                <a:gd name="T64" fmla="*/ 647 w 853"/>
                <a:gd name="T65" fmla="*/ 346 h 711"/>
                <a:gd name="T66" fmla="*/ 609 w 853"/>
                <a:gd name="T67" fmla="*/ 377 h 711"/>
                <a:gd name="T68" fmla="*/ 579 w 853"/>
                <a:gd name="T69" fmla="*/ 317 h 711"/>
                <a:gd name="T70" fmla="*/ 523 w 853"/>
                <a:gd name="T71" fmla="*/ 295 h 711"/>
                <a:gd name="T72" fmla="*/ 499 w 853"/>
                <a:gd name="T73" fmla="*/ 261 h 711"/>
                <a:gd name="T74" fmla="*/ 514 w 853"/>
                <a:gd name="T75" fmla="*/ 196 h 711"/>
                <a:gd name="T76" fmla="*/ 497 w 853"/>
                <a:gd name="T77" fmla="*/ 166 h 711"/>
                <a:gd name="T78" fmla="*/ 482 w 853"/>
                <a:gd name="T79" fmla="*/ 153 h 711"/>
                <a:gd name="T80" fmla="*/ 499 w 853"/>
                <a:gd name="T81" fmla="*/ 112 h 711"/>
                <a:gd name="T82" fmla="*/ 443 w 853"/>
                <a:gd name="T83" fmla="*/ 102 h 711"/>
                <a:gd name="T84" fmla="*/ 375 w 853"/>
                <a:gd name="T85" fmla="*/ 136 h 711"/>
                <a:gd name="T86" fmla="*/ 301 w 853"/>
                <a:gd name="T87" fmla="*/ 83 h 711"/>
                <a:gd name="T88" fmla="*/ 265 w 853"/>
                <a:gd name="T89" fmla="*/ 41 h 711"/>
                <a:gd name="T90" fmla="*/ 213 w 853"/>
                <a:gd name="T91" fmla="*/ 29 h 711"/>
                <a:gd name="T92" fmla="*/ 237 w 853"/>
                <a:gd name="T93" fmla="*/ 5 h 711"/>
                <a:gd name="T94" fmla="*/ 172 w 853"/>
                <a:gd name="T95" fmla="*/ 13 h 711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53"/>
                <a:gd name="T145" fmla="*/ 0 h 711"/>
                <a:gd name="T146" fmla="*/ 853 w 853"/>
                <a:gd name="T147" fmla="*/ 711 h 711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53" h="711">
                  <a:moveTo>
                    <a:pt x="146" y="0"/>
                  </a:moveTo>
                  <a:lnTo>
                    <a:pt x="128" y="22"/>
                  </a:lnTo>
                  <a:lnTo>
                    <a:pt x="107" y="58"/>
                  </a:lnTo>
                  <a:lnTo>
                    <a:pt x="133" y="82"/>
                  </a:lnTo>
                  <a:lnTo>
                    <a:pt x="131" y="137"/>
                  </a:lnTo>
                  <a:lnTo>
                    <a:pt x="120" y="173"/>
                  </a:lnTo>
                  <a:lnTo>
                    <a:pt x="94" y="173"/>
                  </a:lnTo>
                  <a:lnTo>
                    <a:pt x="94" y="223"/>
                  </a:lnTo>
                  <a:lnTo>
                    <a:pt x="58" y="270"/>
                  </a:lnTo>
                  <a:lnTo>
                    <a:pt x="19" y="285"/>
                  </a:lnTo>
                  <a:lnTo>
                    <a:pt x="0" y="308"/>
                  </a:lnTo>
                  <a:lnTo>
                    <a:pt x="8" y="328"/>
                  </a:lnTo>
                  <a:lnTo>
                    <a:pt x="134" y="332"/>
                  </a:lnTo>
                  <a:lnTo>
                    <a:pt x="145" y="342"/>
                  </a:lnTo>
                  <a:lnTo>
                    <a:pt x="144" y="351"/>
                  </a:lnTo>
                  <a:lnTo>
                    <a:pt x="125" y="361"/>
                  </a:lnTo>
                  <a:lnTo>
                    <a:pt x="129" y="386"/>
                  </a:lnTo>
                  <a:lnTo>
                    <a:pt x="145" y="398"/>
                  </a:lnTo>
                  <a:lnTo>
                    <a:pt x="172" y="379"/>
                  </a:lnTo>
                  <a:lnTo>
                    <a:pt x="179" y="379"/>
                  </a:lnTo>
                  <a:lnTo>
                    <a:pt x="209" y="401"/>
                  </a:lnTo>
                  <a:lnTo>
                    <a:pt x="235" y="403"/>
                  </a:lnTo>
                  <a:lnTo>
                    <a:pt x="239" y="471"/>
                  </a:lnTo>
                  <a:lnTo>
                    <a:pt x="259" y="525"/>
                  </a:lnTo>
                  <a:lnTo>
                    <a:pt x="259" y="618"/>
                  </a:lnTo>
                  <a:lnTo>
                    <a:pt x="274" y="641"/>
                  </a:lnTo>
                  <a:lnTo>
                    <a:pt x="325" y="641"/>
                  </a:lnTo>
                  <a:lnTo>
                    <a:pt x="364" y="699"/>
                  </a:lnTo>
                  <a:lnTo>
                    <a:pt x="379" y="711"/>
                  </a:lnTo>
                  <a:lnTo>
                    <a:pt x="379" y="710"/>
                  </a:lnTo>
                  <a:lnTo>
                    <a:pt x="405" y="706"/>
                  </a:lnTo>
                  <a:lnTo>
                    <a:pt x="428" y="688"/>
                  </a:lnTo>
                  <a:lnTo>
                    <a:pt x="473" y="686"/>
                  </a:lnTo>
                  <a:lnTo>
                    <a:pt x="477" y="693"/>
                  </a:lnTo>
                  <a:lnTo>
                    <a:pt x="486" y="673"/>
                  </a:lnTo>
                  <a:lnTo>
                    <a:pt x="525" y="659"/>
                  </a:lnTo>
                  <a:lnTo>
                    <a:pt x="559" y="661"/>
                  </a:lnTo>
                  <a:lnTo>
                    <a:pt x="575" y="656"/>
                  </a:lnTo>
                  <a:lnTo>
                    <a:pt x="598" y="676"/>
                  </a:lnTo>
                  <a:lnTo>
                    <a:pt x="637" y="699"/>
                  </a:lnTo>
                  <a:lnTo>
                    <a:pt x="671" y="697"/>
                  </a:lnTo>
                  <a:lnTo>
                    <a:pt x="669" y="663"/>
                  </a:lnTo>
                  <a:lnTo>
                    <a:pt x="684" y="646"/>
                  </a:lnTo>
                  <a:lnTo>
                    <a:pt x="699" y="645"/>
                  </a:lnTo>
                  <a:lnTo>
                    <a:pt x="712" y="659"/>
                  </a:lnTo>
                  <a:lnTo>
                    <a:pt x="764" y="654"/>
                  </a:lnTo>
                  <a:lnTo>
                    <a:pt x="798" y="635"/>
                  </a:lnTo>
                  <a:lnTo>
                    <a:pt x="794" y="622"/>
                  </a:lnTo>
                  <a:lnTo>
                    <a:pt x="785" y="611"/>
                  </a:lnTo>
                  <a:lnTo>
                    <a:pt x="787" y="586"/>
                  </a:lnTo>
                  <a:lnTo>
                    <a:pt x="811" y="542"/>
                  </a:lnTo>
                  <a:lnTo>
                    <a:pt x="843" y="528"/>
                  </a:lnTo>
                  <a:lnTo>
                    <a:pt x="843" y="501"/>
                  </a:lnTo>
                  <a:lnTo>
                    <a:pt x="850" y="484"/>
                  </a:lnTo>
                  <a:lnTo>
                    <a:pt x="830" y="476"/>
                  </a:lnTo>
                  <a:lnTo>
                    <a:pt x="817" y="448"/>
                  </a:lnTo>
                  <a:lnTo>
                    <a:pt x="783" y="439"/>
                  </a:lnTo>
                  <a:lnTo>
                    <a:pt x="781" y="428"/>
                  </a:lnTo>
                  <a:lnTo>
                    <a:pt x="815" y="400"/>
                  </a:lnTo>
                  <a:lnTo>
                    <a:pt x="853" y="381"/>
                  </a:lnTo>
                  <a:lnTo>
                    <a:pt x="832" y="349"/>
                  </a:lnTo>
                  <a:lnTo>
                    <a:pt x="736" y="346"/>
                  </a:lnTo>
                  <a:lnTo>
                    <a:pt x="723" y="361"/>
                  </a:lnTo>
                  <a:lnTo>
                    <a:pt x="697" y="361"/>
                  </a:lnTo>
                  <a:lnTo>
                    <a:pt x="688" y="351"/>
                  </a:lnTo>
                  <a:lnTo>
                    <a:pt x="647" y="346"/>
                  </a:lnTo>
                  <a:lnTo>
                    <a:pt x="635" y="370"/>
                  </a:lnTo>
                  <a:lnTo>
                    <a:pt x="609" y="377"/>
                  </a:lnTo>
                  <a:lnTo>
                    <a:pt x="585" y="349"/>
                  </a:lnTo>
                  <a:lnTo>
                    <a:pt x="579" y="317"/>
                  </a:lnTo>
                  <a:lnTo>
                    <a:pt x="557" y="298"/>
                  </a:lnTo>
                  <a:lnTo>
                    <a:pt x="523" y="295"/>
                  </a:lnTo>
                  <a:lnTo>
                    <a:pt x="499" y="278"/>
                  </a:lnTo>
                  <a:lnTo>
                    <a:pt x="499" y="261"/>
                  </a:lnTo>
                  <a:lnTo>
                    <a:pt x="484" y="226"/>
                  </a:lnTo>
                  <a:lnTo>
                    <a:pt x="514" y="196"/>
                  </a:lnTo>
                  <a:lnTo>
                    <a:pt x="510" y="181"/>
                  </a:lnTo>
                  <a:lnTo>
                    <a:pt x="497" y="166"/>
                  </a:lnTo>
                  <a:lnTo>
                    <a:pt x="482" y="166"/>
                  </a:lnTo>
                  <a:lnTo>
                    <a:pt x="482" y="153"/>
                  </a:lnTo>
                  <a:lnTo>
                    <a:pt x="497" y="127"/>
                  </a:lnTo>
                  <a:lnTo>
                    <a:pt x="499" y="112"/>
                  </a:lnTo>
                  <a:lnTo>
                    <a:pt x="477" y="112"/>
                  </a:lnTo>
                  <a:lnTo>
                    <a:pt x="443" y="102"/>
                  </a:lnTo>
                  <a:lnTo>
                    <a:pt x="411" y="132"/>
                  </a:lnTo>
                  <a:lnTo>
                    <a:pt x="375" y="136"/>
                  </a:lnTo>
                  <a:lnTo>
                    <a:pt x="317" y="121"/>
                  </a:lnTo>
                  <a:lnTo>
                    <a:pt x="301" y="83"/>
                  </a:lnTo>
                  <a:lnTo>
                    <a:pt x="278" y="71"/>
                  </a:lnTo>
                  <a:lnTo>
                    <a:pt x="265" y="41"/>
                  </a:lnTo>
                  <a:lnTo>
                    <a:pt x="228" y="41"/>
                  </a:lnTo>
                  <a:lnTo>
                    <a:pt x="213" y="29"/>
                  </a:lnTo>
                  <a:lnTo>
                    <a:pt x="235" y="16"/>
                  </a:lnTo>
                  <a:lnTo>
                    <a:pt x="237" y="5"/>
                  </a:lnTo>
                  <a:lnTo>
                    <a:pt x="213" y="5"/>
                  </a:lnTo>
                  <a:lnTo>
                    <a:pt x="172" y="13"/>
                  </a:lnTo>
                  <a:lnTo>
                    <a:pt x="146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41</a:t>
              </a:r>
            </a:p>
          </p:txBody>
        </p:sp>
        <p:sp>
          <p:nvSpPr>
            <p:cNvPr id="75" name="FR-18">
              <a:extLst>
                <a:ext uri="{FF2B5EF4-FFF2-40B4-BE49-F238E27FC236}">
                  <a16:creationId xmlns:a16="http://schemas.microsoft.com/office/drawing/2014/main" id="{319A7973-E7A6-430E-9C24-4B997E069BE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408963" y="4485025"/>
              <a:ext cx="312753" cy="405335"/>
            </a:xfrm>
            <a:custGeom>
              <a:avLst/>
              <a:gdLst>
                <a:gd name="T0" fmla="*/ 210 w 677"/>
                <a:gd name="T1" fmla="*/ 19 h 920"/>
                <a:gd name="T2" fmla="*/ 178 w 677"/>
                <a:gd name="T3" fmla="*/ 58 h 920"/>
                <a:gd name="T4" fmla="*/ 225 w 677"/>
                <a:gd name="T5" fmla="*/ 95 h 920"/>
                <a:gd name="T6" fmla="*/ 238 w 677"/>
                <a:gd name="T7" fmla="*/ 120 h 920"/>
                <a:gd name="T8" fmla="*/ 206 w 677"/>
                <a:gd name="T9" fmla="*/ 161 h 920"/>
                <a:gd name="T10" fmla="*/ 180 w 677"/>
                <a:gd name="T11" fmla="*/ 230 h 920"/>
                <a:gd name="T12" fmla="*/ 193 w 677"/>
                <a:gd name="T13" fmla="*/ 254 h 920"/>
                <a:gd name="T14" fmla="*/ 107 w 677"/>
                <a:gd name="T15" fmla="*/ 278 h 920"/>
                <a:gd name="T16" fmla="*/ 79 w 677"/>
                <a:gd name="T17" fmla="*/ 265 h 920"/>
                <a:gd name="T18" fmla="*/ 66 w 677"/>
                <a:gd name="T19" fmla="*/ 316 h 920"/>
                <a:gd name="T20" fmla="*/ 30 w 677"/>
                <a:gd name="T21" fmla="*/ 347 h 920"/>
                <a:gd name="T22" fmla="*/ 4 w 677"/>
                <a:gd name="T23" fmla="*/ 383 h 920"/>
                <a:gd name="T24" fmla="*/ 60 w 677"/>
                <a:gd name="T25" fmla="*/ 404 h 920"/>
                <a:gd name="T26" fmla="*/ 124 w 677"/>
                <a:gd name="T27" fmla="*/ 391 h 920"/>
                <a:gd name="T28" fmla="*/ 135 w 677"/>
                <a:gd name="T29" fmla="*/ 439 h 920"/>
                <a:gd name="T30" fmla="*/ 165 w 677"/>
                <a:gd name="T31" fmla="*/ 495 h 920"/>
                <a:gd name="T32" fmla="*/ 152 w 677"/>
                <a:gd name="T33" fmla="*/ 527 h 920"/>
                <a:gd name="T34" fmla="*/ 191 w 677"/>
                <a:gd name="T35" fmla="*/ 544 h 920"/>
                <a:gd name="T36" fmla="*/ 163 w 677"/>
                <a:gd name="T37" fmla="*/ 580 h 920"/>
                <a:gd name="T38" fmla="*/ 146 w 677"/>
                <a:gd name="T39" fmla="*/ 606 h 920"/>
                <a:gd name="T40" fmla="*/ 178 w 677"/>
                <a:gd name="T41" fmla="*/ 639 h 920"/>
                <a:gd name="T42" fmla="*/ 152 w 677"/>
                <a:gd name="T43" fmla="*/ 669 h 920"/>
                <a:gd name="T44" fmla="*/ 187 w 677"/>
                <a:gd name="T45" fmla="*/ 710 h 920"/>
                <a:gd name="T46" fmla="*/ 217 w 677"/>
                <a:gd name="T47" fmla="*/ 757 h 920"/>
                <a:gd name="T48" fmla="*/ 206 w 677"/>
                <a:gd name="T49" fmla="*/ 776 h 920"/>
                <a:gd name="T50" fmla="*/ 199 w 677"/>
                <a:gd name="T51" fmla="*/ 821 h 920"/>
                <a:gd name="T52" fmla="*/ 219 w 677"/>
                <a:gd name="T53" fmla="*/ 873 h 920"/>
                <a:gd name="T54" fmla="*/ 192 w 677"/>
                <a:gd name="T55" fmla="*/ 920 h 920"/>
                <a:gd name="T56" fmla="*/ 265 w 677"/>
                <a:gd name="T57" fmla="*/ 886 h 920"/>
                <a:gd name="T58" fmla="*/ 364 w 677"/>
                <a:gd name="T59" fmla="*/ 834 h 920"/>
                <a:gd name="T60" fmla="*/ 434 w 677"/>
                <a:gd name="T61" fmla="*/ 816 h 920"/>
                <a:gd name="T62" fmla="*/ 419 w 677"/>
                <a:gd name="T63" fmla="*/ 785 h 920"/>
                <a:gd name="T64" fmla="*/ 489 w 677"/>
                <a:gd name="T65" fmla="*/ 672 h 920"/>
                <a:gd name="T66" fmla="*/ 539 w 677"/>
                <a:gd name="T67" fmla="*/ 677 h 920"/>
                <a:gd name="T68" fmla="*/ 596 w 677"/>
                <a:gd name="T69" fmla="*/ 628 h 920"/>
                <a:gd name="T70" fmla="*/ 657 w 677"/>
                <a:gd name="T71" fmla="*/ 647 h 920"/>
                <a:gd name="T72" fmla="*/ 664 w 677"/>
                <a:gd name="T73" fmla="*/ 560 h 920"/>
                <a:gd name="T74" fmla="*/ 674 w 677"/>
                <a:gd name="T75" fmla="*/ 459 h 920"/>
                <a:gd name="T76" fmla="*/ 651 w 677"/>
                <a:gd name="T77" fmla="*/ 368 h 920"/>
                <a:gd name="T78" fmla="*/ 622 w 677"/>
                <a:gd name="T79" fmla="*/ 277 h 920"/>
                <a:gd name="T80" fmla="*/ 567 w 677"/>
                <a:gd name="T81" fmla="*/ 209 h 920"/>
                <a:gd name="T82" fmla="*/ 591 w 677"/>
                <a:gd name="T83" fmla="*/ 125 h 920"/>
                <a:gd name="T84" fmla="*/ 537 w 677"/>
                <a:gd name="T85" fmla="*/ 105 h 920"/>
                <a:gd name="T86" fmla="*/ 505 w 677"/>
                <a:gd name="T87" fmla="*/ 75 h 920"/>
                <a:gd name="T88" fmla="*/ 487 w 677"/>
                <a:gd name="T89" fmla="*/ 77 h 920"/>
                <a:gd name="T90" fmla="*/ 468 w 677"/>
                <a:gd name="T91" fmla="*/ 116 h 920"/>
                <a:gd name="T92" fmla="*/ 425 w 677"/>
                <a:gd name="T93" fmla="*/ 63 h 920"/>
                <a:gd name="T94" fmla="*/ 371 w 677"/>
                <a:gd name="T95" fmla="*/ 47 h 920"/>
                <a:gd name="T96" fmla="*/ 333 w 677"/>
                <a:gd name="T97" fmla="*/ 20 h 920"/>
                <a:gd name="T98" fmla="*/ 298 w 677"/>
                <a:gd name="T99" fmla="*/ 34 h 920"/>
                <a:gd name="T100" fmla="*/ 249 w 677"/>
                <a:gd name="T101" fmla="*/ 2 h 92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77"/>
                <a:gd name="T154" fmla="*/ 0 h 920"/>
                <a:gd name="T155" fmla="*/ 677 w 677"/>
                <a:gd name="T156" fmla="*/ 920 h 92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77" h="920">
                  <a:moveTo>
                    <a:pt x="248" y="0"/>
                  </a:moveTo>
                  <a:lnTo>
                    <a:pt x="210" y="19"/>
                  </a:lnTo>
                  <a:lnTo>
                    <a:pt x="176" y="47"/>
                  </a:lnTo>
                  <a:lnTo>
                    <a:pt x="178" y="58"/>
                  </a:lnTo>
                  <a:lnTo>
                    <a:pt x="212" y="67"/>
                  </a:lnTo>
                  <a:lnTo>
                    <a:pt x="225" y="95"/>
                  </a:lnTo>
                  <a:lnTo>
                    <a:pt x="245" y="103"/>
                  </a:lnTo>
                  <a:lnTo>
                    <a:pt x="238" y="120"/>
                  </a:lnTo>
                  <a:lnTo>
                    <a:pt x="238" y="147"/>
                  </a:lnTo>
                  <a:lnTo>
                    <a:pt x="206" y="161"/>
                  </a:lnTo>
                  <a:lnTo>
                    <a:pt x="182" y="205"/>
                  </a:lnTo>
                  <a:lnTo>
                    <a:pt x="180" y="230"/>
                  </a:lnTo>
                  <a:lnTo>
                    <a:pt x="189" y="241"/>
                  </a:lnTo>
                  <a:lnTo>
                    <a:pt x="193" y="254"/>
                  </a:lnTo>
                  <a:lnTo>
                    <a:pt x="159" y="273"/>
                  </a:lnTo>
                  <a:lnTo>
                    <a:pt x="107" y="278"/>
                  </a:lnTo>
                  <a:lnTo>
                    <a:pt x="94" y="264"/>
                  </a:lnTo>
                  <a:lnTo>
                    <a:pt x="79" y="265"/>
                  </a:lnTo>
                  <a:lnTo>
                    <a:pt x="64" y="282"/>
                  </a:lnTo>
                  <a:lnTo>
                    <a:pt x="66" y="316"/>
                  </a:lnTo>
                  <a:lnTo>
                    <a:pt x="32" y="318"/>
                  </a:lnTo>
                  <a:lnTo>
                    <a:pt x="30" y="347"/>
                  </a:lnTo>
                  <a:lnTo>
                    <a:pt x="0" y="372"/>
                  </a:lnTo>
                  <a:lnTo>
                    <a:pt x="4" y="383"/>
                  </a:lnTo>
                  <a:lnTo>
                    <a:pt x="23" y="398"/>
                  </a:lnTo>
                  <a:lnTo>
                    <a:pt x="60" y="404"/>
                  </a:lnTo>
                  <a:lnTo>
                    <a:pt x="88" y="392"/>
                  </a:lnTo>
                  <a:lnTo>
                    <a:pt x="124" y="391"/>
                  </a:lnTo>
                  <a:lnTo>
                    <a:pt x="141" y="404"/>
                  </a:lnTo>
                  <a:lnTo>
                    <a:pt x="135" y="439"/>
                  </a:lnTo>
                  <a:lnTo>
                    <a:pt x="165" y="479"/>
                  </a:lnTo>
                  <a:lnTo>
                    <a:pt x="165" y="495"/>
                  </a:lnTo>
                  <a:lnTo>
                    <a:pt x="152" y="518"/>
                  </a:lnTo>
                  <a:lnTo>
                    <a:pt x="152" y="527"/>
                  </a:lnTo>
                  <a:lnTo>
                    <a:pt x="167" y="544"/>
                  </a:lnTo>
                  <a:lnTo>
                    <a:pt x="191" y="544"/>
                  </a:lnTo>
                  <a:lnTo>
                    <a:pt x="193" y="555"/>
                  </a:lnTo>
                  <a:lnTo>
                    <a:pt x="163" y="580"/>
                  </a:lnTo>
                  <a:lnTo>
                    <a:pt x="165" y="596"/>
                  </a:lnTo>
                  <a:lnTo>
                    <a:pt x="146" y="606"/>
                  </a:lnTo>
                  <a:lnTo>
                    <a:pt x="154" y="619"/>
                  </a:lnTo>
                  <a:lnTo>
                    <a:pt x="178" y="639"/>
                  </a:lnTo>
                  <a:lnTo>
                    <a:pt x="178" y="654"/>
                  </a:lnTo>
                  <a:lnTo>
                    <a:pt x="152" y="669"/>
                  </a:lnTo>
                  <a:lnTo>
                    <a:pt x="152" y="692"/>
                  </a:lnTo>
                  <a:lnTo>
                    <a:pt x="187" y="710"/>
                  </a:lnTo>
                  <a:lnTo>
                    <a:pt x="195" y="737"/>
                  </a:lnTo>
                  <a:lnTo>
                    <a:pt x="217" y="757"/>
                  </a:lnTo>
                  <a:lnTo>
                    <a:pt x="215" y="765"/>
                  </a:lnTo>
                  <a:lnTo>
                    <a:pt x="206" y="776"/>
                  </a:lnTo>
                  <a:lnTo>
                    <a:pt x="204" y="810"/>
                  </a:lnTo>
                  <a:lnTo>
                    <a:pt x="199" y="821"/>
                  </a:lnTo>
                  <a:lnTo>
                    <a:pt x="214" y="850"/>
                  </a:lnTo>
                  <a:lnTo>
                    <a:pt x="219" y="873"/>
                  </a:lnTo>
                  <a:lnTo>
                    <a:pt x="193" y="899"/>
                  </a:lnTo>
                  <a:lnTo>
                    <a:pt x="192" y="920"/>
                  </a:lnTo>
                  <a:lnTo>
                    <a:pt x="253" y="912"/>
                  </a:lnTo>
                  <a:lnTo>
                    <a:pt x="265" y="886"/>
                  </a:lnTo>
                  <a:lnTo>
                    <a:pt x="299" y="847"/>
                  </a:lnTo>
                  <a:lnTo>
                    <a:pt x="364" y="834"/>
                  </a:lnTo>
                  <a:lnTo>
                    <a:pt x="398" y="844"/>
                  </a:lnTo>
                  <a:lnTo>
                    <a:pt x="434" y="816"/>
                  </a:lnTo>
                  <a:lnTo>
                    <a:pt x="432" y="795"/>
                  </a:lnTo>
                  <a:lnTo>
                    <a:pt x="419" y="785"/>
                  </a:lnTo>
                  <a:lnTo>
                    <a:pt x="419" y="743"/>
                  </a:lnTo>
                  <a:lnTo>
                    <a:pt x="489" y="672"/>
                  </a:lnTo>
                  <a:lnTo>
                    <a:pt x="515" y="701"/>
                  </a:lnTo>
                  <a:lnTo>
                    <a:pt x="539" y="677"/>
                  </a:lnTo>
                  <a:lnTo>
                    <a:pt x="559" y="675"/>
                  </a:lnTo>
                  <a:lnTo>
                    <a:pt x="596" y="628"/>
                  </a:lnTo>
                  <a:lnTo>
                    <a:pt x="656" y="633"/>
                  </a:lnTo>
                  <a:lnTo>
                    <a:pt x="657" y="647"/>
                  </a:lnTo>
                  <a:lnTo>
                    <a:pt x="677" y="584"/>
                  </a:lnTo>
                  <a:lnTo>
                    <a:pt x="664" y="560"/>
                  </a:lnTo>
                  <a:lnTo>
                    <a:pt x="666" y="527"/>
                  </a:lnTo>
                  <a:lnTo>
                    <a:pt x="674" y="459"/>
                  </a:lnTo>
                  <a:lnTo>
                    <a:pt x="645" y="430"/>
                  </a:lnTo>
                  <a:lnTo>
                    <a:pt x="651" y="368"/>
                  </a:lnTo>
                  <a:lnTo>
                    <a:pt x="624" y="313"/>
                  </a:lnTo>
                  <a:lnTo>
                    <a:pt x="622" y="277"/>
                  </a:lnTo>
                  <a:lnTo>
                    <a:pt x="575" y="240"/>
                  </a:lnTo>
                  <a:lnTo>
                    <a:pt x="567" y="209"/>
                  </a:lnTo>
                  <a:lnTo>
                    <a:pt x="591" y="175"/>
                  </a:lnTo>
                  <a:lnTo>
                    <a:pt x="591" y="125"/>
                  </a:lnTo>
                  <a:lnTo>
                    <a:pt x="564" y="94"/>
                  </a:lnTo>
                  <a:lnTo>
                    <a:pt x="537" y="105"/>
                  </a:lnTo>
                  <a:lnTo>
                    <a:pt x="524" y="99"/>
                  </a:lnTo>
                  <a:lnTo>
                    <a:pt x="505" y="75"/>
                  </a:lnTo>
                  <a:lnTo>
                    <a:pt x="494" y="73"/>
                  </a:lnTo>
                  <a:lnTo>
                    <a:pt x="487" y="77"/>
                  </a:lnTo>
                  <a:lnTo>
                    <a:pt x="484" y="114"/>
                  </a:lnTo>
                  <a:lnTo>
                    <a:pt x="468" y="116"/>
                  </a:lnTo>
                  <a:lnTo>
                    <a:pt x="455" y="105"/>
                  </a:lnTo>
                  <a:lnTo>
                    <a:pt x="425" y="63"/>
                  </a:lnTo>
                  <a:lnTo>
                    <a:pt x="414" y="49"/>
                  </a:lnTo>
                  <a:lnTo>
                    <a:pt x="371" y="47"/>
                  </a:lnTo>
                  <a:lnTo>
                    <a:pt x="350" y="20"/>
                  </a:lnTo>
                  <a:lnTo>
                    <a:pt x="333" y="20"/>
                  </a:lnTo>
                  <a:lnTo>
                    <a:pt x="326" y="30"/>
                  </a:lnTo>
                  <a:lnTo>
                    <a:pt x="298" y="34"/>
                  </a:lnTo>
                  <a:lnTo>
                    <a:pt x="275" y="13"/>
                  </a:lnTo>
                  <a:lnTo>
                    <a:pt x="249" y="2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18</a:t>
              </a:r>
            </a:p>
          </p:txBody>
        </p:sp>
        <p:sp>
          <p:nvSpPr>
            <p:cNvPr id="76" name="FR-21">
              <a:extLst>
                <a:ext uri="{FF2B5EF4-FFF2-40B4-BE49-F238E27FC236}">
                  <a16:creationId xmlns:a16="http://schemas.microsoft.com/office/drawing/2014/main" id="{0EC154EC-7A0E-493D-BFA1-13B1800292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953163" y="4346242"/>
              <a:ext cx="344629" cy="374495"/>
            </a:xfrm>
            <a:custGeom>
              <a:avLst/>
              <a:gdLst>
                <a:gd name="T0" fmla="*/ 236 w 746"/>
                <a:gd name="T1" fmla="*/ 34 h 850"/>
                <a:gd name="T2" fmla="*/ 116 w 746"/>
                <a:gd name="T3" fmla="*/ 55 h 850"/>
                <a:gd name="T4" fmla="*/ 122 w 746"/>
                <a:gd name="T5" fmla="*/ 92 h 850"/>
                <a:gd name="T6" fmla="*/ 96 w 746"/>
                <a:gd name="T7" fmla="*/ 143 h 850"/>
                <a:gd name="T8" fmla="*/ 122 w 746"/>
                <a:gd name="T9" fmla="*/ 149 h 850"/>
                <a:gd name="T10" fmla="*/ 127 w 746"/>
                <a:gd name="T11" fmla="*/ 208 h 850"/>
                <a:gd name="T12" fmla="*/ 97 w 746"/>
                <a:gd name="T13" fmla="*/ 253 h 850"/>
                <a:gd name="T14" fmla="*/ 105 w 746"/>
                <a:gd name="T15" fmla="*/ 266 h 850"/>
                <a:gd name="T16" fmla="*/ 81 w 746"/>
                <a:gd name="T17" fmla="*/ 302 h 850"/>
                <a:gd name="T18" fmla="*/ 30 w 746"/>
                <a:gd name="T19" fmla="*/ 395 h 850"/>
                <a:gd name="T20" fmla="*/ 38 w 746"/>
                <a:gd name="T21" fmla="*/ 438 h 850"/>
                <a:gd name="T22" fmla="*/ 0 w 746"/>
                <a:gd name="T23" fmla="*/ 466 h 850"/>
                <a:gd name="T24" fmla="*/ 26 w 746"/>
                <a:gd name="T25" fmla="*/ 507 h 850"/>
                <a:gd name="T26" fmla="*/ 32 w 746"/>
                <a:gd name="T27" fmla="*/ 556 h 850"/>
                <a:gd name="T28" fmla="*/ 39 w 746"/>
                <a:gd name="T29" fmla="*/ 599 h 850"/>
                <a:gd name="T30" fmla="*/ 94 w 746"/>
                <a:gd name="T31" fmla="*/ 633 h 850"/>
                <a:gd name="T32" fmla="*/ 82 w 746"/>
                <a:gd name="T33" fmla="*/ 648 h 850"/>
                <a:gd name="T34" fmla="*/ 84 w 746"/>
                <a:gd name="T35" fmla="*/ 676 h 850"/>
                <a:gd name="T36" fmla="*/ 187 w 746"/>
                <a:gd name="T37" fmla="*/ 726 h 850"/>
                <a:gd name="T38" fmla="*/ 268 w 746"/>
                <a:gd name="T39" fmla="*/ 786 h 850"/>
                <a:gd name="T40" fmla="*/ 305 w 746"/>
                <a:gd name="T41" fmla="*/ 825 h 850"/>
                <a:gd name="T42" fmla="*/ 414 w 746"/>
                <a:gd name="T43" fmla="*/ 822 h 850"/>
                <a:gd name="T44" fmla="*/ 492 w 746"/>
                <a:gd name="T45" fmla="*/ 801 h 850"/>
                <a:gd name="T46" fmla="*/ 526 w 746"/>
                <a:gd name="T47" fmla="*/ 792 h 850"/>
                <a:gd name="T48" fmla="*/ 576 w 746"/>
                <a:gd name="T49" fmla="*/ 797 h 850"/>
                <a:gd name="T50" fmla="*/ 629 w 746"/>
                <a:gd name="T51" fmla="*/ 779 h 850"/>
                <a:gd name="T52" fmla="*/ 647 w 746"/>
                <a:gd name="T53" fmla="*/ 766 h 850"/>
                <a:gd name="T54" fmla="*/ 639 w 746"/>
                <a:gd name="T55" fmla="*/ 737 h 850"/>
                <a:gd name="T56" fmla="*/ 696 w 746"/>
                <a:gd name="T57" fmla="*/ 696 h 850"/>
                <a:gd name="T58" fmla="*/ 712 w 746"/>
                <a:gd name="T59" fmla="*/ 654 h 850"/>
                <a:gd name="T60" fmla="*/ 723 w 746"/>
                <a:gd name="T61" fmla="*/ 615 h 850"/>
                <a:gd name="T62" fmla="*/ 736 w 746"/>
                <a:gd name="T63" fmla="*/ 545 h 850"/>
                <a:gd name="T64" fmla="*/ 744 w 746"/>
                <a:gd name="T65" fmla="*/ 529 h 850"/>
                <a:gd name="T66" fmla="*/ 730 w 746"/>
                <a:gd name="T67" fmla="*/ 467 h 850"/>
                <a:gd name="T68" fmla="*/ 702 w 746"/>
                <a:gd name="T69" fmla="*/ 422 h 850"/>
                <a:gd name="T70" fmla="*/ 684 w 746"/>
                <a:gd name="T71" fmla="*/ 396 h 850"/>
                <a:gd name="T72" fmla="*/ 733 w 746"/>
                <a:gd name="T73" fmla="*/ 352 h 850"/>
                <a:gd name="T74" fmla="*/ 709 w 746"/>
                <a:gd name="T75" fmla="*/ 290 h 850"/>
                <a:gd name="T76" fmla="*/ 668 w 746"/>
                <a:gd name="T77" fmla="*/ 310 h 850"/>
                <a:gd name="T78" fmla="*/ 605 w 746"/>
                <a:gd name="T79" fmla="*/ 310 h 850"/>
                <a:gd name="T80" fmla="*/ 540 w 746"/>
                <a:gd name="T81" fmla="*/ 271 h 850"/>
                <a:gd name="T82" fmla="*/ 499 w 746"/>
                <a:gd name="T83" fmla="*/ 248 h 850"/>
                <a:gd name="T84" fmla="*/ 454 w 746"/>
                <a:gd name="T85" fmla="*/ 206 h 850"/>
                <a:gd name="T86" fmla="*/ 465 w 746"/>
                <a:gd name="T87" fmla="*/ 154 h 850"/>
                <a:gd name="T88" fmla="*/ 358 w 746"/>
                <a:gd name="T89" fmla="*/ 24 h 850"/>
                <a:gd name="T90" fmla="*/ 241 w 746"/>
                <a:gd name="T91" fmla="*/ 0 h 85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746"/>
                <a:gd name="T139" fmla="*/ 0 h 850"/>
                <a:gd name="T140" fmla="*/ 746 w 746"/>
                <a:gd name="T141" fmla="*/ 850 h 850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746" h="850">
                  <a:moveTo>
                    <a:pt x="241" y="0"/>
                  </a:moveTo>
                  <a:lnTo>
                    <a:pt x="236" y="34"/>
                  </a:lnTo>
                  <a:lnTo>
                    <a:pt x="202" y="52"/>
                  </a:lnTo>
                  <a:lnTo>
                    <a:pt x="116" y="55"/>
                  </a:lnTo>
                  <a:lnTo>
                    <a:pt x="120" y="74"/>
                  </a:lnTo>
                  <a:lnTo>
                    <a:pt x="122" y="92"/>
                  </a:lnTo>
                  <a:lnTo>
                    <a:pt x="96" y="111"/>
                  </a:lnTo>
                  <a:lnTo>
                    <a:pt x="96" y="143"/>
                  </a:lnTo>
                  <a:lnTo>
                    <a:pt x="101" y="149"/>
                  </a:lnTo>
                  <a:lnTo>
                    <a:pt x="122" y="149"/>
                  </a:lnTo>
                  <a:lnTo>
                    <a:pt x="135" y="171"/>
                  </a:lnTo>
                  <a:lnTo>
                    <a:pt x="127" y="208"/>
                  </a:lnTo>
                  <a:lnTo>
                    <a:pt x="97" y="231"/>
                  </a:lnTo>
                  <a:lnTo>
                    <a:pt x="97" y="253"/>
                  </a:lnTo>
                  <a:lnTo>
                    <a:pt x="107" y="261"/>
                  </a:lnTo>
                  <a:lnTo>
                    <a:pt x="105" y="266"/>
                  </a:lnTo>
                  <a:lnTo>
                    <a:pt x="86" y="274"/>
                  </a:lnTo>
                  <a:lnTo>
                    <a:pt x="81" y="302"/>
                  </a:lnTo>
                  <a:lnTo>
                    <a:pt x="51" y="365"/>
                  </a:lnTo>
                  <a:lnTo>
                    <a:pt x="30" y="395"/>
                  </a:lnTo>
                  <a:lnTo>
                    <a:pt x="30" y="425"/>
                  </a:lnTo>
                  <a:lnTo>
                    <a:pt x="38" y="438"/>
                  </a:lnTo>
                  <a:lnTo>
                    <a:pt x="26" y="453"/>
                  </a:lnTo>
                  <a:lnTo>
                    <a:pt x="0" y="466"/>
                  </a:lnTo>
                  <a:lnTo>
                    <a:pt x="2" y="492"/>
                  </a:lnTo>
                  <a:lnTo>
                    <a:pt x="26" y="507"/>
                  </a:lnTo>
                  <a:lnTo>
                    <a:pt x="36" y="528"/>
                  </a:lnTo>
                  <a:lnTo>
                    <a:pt x="32" y="556"/>
                  </a:lnTo>
                  <a:lnTo>
                    <a:pt x="26" y="577"/>
                  </a:lnTo>
                  <a:lnTo>
                    <a:pt x="39" y="599"/>
                  </a:lnTo>
                  <a:lnTo>
                    <a:pt x="77" y="607"/>
                  </a:lnTo>
                  <a:lnTo>
                    <a:pt x="94" y="633"/>
                  </a:lnTo>
                  <a:lnTo>
                    <a:pt x="94" y="644"/>
                  </a:lnTo>
                  <a:lnTo>
                    <a:pt x="82" y="648"/>
                  </a:lnTo>
                  <a:lnTo>
                    <a:pt x="82" y="675"/>
                  </a:lnTo>
                  <a:lnTo>
                    <a:pt x="84" y="676"/>
                  </a:lnTo>
                  <a:lnTo>
                    <a:pt x="135" y="728"/>
                  </a:lnTo>
                  <a:lnTo>
                    <a:pt x="187" y="726"/>
                  </a:lnTo>
                  <a:lnTo>
                    <a:pt x="234" y="762"/>
                  </a:lnTo>
                  <a:lnTo>
                    <a:pt x="268" y="786"/>
                  </a:lnTo>
                  <a:lnTo>
                    <a:pt x="269" y="818"/>
                  </a:lnTo>
                  <a:lnTo>
                    <a:pt x="305" y="825"/>
                  </a:lnTo>
                  <a:lnTo>
                    <a:pt x="335" y="850"/>
                  </a:lnTo>
                  <a:lnTo>
                    <a:pt x="414" y="822"/>
                  </a:lnTo>
                  <a:lnTo>
                    <a:pt x="468" y="805"/>
                  </a:lnTo>
                  <a:lnTo>
                    <a:pt x="492" y="801"/>
                  </a:lnTo>
                  <a:lnTo>
                    <a:pt x="499" y="790"/>
                  </a:lnTo>
                  <a:lnTo>
                    <a:pt x="526" y="792"/>
                  </a:lnTo>
                  <a:lnTo>
                    <a:pt x="546" y="805"/>
                  </a:lnTo>
                  <a:lnTo>
                    <a:pt x="576" y="797"/>
                  </a:lnTo>
                  <a:lnTo>
                    <a:pt x="606" y="777"/>
                  </a:lnTo>
                  <a:lnTo>
                    <a:pt x="629" y="779"/>
                  </a:lnTo>
                  <a:lnTo>
                    <a:pt x="629" y="777"/>
                  </a:lnTo>
                  <a:lnTo>
                    <a:pt x="647" y="766"/>
                  </a:lnTo>
                  <a:lnTo>
                    <a:pt x="644" y="753"/>
                  </a:lnTo>
                  <a:lnTo>
                    <a:pt x="639" y="737"/>
                  </a:lnTo>
                  <a:lnTo>
                    <a:pt x="652" y="717"/>
                  </a:lnTo>
                  <a:lnTo>
                    <a:pt x="696" y="696"/>
                  </a:lnTo>
                  <a:lnTo>
                    <a:pt x="696" y="675"/>
                  </a:lnTo>
                  <a:lnTo>
                    <a:pt x="712" y="654"/>
                  </a:lnTo>
                  <a:lnTo>
                    <a:pt x="728" y="633"/>
                  </a:lnTo>
                  <a:lnTo>
                    <a:pt x="723" y="615"/>
                  </a:lnTo>
                  <a:lnTo>
                    <a:pt x="730" y="586"/>
                  </a:lnTo>
                  <a:lnTo>
                    <a:pt x="736" y="545"/>
                  </a:lnTo>
                  <a:lnTo>
                    <a:pt x="746" y="545"/>
                  </a:lnTo>
                  <a:lnTo>
                    <a:pt x="744" y="529"/>
                  </a:lnTo>
                  <a:lnTo>
                    <a:pt x="733" y="519"/>
                  </a:lnTo>
                  <a:lnTo>
                    <a:pt x="730" y="467"/>
                  </a:lnTo>
                  <a:lnTo>
                    <a:pt x="707" y="464"/>
                  </a:lnTo>
                  <a:lnTo>
                    <a:pt x="702" y="422"/>
                  </a:lnTo>
                  <a:lnTo>
                    <a:pt x="673" y="409"/>
                  </a:lnTo>
                  <a:lnTo>
                    <a:pt x="684" y="396"/>
                  </a:lnTo>
                  <a:lnTo>
                    <a:pt x="699" y="391"/>
                  </a:lnTo>
                  <a:lnTo>
                    <a:pt x="733" y="352"/>
                  </a:lnTo>
                  <a:lnTo>
                    <a:pt x="730" y="331"/>
                  </a:lnTo>
                  <a:lnTo>
                    <a:pt x="709" y="290"/>
                  </a:lnTo>
                  <a:lnTo>
                    <a:pt x="679" y="284"/>
                  </a:lnTo>
                  <a:lnTo>
                    <a:pt x="668" y="310"/>
                  </a:lnTo>
                  <a:lnTo>
                    <a:pt x="611" y="323"/>
                  </a:lnTo>
                  <a:lnTo>
                    <a:pt x="605" y="310"/>
                  </a:lnTo>
                  <a:lnTo>
                    <a:pt x="564" y="258"/>
                  </a:lnTo>
                  <a:lnTo>
                    <a:pt x="540" y="271"/>
                  </a:lnTo>
                  <a:lnTo>
                    <a:pt x="509" y="269"/>
                  </a:lnTo>
                  <a:lnTo>
                    <a:pt x="499" y="248"/>
                  </a:lnTo>
                  <a:lnTo>
                    <a:pt x="457" y="250"/>
                  </a:lnTo>
                  <a:lnTo>
                    <a:pt x="454" y="206"/>
                  </a:lnTo>
                  <a:lnTo>
                    <a:pt x="431" y="190"/>
                  </a:lnTo>
                  <a:lnTo>
                    <a:pt x="465" y="154"/>
                  </a:lnTo>
                  <a:lnTo>
                    <a:pt x="405" y="73"/>
                  </a:lnTo>
                  <a:lnTo>
                    <a:pt x="358" y="24"/>
                  </a:lnTo>
                  <a:lnTo>
                    <a:pt x="316" y="0"/>
                  </a:lnTo>
                  <a:lnTo>
                    <a:pt x="241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21</a:t>
              </a:r>
            </a:p>
          </p:txBody>
        </p:sp>
        <p:sp>
          <p:nvSpPr>
            <p:cNvPr id="77" name="FR-58">
              <a:extLst>
                <a:ext uri="{FF2B5EF4-FFF2-40B4-BE49-F238E27FC236}">
                  <a16:creationId xmlns:a16="http://schemas.microsoft.com/office/drawing/2014/main" id="{A098D125-48D1-4ACE-89BC-C814DE32129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666280" y="4502208"/>
              <a:ext cx="330308" cy="307526"/>
            </a:xfrm>
            <a:custGeom>
              <a:avLst/>
              <a:gdLst>
                <a:gd name="T0" fmla="*/ 94 w 715"/>
                <a:gd name="T1" fmla="*/ 21 h 698"/>
                <a:gd name="T2" fmla="*/ 37 w 715"/>
                <a:gd name="T3" fmla="*/ 13 h 698"/>
                <a:gd name="T4" fmla="*/ 2 w 715"/>
                <a:gd name="T5" fmla="*/ 50 h 698"/>
                <a:gd name="T6" fmla="*/ 34 w 715"/>
                <a:gd name="T7" fmla="*/ 136 h 698"/>
                <a:gd name="T8" fmla="*/ 18 w 715"/>
                <a:gd name="T9" fmla="*/ 201 h 698"/>
                <a:gd name="T10" fmla="*/ 67 w 715"/>
                <a:gd name="T11" fmla="*/ 274 h 698"/>
                <a:gd name="T12" fmla="*/ 88 w 715"/>
                <a:gd name="T13" fmla="*/ 391 h 698"/>
                <a:gd name="T14" fmla="*/ 109 w 715"/>
                <a:gd name="T15" fmla="*/ 488 h 698"/>
                <a:gd name="T16" fmla="*/ 120 w 715"/>
                <a:gd name="T17" fmla="*/ 545 h 698"/>
                <a:gd name="T18" fmla="*/ 101 w 715"/>
                <a:gd name="T19" fmla="*/ 628 h 698"/>
                <a:gd name="T20" fmla="*/ 177 w 715"/>
                <a:gd name="T21" fmla="*/ 683 h 698"/>
                <a:gd name="T22" fmla="*/ 232 w 715"/>
                <a:gd name="T23" fmla="*/ 652 h 698"/>
                <a:gd name="T24" fmla="*/ 276 w 715"/>
                <a:gd name="T25" fmla="*/ 675 h 698"/>
                <a:gd name="T26" fmla="*/ 310 w 715"/>
                <a:gd name="T27" fmla="*/ 665 h 698"/>
                <a:gd name="T28" fmla="*/ 338 w 715"/>
                <a:gd name="T29" fmla="*/ 693 h 698"/>
                <a:gd name="T30" fmla="*/ 414 w 715"/>
                <a:gd name="T31" fmla="*/ 644 h 698"/>
                <a:gd name="T32" fmla="*/ 459 w 715"/>
                <a:gd name="T33" fmla="*/ 626 h 698"/>
                <a:gd name="T34" fmla="*/ 488 w 715"/>
                <a:gd name="T35" fmla="*/ 660 h 698"/>
                <a:gd name="T36" fmla="*/ 532 w 715"/>
                <a:gd name="T37" fmla="*/ 638 h 698"/>
                <a:gd name="T38" fmla="*/ 575 w 715"/>
                <a:gd name="T39" fmla="*/ 613 h 698"/>
                <a:gd name="T40" fmla="*/ 597 w 715"/>
                <a:gd name="T41" fmla="*/ 596 h 698"/>
                <a:gd name="T42" fmla="*/ 640 w 715"/>
                <a:gd name="T43" fmla="*/ 589 h 698"/>
                <a:gd name="T44" fmla="*/ 621 w 715"/>
                <a:gd name="T45" fmla="*/ 556 h 698"/>
                <a:gd name="T46" fmla="*/ 647 w 715"/>
                <a:gd name="T47" fmla="*/ 529 h 698"/>
                <a:gd name="T48" fmla="*/ 619 w 715"/>
                <a:gd name="T49" fmla="*/ 486 h 698"/>
                <a:gd name="T50" fmla="*/ 605 w 715"/>
                <a:gd name="T51" fmla="*/ 449 h 698"/>
                <a:gd name="T52" fmla="*/ 632 w 715"/>
                <a:gd name="T53" fmla="*/ 421 h 698"/>
                <a:gd name="T54" fmla="*/ 629 w 715"/>
                <a:gd name="T55" fmla="*/ 391 h 698"/>
                <a:gd name="T56" fmla="*/ 632 w 715"/>
                <a:gd name="T57" fmla="*/ 342 h 698"/>
                <a:gd name="T58" fmla="*/ 703 w 715"/>
                <a:gd name="T59" fmla="*/ 323 h 698"/>
                <a:gd name="T60" fmla="*/ 715 w 715"/>
                <a:gd name="T61" fmla="*/ 290 h 698"/>
                <a:gd name="T62" fmla="*/ 698 w 715"/>
                <a:gd name="T63" fmla="*/ 253 h 698"/>
                <a:gd name="T64" fmla="*/ 647 w 715"/>
                <a:gd name="T65" fmla="*/ 223 h 698"/>
                <a:gd name="T66" fmla="*/ 657 w 715"/>
                <a:gd name="T67" fmla="*/ 174 h 698"/>
                <a:gd name="T68" fmla="*/ 608 w 715"/>
                <a:gd name="T69" fmla="*/ 187 h 698"/>
                <a:gd name="T70" fmla="*/ 569 w 715"/>
                <a:gd name="T71" fmla="*/ 180 h 698"/>
                <a:gd name="T72" fmla="*/ 546 w 715"/>
                <a:gd name="T73" fmla="*/ 142 h 698"/>
                <a:gd name="T74" fmla="*/ 520 w 715"/>
                <a:gd name="T75" fmla="*/ 138 h 698"/>
                <a:gd name="T76" fmla="*/ 518 w 715"/>
                <a:gd name="T77" fmla="*/ 103 h 698"/>
                <a:gd name="T78" fmla="*/ 505 w 715"/>
                <a:gd name="T79" fmla="*/ 142 h 698"/>
                <a:gd name="T80" fmla="*/ 414 w 715"/>
                <a:gd name="T81" fmla="*/ 88 h 698"/>
                <a:gd name="T82" fmla="*/ 371 w 715"/>
                <a:gd name="T83" fmla="*/ 58 h 698"/>
                <a:gd name="T84" fmla="*/ 335 w 715"/>
                <a:gd name="T85" fmla="*/ 15 h 698"/>
                <a:gd name="T86" fmla="*/ 326 w 715"/>
                <a:gd name="T87" fmla="*/ 60 h 698"/>
                <a:gd name="T88" fmla="*/ 285 w 715"/>
                <a:gd name="T89" fmla="*/ 56 h 698"/>
                <a:gd name="T90" fmla="*/ 244 w 715"/>
                <a:gd name="T91" fmla="*/ 77 h 698"/>
                <a:gd name="T92" fmla="*/ 214 w 715"/>
                <a:gd name="T93" fmla="*/ 71 h 698"/>
                <a:gd name="T94" fmla="*/ 156 w 715"/>
                <a:gd name="T95" fmla="*/ 49 h 698"/>
                <a:gd name="T96" fmla="*/ 142 w 715"/>
                <a:gd name="T97" fmla="*/ 17 h 698"/>
                <a:gd name="T98" fmla="*/ 107 w 715"/>
                <a:gd name="T99" fmla="*/ 0 h 69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715"/>
                <a:gd name="T151" fmla="*/ 0 h 698"/>
                <a:gd name="T152" fmla="*/ 715 w 715"/>
                <a:gd name="T153" fmla="*/ 698 h 69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715" h="698">
                  <a:moveTo>
                    <a:pt x="107" y="0"/>
                  </a:moveTo>
                  <a:lnTo>
                    <a:pt x="94" y="21"/>
                  </a:lnTo>
                  <a:lnTo>
                    <a:pt x="70" y="21"/>
                  </a:lnTo>
                  <a:lnTo>
                    <a:pt x="37" y="13"/>
                  </a:lnTo>
                  <a:lnTo>
                    <a:pt x="0" y="24"/>
                  </a:lnTo>
                  <a:lnTo>
                    <a:pt x="2" y="50"/>
                  </a:lnTo>
                  <a:lnTo>
                    <a:pt x="34" y="86"/>
                  </a:lnTo>
                  <a:lnTo>
                    <a:pt x="34" y="136"/>
                  </a:lnTo>
                  <a:lnTo>
                    <a:pt x="10" y="170"/>
                  </a:lnTo>
                  <a:lnTo>
                    <a:pt x="18" y="201"/>
                  </a:lnTo>
                  <a:lnTo>
                    <a:pt x="65" y="238"/>
                  </a:lnTo>
                  <a:lnTo>
                    <a:pt x="67" y="274"/>
                  </a:lnTo>
                  <a:lnTo>
                    <a:pt x="94" y="329"/>
                  </a:lnTo>
                  <a:lnTo>
                    <a:pt x="88" y="391"/>
                  </a:lnTo>
                  <a:lnTo>
                    <a:pt x="117" y="420"/>
                  </a:lnTo>
                  <a:lnTo>
                    <a:pt x="109" y="488"/>
                  </a:lnTo>
                  <a:lnTo>
                    <a:pt x="107" y="521"/>
                  </a:lnTo>
                  <a:lnTo>
                    <a:pt x="120" y="545"/>
                  </a:lnTo>
                  <a:lnTo>
                    <a:pt x="100" y="608"/>
                  </a:lnTo>
                  <a:lnTo>
                    <a:pt x="101" y="628"/>
                  </a:lnTo>
                  <a:lnTo>
                    <a:pt x="146" y="649"/>
                  </a:lnTo>
                  <a:lnTo>
                    <a:pt x="177" y="683"/>
                  </a:lnTo>
                  <a:lnTo>
                    <a:pt x="205" y="667"/>
                  </a:lnTo>
                  <a:lnTo>
                    <a:pt x="232" y="652"/>
                  </a:lnTo>
                  <a:lnTo>
                    <a:pt x="237" y="675"/>
                  </a:lnTo>
                  <a:lnTo>
                    <a:pt x="276" y="675"/>
                  </a:lnTo>
                  <a:lnTo>
                    <a:pt x="286" y="654"/>
                  </a:lnTo>
                  <a:lnTo>
                    <a:pt x="310" y="665"/>
                  </a:lnTo>
                  <a:lnTo>
                    <a:pt x="317" y="698"/>
                  </a:lnTo>
                  <a:lnTo>
                    <a:pt x="338" y="693"/>
                  </a:lnTo>
                  <a:lnTo>
                    <a:pt x="388" y="626"/>
                  </a:lnTo>
                  <a:lnTo>
                    <a:pt x="414" y="644"/>
                  </a:lnTo>
                  <a:lnTo>
                    <a:pt x="418" y="652"/>
                  </a:lnTo>
                  <a:lnTo>
                    <a:pt x="459" y="626"/>
                  </a:lnTo>
                  <a:lnTo>
                    <a:pt x="475" y="628"/>
                  </a:lnTo>
                  <a:lnTo>
                    <a:pt x="488" y="660"/>
                  </a:lnTo>
                  <a:lnTo>
                    <a:pt x="513" y="656"/>
                  </a:lnTo>
                  <a:lnTo>
                    <a:pt x="532" y="638"/>
                  </a:lnTo>
                  <a:lnTo>
                    <a:pt x="556" y="638"/>
                  </a:lnTo>
                  <a:lnTo>
                    <a:pt x="575" y="613"/>
                  </a:lnTo>
                  <a:lnTo>
                    <a:pt x="593" y="610"/>
                  </a:lnTo>
                  <a:lnTo>
                    <a:pt x="597" y="596"/>
                  </a:lnTo>
                  <a:lnTo>
                    <a:pt x="638" y="598"/>
                  </a:lnTo>
                  <a:lnTo>
                    <a:pt x="640" y="589"/>
                  </a:lnTo>
                  <a:lnTo>
                    <a:pt x="621" y="572"/>
                  </a:lnTo>
                  <a:lnTo>
                    <a:pt x="621" y="556"/>
                  </a:lnTo>
                  <a:lnTo>
                    <a:pt x="647" y="541"/>
                  </a:lnTo>
                  <a:lnTo>
                    <a:pt x="647" y="529"/>
                  </a:lnTo>
                  <a:lnTo>
                    <a:pt x="623" y="514"/>
                  </a:lnTo>
                  <a:lnTo>
                    <a:pt x="619" y="486"/>
                  </a:lnTo>
                  <a:lnTo>
                    <a:pt x="621" y="460"/>
                  </a:lnTo>
                  <a:lnTo>
                    <a:pt x="605" y="449"/>
                  </a:lnTo>
                  <a:lnTo>
                    <a:pt x="619" y="428"/>
                  </a:lnTo>
                  <a:lnTo>
                    <a:pt x="632" y="421"/>
                  </a:lnTo>
                  <a:lnTo>
                    <a:pt x="642" y="398"/>
                  </a:lnTo>
                  <a:lnTo>
                    <a:pt x="629" y="391"/>
                  </a:lnTo>
                  <a:lnTo>
                    <a:pt x="614" y="368"/>
                  </a:lnTo>
                  <a:lnTo>
                    <a:pt x="632" y="342"/>
                  </a:lnTo>
                  <a:lnTo>
                    <a:pt x="664" y="323"/>
                  </a:lnTo>
                  <a:lnTo>
                    <a:pt x="703" y="323"/>
                  </a:lnTo>
                  <a:lnTo>
                    <a:pt x="703" y="294"/>
                  </a:lnTo>
                  <a:lnTo>
                    <a:pt x="715" y="290"/>
                  </a:lnTo>
                  <a:lnTo>
                    <a:pt x="715" y="279"/>
                  </a:lnTo>
                  <a:lnTo>
                    <a:pt x="698" y="253"/>
                  </a:lnTo>
                  <a:lnTo>
                    <a:pt x="660" y="245"/>
                  </a:lnTo>
                  <a:lnTo>
                    <a:pt x="647" y="223"/>
                  </a:lnTo>
                  <a:lnTo>
                    <a:pt x="653" y="202"/>
                  </a:lnTo>
                  <a:lnTo>
                    <a:pt x="657" y="174"/>
                  </a:lnTo>
                  <a:lnTo>
                    <a:pt x="650" y="159"/>
                  </a:lnTo>
                  <a:lnTo>
                    <a:pt x="608" y="187"/>
                  </a:lnTo>
                  <a:lnTo>
                    <a:pt x="591" y="195"/>
                  </a:lnTo>
                  <a:lnTo>
                    <a:pt x="569" y="180"/>
                  </a:lnTo>
                  <a:lnTo>
                    <a:pt x="571" y="142"/>
                  </a:lnTo>
                  <a:lnTo>
                    <a:pt x="546" y="142"/>
                  </a:lnTo>
                  <a:lnTo>
                    <a:pt x="526" y="156"/>
                  </a:lnTo>
                  <a:lnTo>
                    <a:pt x="520" y="138"/>
                  </a:lnTo>
                  <a:lnTo>
                    <a:pt x="532" y="120"/>
                  </a:lnTo>
                  <a:lnTo>
                    <a:pt x="518" y="103"/>
                  </a:lnTo>
                  <a:lnTo>
                    <a:pt x="503" y="126"/>
                  </a:lnTo>
                  <a:lnTo>
                    <a:pt x="505" y="142"/>
                  </a:lnTo>
                  <a:lnTo>
                    <a:pt x="470" y="141"/>
                  </a:lnTo>
                  <a:lnTo>
                    <a:pt x="414" y="88"/>
                  </a:lnTo>
                  <a:lnTo>
                    <a:pt x="371" y="86"/>
                  </a:lnTo>
                  <a:lnTo>
                    <a:pt x="371" y="58"/>
                  </a:lnTo>
                  <a:lnTo>
                    <a:pt x="341" y="39"/>
                  </a:lnTo>
                  <a:lnTo>
                    <a:pt x="335" y="15"/>
                  </a:lnTo>
                  <a:lnTo>
                    <a:pt x="326" y="13"/>
                  </a:lnTo>
                  <a:lnTo>
                    <a:pt x="326" y="60"/>
                  </a:lnTo>
                  <a:lnTo>
                    <a:pt x="309" y="64"/>
                  </a:lnTo>
                  <a:lnTo>
                    <a:pt x="285" y="56"/>
                  </a:lnTo>
                  <a:lnTo>
                    <a:pt x="259" y="73"/>
                  </a:lnTo>
                  <a:lnTo>
                    <a:pt x="244" y="77"/>
                  </a:lnTo>
                  <a:lnTo>
                    <a:pt x="229" y="64"/>
                  </a:lnTo>
                  <a:lnTo>
                    <a:pt x="214" y="71"/>
                  </a:lnTo>
                  <a:lnTo>
                    <a:pt x="180" y="49"/>
                  </a:lnTo>
                  <a:lnTo>
                    <a:pt x="156" y="49"/>
                  </a:lnTo>
                  <a:lnTo>
                    <a:pt x="139" y="38"/>
                  </a:lnTo>
                  <a:lnTo>
                    <a:pt x="142" y="17"/>
                  </a:lnTo>
                  <a:lnTo>
                    <a:pt x="124" y="0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58</a:t>
              </a:r>
            </a:p>
          </p:txBody>
        </p:sp>
        <p:sp>
          <p:nvSpPr>
            <p:cNvPr id="78" name="FR-71">
              <a:extLst>
                <a:ext uri="{FF2B5EF4-FFF2-40B4-BE49-F238E27FC236}">
                  <a16:creationId xmlns:a16="http://schemas.microsoft.com/office/drawing/2014/main" id="{DFE50338-14F3-48CB-8078-F7140B6115D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859383" y="4643634"/>
              <a:ext cx="432403" cy="330436"/>
            </a:xfrm>
            <a:custGeom>
              <a:avLst/>
              <a:gdLst>
                <a:gd name="T0" fmla="*/ 285 w 936"/>
                <a:gd name="T1" fmla="*/ 2 h 750"/>
                <a:gd name="T2" fmla="*/ 214 w 936"/>
                <a:gd name="T3" fmla="*/ 21 h 750"/>
                <a:gd name="T4" fmla="*/ 211 w 936"/>
                <a:gd name="T5" fmla="*/ 70 h 750"/>
                <a:gd name="T6" fmla="*/ 214 w 936"/>
                <a:gd name="T7" fmla="*/ 100 h 750"/>
                <a:gd name="T8" fmla="*/ 187 w 936"/>
                <a:gd name="T9" fmla="*/ 128 h 750"/>
                <a:gd name="T10" fmla="*/ 201 w 936"/>
                <a:gd name="T11" fmla="*/ 165 h 750"/>
                <a:gd name="T12" fmla="*/ 229 w 936"/>
                <a:gd name="T13" fmla="*/ 208 h 750"/>
                <a:gd name="T14" fmla="*/ 203 w 936"/>
                <a:gd name="T15" fmla="*/ 235 h 750"/>
                <a:gd name="T16" fmla="*/ 222 w 936"/>
                <a:gd name="T17" fmla="*/ 268 h 750"/>
                <a:gd name="T18" fmla="*/ 179 w 936"/>
                <a:gd name="T19" fmla="*/ 275 h 750"/>
                <a:gd name="T20" fmla="*/ 157 w 936"/>
                <a:gd name="T21" fmla="*/ 292 h 750"/>
                <a:gd name="T22" fmla="*/ 114 w 936"/>
                <a:gd name="T23" fmla="*/ 317 h 750"/>
                <a:gd name="T24" fmla="*/ 70 w 936"/>
                <a:gd name="T25" fmla="*/ 339 h 750"/>
                <a:gd name="T26" fmla="*/ 41 w 936"/>
                <a:gd name="T27" fmla="*/ 305 h 750"/>
                <a:gd name="T28" fmla="*/ 48 w 936"/>
                <a:gd name="T29" fmla="*/ 422 h 750"/>
                <a:gd name="T30" fmla="*/ 61 w 936"/>
                <a:gd name="T31" fmla="*/ 477 h 750"/>
                <a:gd name="T32" fmla="*/ 121 w 936"/>
                <a:gd name="T33" fmla="*/ 497 h 750"/>
                <a:gd name="T34" fmla="*/ 181 w 936"/>
                <a:gd name="T35" fmla="*/ 523 h 750"/>
                <a:gd name="T36" fmla="*/ 124 w 936"/>
                <a:gd name="T37" fmla="*/ 667 h 750"/>
                <a:gd name="T38" fmla="*/ 126 w 936"/>
                <a:gd name="T39" fmla="*/ 669 h 750"/>
                <a:gd name="T40" fmla="*/ 137 w 936"/>
                <a:gd name="T41" fmla="*/ 713 h 750"/>
                <a:gd name="T42" fmla="*/ 181 w 936"/>
                <a:gd name="T43" fmla="*/ 740 h 750"/>
                <a:gd name="T44" fmla="*/ 233 w 936"/>
                <a:gd name="T45" fmla="*/ 721 h 750"/>
                <a:gd name="T46" fmla="*/ 332 w 936"/>
                <a:gd name="T47" fmla="*/ 750 h 750"/>
                <a:gd name="T48" fmla="*/ 382 w 936"/>
                <a:gd name="T49" fmla="*/ 729 h 750"/>
                <a:gd name="T50" fmla="*/ 407 w 936"/>
                <a:gd name="T51" fmla="*/ 638 h 750"/>
                <a:gd name="T52" fmla="*/ 465 w 936"/>
                <a:gd name="T53" fmla="*/ 659 h 750"/>
                <a:gd name="T54" fmla="*/ 504 w 936"/>
                <a:gd name="T55" fmla="*/ 659 h 750"/>
                <a:gd name="T56" fmla="*/ 556 w 936"/>
                <a:gd name="T57" fmla="*/ 633 h 750"/>
                <a:gd name="T58" fmla="*/ 579 w 936"/>
                <a:gd name="T59" fmla="*/ 727 h 750"/>
                <a:gd name="T60" fmla="*/ 613 w 936"/>
                <a:gd name="T61" fmla="*/ 692 h 750"/>
                <a:gd name="T62" fmla="*/ 681 w 936"/>
                <a:gd name="T63" fmla="*/ 466 h 750"/>
                <a:gd name="T64" fmla="*/ 738 w 936"/>
                <a:gd name="T65" fmla="*/ 487 h 750"/>
                <a:gd name="T66" fmla="*/ 785 w 936"/>
                <a:gd name="T67" fmla="*/ 463 h 750"/>
                <a:gd name="T68" fmla="*/ 827 w 936"/>
                <a:gd name="T69" fmla="*/ 502 h 750"/>
                <a:gd name="T70" fmla="*/ 910 w 936"/>
                <a:gd name="T71" fmla="*/ 500 h 750"/>
                <a:gd name="T72" fmla="*/ 926 w 936"/>
                <a:gd name="T73" fmla="*/ 463 h 750"/>
                <a:gd name="T74" fmla="*/ 892 w 936"/>
                <a:gd name="T75" fmla="*/ 417 h 750"/>
                <a:gd name="T76" fmla="*/ 928 w 936"/>
                <a:gd name="T77" fmla="*/ 354 h 750"/>
                <a:gd name="T78" fmla="*/ 889 w 936"/>
                <a:gd name="T79" fmla="*/ 292 h 750"/>
                <a:gd name="T80" fmla="*/ 897 w 936"/>
                <a:gd name="T81" fmla="*/ 258 h 750"/>
                <a:gd name="T82" fmla="*/ 871 w 936"/>
                <a:gd name="T83" fmla="*/ 224 h 750"/>
                <a:gd name="T84" fmla="*/ 936 w 936"/>
                <a:gd name="T85" fmla="*/ 195 h 750"/>
                <a:gd name="T86" fmla="*/ 902 w 936"/>
                <a:gd name="T87" fmla="*/ 177 h 750"/>
                <a:gd name="T88" fmla="*/ 850 w 936"/>
                <a:gd name="T89" fmla="*/ 138 h 750"/>
                <a:gd name="T90" fmla="*/ 832 w 936"/>
                <a:gd name="T91" fmla="*/ 104 h 750"/>
                <a:gd name="T92" fmla="*/ 779 w 936"/>
                <a:gd name="T93" fmla="*/ 122 h 750"/>
                <a:gd name="T94" fmla="*/ 729 w 936"/>
                <a:gd name="T95" fmla="*/ 117 h 750"/>
                <a:gd name="T96" fmla="*/ 695 w 936"/>
                <a:gd name="T97" fmla="*/ 126 h 750"/>
                <a:gd name="T98" fmla="*/ 617 w 936"/>
                <a:gd name="T99" fmla="*/ 147 h 750"/>
                <a:gd name="T100" fmla="*/ 508 w 936"/>
                <a:gd name="T101" fmla="*/ 150 h 750"/>
                <a:gd name="T102" fmla="*/ 471 w 936"/>
                <a:gd name="T103" fmla="*/ 111 h 750"/>
                <a:gd name="T104" fmla="*/ 390 w 936"/>
                <a:gd name="T105" fmla="*/ 51 h 750"/>
                <a:gd name="T106" fmla="*/ 287 w 936"/>
                <a:gd name="T107" fmla="*/ 1 h 7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936"/>
                <a:gd name="T163" fmla="*/ 0 h 750"/>
                <a:gd name="T164" fmla="*/ 936 w 936"/>
                <a:gd name="T165" fmla="*/ 750 h 7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936" h="750">
                  <a:moveTo>
                    <a:pt x="285" y="0"/>
                  </a:moveTo>
                  <a:lnTo>
                    <a:pt x="285" y="2"/>
                  </a:lnTo>
                  <a:lnTo>
                    <a:pt x="246" y="2"/>
                  </a:lnTo>
                  <a:lnTo>
                    <a:pt x="214" y="21"/>
                  </a:lnTo>
                  <a:lnTo>
                    <a:pt x="196" y="47"/>
                  </a:lnTo>
                  <a:lnTo>
                    <a:pt x="211" y="70"/>
                  </a:lnTo>
                  <a:lnTo>
                    <a:pt x="224" y="77"/>
                  </a:lnTo>
                  <a:lnTo>
                    <a:pt x="214" y="100"/>
                  </a:lnTo>
                  <a:lnTo>
                    <a:pt x="201" y="107"/>
                  </a:lnTo>
                  <a:lnTo>
                    <a:pt x="187" y="128"/>
                  </a:lnTo>
                  <a:lnTo>
                    <a:pt x="203" y="139"/>
                  </a:lnTo>
                  <a:lnTo>
                    <a:pt x="201" y="165"/>
                  </a:lnTo>
                  <a:lnTo>
                    <a:pt x="205" y="193"/>
                  </a:lnTo>
                  <a:lnTo>
                    <a:pt x="229" y="208"/>
                  </a:lnTo>
                  <a:lnTo>
                    <a:pt x="229" y="220"/>
                  </a:lnTo>
                  <a:lnTo>
                    <a:pt x="203" y="235"/>
                  </a:lnTo>
                  <a:lnTo>
                    <a:pt x="203" y="251"/>
                  </a:lnTo>
                  <a:lnTo>
                    <a:pt x="222" y="268"/>
                  </a:lnTo>
                  <a:lnTo>
                    <a:pt x="220" y="277"/>
                  </a:lnTo>
                  <a:lnTo>
                    <a:pt x="179" y="275"/>
                  </a:lnTo>
                  <a:lnTo>
                    <a:pt x="175" y="289"/>
                  </a:lnTo>
                  <a:lnTo>
                    <a:pt x="157" y="292"/>
                  </a:lnTo>
                  <a:lnTo>
                    <a:pt x="138" y="317"/>
                  </a:lnTo>
                  <a:lnTo>
                    <a:pt x="114" y="317"/>
                  </a:lnTo>
                  <a:lnTo>
                    <a:pt x="95" y="335"/>
                  </a:lnTo>
                  <a:lnTo>
                    <a:pt x="70" y="339"/>
                  </a:lnTo>
                  <a:lnTo>
                    <a:pt x="57" y="307"/>
                  </a:lnTo>
                  <a:lnTo>
                    <a:pt x="41" y="305"/>
                  </a:lnTo>
                  <a:lnTo>
                    <a:pt x="0" y="331"/>
                  </a:lnTo>
                  <a:lnTo>
                    <a:pt x="48" y="422"/>
                  </a:lnTo>
                  <a:lnTo>
                    <a:pt x="48" y="461"/>
                  </a:lnTo>
                  <a:lnTo>
                    <a:pt x="61" y="477"/>
                  </a:lnTo>
                  <a:lnTo>
                    <a:pt x="105" y="477"/>
                  </a:lnTo>
                  <a:lnTo>
                    <a:pt x="121" y="497"/>
                  </a:lnTo>
                  <a:lnTo>
                    <a:pt x="162" y="497"/>
                  </a:lnTo>
                  <a:lnTo>
                    <a:pt x="181" y="523"/>
                  </a:lnTo>
                  <a:lnTo>
                    <a:pt x="178" y="625"/>
                  </a:lnTo>
                  <a:lnTo>
                    <a:pt x="124" y="667"/>
                  </a:lnTo>
                  <a:lnTo>
                    <a:pt x="122" y="670"/>
                  </a:lnTo>
                  <a:lnTo>
                    <a:pt x="126" y="669"/>
                  </a:lnTo>
                  <a:lnTo>
                    <a:pt x="134" y="672"/>
                  </a:lnTo>
                  <a:lnTo>
                    <a:pt x="137" y="713"/>
                  </a:lnTo>
                  <a:lnTo>
                    <a:pt x="176" y="721"/>
                  </a:lnTo>
                  <a:lnTo>
                    <a:pt x="181" y="740"/>
                  </a:lnTo>
                  <a:lnTo>
                    <a:pt x="202" y="740"/>
                  </a:lnTo>
                  <a:lnTo>
                    <a:pt x="233" y="721"/>
                  </a:lnTo>
                  <a:lnTo>
                    <a:pt x="316" y="734"/>
                  </a:lnTo>
                  <a:lnTo>
                    <a:pt x="332" y="750"/>
                  </a:lnTo>
                  <a:lnTo>
                    <a:pt x="353" y="729"/>
                  </a:lnTo>
                  <a:lnTo>
                    <a:pt x="382" y="729"/>
                  </a:lnTo>
                  <a:lnTo>
                    <a:pt x="397" y="646"/>
                  </a:lnTo>
                  <a:lnTo>
                    <a:pt x="407" y="638"/>
                  </a:lnTo>
                  <a:lnTo>
                    <a:pt x="433" y="638"/>
                  </a:lnTo>
                  <a:lnTo>
                    <a:pt x="465" y="659"/>
                  </a:lnTo>
                  <a:lnTo>
                    <a:pt x="488" y="638"/>
                  </a:lnTo>
                  <a:lnTo>
                    <a:pt x="504" y="659"/>
                  </a:lnTo>
                  <a:lnTo>
                    <a:pt x="527" y="635"/>
                  </a:lnTo>
                  <a:lnTo>
                    <a:pt x="556" y="633"/>
                  </a:lnTo>
                  <a:lnTo>
                    <a:pt x="569" y="675"/>
                  </a:lnTo>
                  <a:lnTo>
                    <a:pt x="579" y="727"/>
                  </a:lnTo>
                  <a:lnTo>
                    <a:pt x="597" y="729"/>
                  </a:lnTo>
                  <a:lnTo>
                    <a:pt x="613" y="692"/>
                  </a:lnTo>
                  <a:lnTo>
                    <a:pt x="662" y="500"/>
                  </a:lnTo>
                  <a:lnTo>
                    <a:pt x="681" y="466"/>
                  </a:lnTo>
                  <a:lnTo>
                    <a:pt x="709" y="463"/>
                  </a:lnTo>
                  <a:lnTo>
                    <a:pt x="738" y="487"/>
                  </a:lnTo>
                  <a:lnTo>
                    <a:pt x="759" y="482"/>
                  </a:lnTo>
                  <a:lnTo>
                    <a:pt x="785" y="463"/>
                  </a:lnTo>
                  <a:lnTo>
                    <a:pt x="811" y="469"/>
                  </a:lnTo>
                  <a:lnTo>
                    <a:pt x="827" y="502"/>
                  </a:lnTo>
                  <a:lnTo>
                    <a:pt x="842" y="508"/>
                  </a:lnTo>
                  <a:lnTo>
                    <a:pt x="910" y="500"/>
                  </a:lnTo>
                  <a:lnTo>
                    <a:pt x="936" y="479"/>
                  </a:lnTo>
                  <a:lnTo>
                    <a:pt x="926" y="463"/>
                  </a:lnTo>
                  <a:lnTo>
                    <a:pt x="894" y="453"/>
                  </a:lnTo>
                  <a:lnTo>
                    <a:pt x="892" y="417"/>
                  </a:lnTo>
                  <a:lnTo>
                    <a:pt x="918" y="398"/>
                  </a:lnTo>
                  <a:lnTo>
                    <a:pt x="928" y="354"/>
                  </a:lnTo>
                  <a:lnTo>
                    <a:pt x="905" y="312"/>
                  </a:lnTo>
                  <a:lnTo>
                    <a:pt x="889" y="292"/>
                  </a:lnTo>
                  <a:lnTo>
                    <a:pt x="897" y="284"/>
                  </a:lnTo>
                  <a:lnTo>
                    <a:pt x="897" y="258"/>
                  </a:lnTo>
                  <a:lnTo>
                    <a:pt x="876" y="245"/>
                  </a:lnTo>
                  <a:lnTo>
                    <a:pt x="871" y="224"/>
                  </a:lnTo>
                  <a:lnTo>
                    <a:pt x="931" y="216"/>
                  </a:lnTo>
                  <a:lnTo>
                    <a:pt x="936" y="195"/>
                  </a:lnTo>
                  <a:lnTo>
                    <a:pt x="918" y="195"/>
                  </a:lnTo>
                  <a:lnTo>
                    <a:pt x="902" y="177"/>
                  </a:lnTo>
                  <a:lnTo>
                    <a:pt x="874" y="177"/>
                  </a:lnTo>
                  <a:lnTo>
                    <a:pt x="850" y="138"/>
                  </a:lnTo>
                  <a:lnTo>
                    <a:pt x="829" y="135"/>
                  </a:lnTo>
                  <a:lnTo>
                    <a:pt x="832" y="104"/>
                  </a:lnTo>
                  <a:lnTo>
                    <a:pt x="809" y="102"/>
                  </a:lnTo>
                  <a:lnTo>
                    <a:pt x="779" y="122"/>
                  </a:lnTo>
                  <a:lnTo>
                    <a:pt x="749" y="130"/>
                  </a:lnTo>
                  <a:lnTo>
                    <a:pt x="729" y="117"/>
                  </a:lnTo>
                  <a:lnTo>
                    <a:pt x="702" y="115"/>
                  </a:lnTo>
                  <a:lnTo>
                    <a:pt x="695" y="126"/>
                  </a:lnTo>
                  <a:lnTo>
                    <a:pt x="671" y="130"/>
                  </a:lnTo>
                  <a:lnTo>
                    <a:pt x="617" y="147"/>
                  </a:lnTo>
                  <a:lnTo>
                    <a:pt x="538" y="175"/>
                  </a:lnTo>
                  <a:lnTo>
                    <a:pt x="508" y="150"/>
                  </a:lnTo>
                  <a:lnTo>
                    <a:pt x="472" y="143"/>
                  </a:lnTo>
                  <a:lnTo>
                    <a:pt x="471" y="111"/>
                  </a:lnTo>
                  <a:lnTo>
                    <a:pt x="437" y="87"/>
                  </a:lnTo>
                  <a:lnTo>
                    <a:pt x="390" y="51"/>
                  </a:lnTo>
                  <a:lnTo>
                    <a:pt x="338" y="53"/>
                  </a:lnTo>
                  <a:lnTo>
                    <a:pt x="287" y="1"/>
                  </a:lnTo>
                  <a:lnTo>
                    <a:pt x="285" y="0"/>
                  </a:lnTo>
                  <a:close/>
                </a:path>
              </a:pathLst>
            </a:custGeom>
            <a:solidFill>
              <a:srgbClr val="0063AC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solidFill>
                    <a:schemeClr val="bg1"/>
                  </a:solidFill>
                  <a:latin typeface="+mj-lt"/>
                </a:rPr>
                <a:t>71</a:t>
              </a:r>
            </a:p>
          </p:txBody>
        </p:sp>
        <p:sp>
          <p:nvSpPr>
            <p:cNvPr id="79" name="FR-39">
              <a:extLst>
                <a:ext uri="{FF2B5EF4-FFF2-40B4-BE49-F238E27FC236}">
                  <a16:creationId xmlns:a16="http://schemas.microsoft.com/office/drawing/2014/main" id="{E006525B-A219-4D49-862D-0F692C0A624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242356" y="4582834"/>
              <a:ext cx="230061" cy="345416"/>
            </a:xfrm>
            <a:custGeom>
              <a:avLst/>
              <a:gdLst>
                <a:gd name="T0" fmla="*/ 120 w 498"/>
                <a:gd name="T1" fmla="*/ 8 h 784"/>
                <a:gd name="T2" fmla="*/ 104 w 498"/>
                <a:gd name="T3" fmla="*/ 49 h 784"/>
                <a:gd name="T4" fmla="*/ 102 w 498"/>
                <a:gd name="T5" fmla="*/ 96 h 784"/>
                <a:gd name="T6" fmla="*/ 70 w 498"/>
                <a:gd name="T7" fmla="*/ 138 h 784"/>
                <a:gd name="T8" fmla="*/ 26 w 498"/>
                <a:gd name="T9" fmla="*/ 180 h 784"/>
                <a:gd name="T10" fmla="*/ 18 w 498"/>
                <a:gd name="T11" fmla="*/ 216 h 784"/>
                <a:gd name="T12" fmla="*/ 3 w 498"/>
                <a:gd name="T13" fmla="*/ 240 h 784"/>
                <a:gd name="T14" fmla="*/ 21 w 498"/>
                <a:gd name="T15" fmla="*/ 276 h 784"/>
                <a:gd name="T16" fmla="*/ 73 w 498"/>
                <a:gd name="T17" fmla="*/ 315 h 784"/>
                <a:gd name="T18" fmla="*/ 107 w 498"/>
                <a:gd name="T19" fmla="*/ 333 h 784"/>
                <a:gd name="T20" fmla="*/ 42 w 498"/>
                <a:gd name="T21" fmla="*/ 362 h 784"/>
                <a:gd name="T22" fmla="*/ 68 w 498"/>
                <a:gd name="T23" fmla="*/ 396 h 784"/>
                <a:gd name="T24" fmla="*/ 60 w 498"/>
                <a:gd name="T25" fmla="*/ 430 h 784"/>
                <a:gd name="T26" fmla="*/ 99 w 498"/>
                <a:gd name="T27" fmla="*/ 492 h 784"/>
                <a:gd name="T28" fmla="*/ 63 w 498"/>
                <a:gd name="T29" fmla="*/ 555 h 784"/>
                <a:gd name="T30" fmla="*/ 97 w 498"/>
                <a:gd name="T31" fmla="*/ 601 h 784"/>
                <a:gd name="T32" fmla="*/ 81 w 498"/>
                <a:gd name="T33" fmla="*/ 638 h 784"/>
                <a:gd name="T34" fmla="*/ 45 w 498"/>
                <a:gd name="T35" fmla="*/ 659 h 784"/>
                <a:gd name="T36" fmla="*/ 130 w 498"/>
                <a:gd name="T37" fmla="*/ 747 h 784"/>
                <a:gd name="T38" fmla="*/ 170 w 498"/>
                <a:gd name="T39" fmla="*/ 778 h 784"/>
                <a:gd name="T40" fmla="*/ 261 w 498"/>
                <a:gd name="T41" fmla="*/ 745 h 784"/>
                <a:gd name="T42" fmla="*/ 336 w 498"/>
                <a:gd name="T43" fmla="*/ 776 h 784"/>
                <a:gd name="T44" fmla="*/ 440 w 498"/>
                <a:gd name="T45" fmla="*/ 654 h 784"/>
                <a:gd name="T46" fmla="*/ 484 w 498"/>
                <a:gd name="T47" fmla="*/ 553 h 784"/>
                <a:gd name="T48" fmla="*/ 460 w 498"/>
                <a:gd name="T49" fmla="*/ 527 h 784"/>
                <a:gd name="T50" fmla="*/ 427 w 498"/>
                <a:gd name="T51" fmla="*/ 505 h 784"/>
                <a:gd name="T52" fmla="*/ 442 w 498"/>
                <a:gd name="T53" fmla="*/ 464 h 784"/>
                <a:gd name="T54" fmla="*/ 477 w 498"/>
                <a:gd name="T55" fmla="*/ 423 h 784"/>
                <a:gd name="T56" fmla="*/ 498 w 498"/>
                <a:gd name="T57" fmla="*/ 369 h 784"/>
                <a:gd name="T58" fmla="*/ 434 w 498"/>
                <a:gd name="T59" fmla="*/ 326 h 784"/>
                <a:gd name="T60" fmla="*/ 376 w 498"/>
                <a:gd name="T61" fmla="*/ 255 h 784"/>
                <a:gd name="T62" fmla="*/ 326 w 498"/>
                <a:gd name="T63" fmla="*/ 219 h 784"/>
                <a:gd name="T64" fmla="*/ 264 w 498"/>
                <a:gd name="T65" fmla="*/ 169 h 784"/>
                <a:gd name="T66" fmla="*/ 287 w 498"/>
                <a:gd name="T67" fmla="*/ 103 h 784"/>
                <a:gd name="T68" fmla="*/ 234 w 498"/>
                <a:gd name="T69" fmla="*/ 56 h 784"/>
                <a:gd name="T70" fmla="*/ 231 w 498"/>
                <a:gd name="T71" fmla="*/ 13 h 784"/>
                <a:gd name="T72" fmla="*/ 195 w 498"/>
                <a:gd name="T73" fmla="*/ 25 h 784"/>
                <a:gd name="T74" fmla="*/ 139 w 498"/>
                <a:gd name="T75" fmla="*/ 6 h 78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98"/>
                <a:gd name="T115" fmla="*/ 0 h 784"/>
                <a:gd name="T116" fmla="*/ 498 w 498"/>
                <a:gd name="T117" fmla="*/ 784 h 784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98" h="784">
                  <a:moveTo>
                    <a:pt x="119" y="0"/>
                  </a:moveTo>
                  <a:lnTo>
                    <a:pt x="120" y="8"/>
                  </a:lnTo>
                  <a:lnTo>
                    <a:pt x="110" y="8"/>
                  </a:lnTo>
                  <a:lnTo>
                    <a:pt x="104" y="49"/>
                  </a:lnTo>
                  <a:lnTo>
                    <a:pt x="97" y="78"/>
                  </a:lnTo>
                  <a:lnTo>
                    <a:pt x="102" y="96"/>
                  </a:lnTo>
                  <a:lnTo>
                    <a:pt x="86" y="117"/>
                  </a:lnTo>
                  <a:lnTo>
                    <a:pt x="70" y="138"/>
                  </a:lnTo>
                  <a:lnTo>
                    <a:pt x="70" y="159"/>
                  </a:lnTo>
                  <a:lnTo>
                    <a:pt x="26" y="180"/>
                  </a:lnTo>
                  <a:lnTo>
                    <a:pt x="13" y="200"/>
                  </a:lnTo>
                  <a:lnTo>
                    <a:pt x="18" y="216"/>
                  </a:lnTo>
                  <a:lnTo>
                    <a:pt x="21" y="229"/>
                  </a:lnTo>
                  <a:lnTo>
                    <a:pt x="3" y="240"/>
                  </a:lnTo>
                  <a:lnTo>
                    <a:pt x="0" y="273"/>
                  </a:lnTo>
                  <a:lnTo>
                    <a:pt x="21" y="276"/>
                  </a:lnTo>
                  <a:lnTo>
                    <a:pt x="45" y="315"/>
                  </a:lnTo>
                  <a:lnTo>
                    <a:pt x="73" y="315"/>
                  </a:lnTo>
                  <a:lnTo>
                    <a:pt x="89" y="333"/>
                  </a:lnTo>
                  <a:lnTo>
                    <a:pt x="107" y="333"/>
                  </a:lnTo>
                  <a:lnTo>
                    <a:pt x="102" y="354"/>
                  </a:lnTo>
                  <a:lnTo>
                    <a:pt x="42" y="362"/>
                  </a:lnTo>
                  <a:lnTo>
                    <a:pt x="47" y="383"/>
                  </a:lnTo>
                  <a:lnTo>
                    <a:pt x="68" y="396"/>
                  </a:lnTo>
                  <a:lnTo>
                    <a:pt x="68" y="422"/>
                  </a:lnTo>
                  <a:lnTo>
                    <a:pt x="60" y="430"/>
                  </a:lnTo>
                  <a:lnTo>
                    <a:pt x="76" y="450"/>
                  </a:lnTo>
                  <a:lnTo>
                    <a:pt x="99" y="492"/>
                  </a:lnTo>
                  <a:lnTo>
                    <a:pt x="89" y="536"/>
                  </a:lnTo>
                  <a:lnTo>
                    <a:pt x="63" y="555"/>
                  </a:lnTo>
                  <a:lnTo>
                    <a:pt x="65" y="591"/>
                  </a:lnTo>
                  <a:lnTo>
                    <a:pt x="97" y="601"/>
                  </a:lnTo>
                  <a:lnTo>
                    <a:pt x="107" y="617"/>
                  </a:lnTo>
                  <a:lnTo>
                    <a:pt x="81" y="638"/>
                  </a:lnTo>
                  <a:lnTo>
                    <a:pt x="13" y="646"/>
                  </a:lnTo>
                  <a:lnTo>
                    <a:pt x="45" y="659"/>
                  </a:lnTo>
                  <a:lnTo>
                    <a:pt x="97" y="732"/>
                  </a:lnTo>
                  <a:lnTo>
                    <a:pt x="130" y="747"/>
                  </a:lnTo>
                  <a:lnTo>
                    <a:pt x="130" y="784"/>
                  </a:lnTo>
                  <a:lnTo>
                    <a:pt x="170" y="778"/>
                  </a:lnTo>
                  <a:lnTo>
                    <a:pt x="219" y="724"/>
                  </a:lnTo>
                  <a:lnTo>
                    <a:pt x="261" y="745"/>
                  </a:lnTo>
                  <a:lnTo>
                    <a:pt x="261" y="776"/>
                  </a:lnTo>
                  <a:lnTo>
                    <a:pt x="336" y="776"/>
                  </a:lnTo>
                  <a:lnTo>
                    <a:pt x="445" y="657"/>
                  </a:lnTo>
                  <a:lnTo>
                    <a:pt x="440" y="654"/>
                  </a:lnTo>
                  <a:lnTo>
                    <a:pt x="445" y="600"/>
                  </a:lnTo>
                  <a:lnTo>
                    <a:pt x="484" y="553"/>
                  </a:lnTo>
                  <a:lnTo>
                    <a:pt x="458" y="543"/>
                  </a:lnTo>
                  <a:lnTo>
                    <a:pt x="460" y="527"/>
                  </a:lnTo>
                  <a:lnTo>
                    <a:pt x="429" y="524"/>
                  </a:lnTo>
                  <a:lnTo>
                    <a:pt x="427" y="505"/>
                  </a:lnTo>
                  <a:lnTo>
                    <a:pt x="447" y="485"/>
                  </a:lnTo>
                  <a:lnTo>
                    <a:pt x="442" y="464"/>
                  </a:lnTo>
                  <a:lnTo>
                    <a:pt x="430" y="438"/>
                  </a:lnTo>
                  <a:lnTo>
                    <a:pt x="477" y="423"/>
                  </a:lnTo>
                  <a:lnTo>
                    <a:pt x="494" y="399"/>
                  </a:lnTo>
                  <a:lnTo>
                    <a:pt x="498" y="369"/>
                  </a:lnTo>
                  <a:lnTo>
                    <a:pt x="460" y="333"/>
                  </a:lnTo>
                  <a:lnTo>
                    <a:pt x="434" y="326"/>
                  </a:lnTo>
                  <a:lnTo>
                    <a:pt x="376" y="307"/>
                  </a:lnTo>
                  <a:lnTo>
                    <a:pt x="376" y="255"/>
                  </a:lnTo>
                  <a:lnTo>
                    <a:pt x="373" y="215"/>
                  </a:lnTo>
                  <a:lnTo>
                    <a:pt x="326" y="219"/>
                  </a:lnTo>
                  <a:lnTo>
                    <a:pt x="253" y="195"/>
                  </a:lnTo>
                  <a:lnTo>
                    <a:pt x="264" y="169"/>
                  </a:lnTo>
                  <a:lnTo>
                    <a:pt x="281" y="129"/>
                  </a:lnTo>
                  <a:lnTo>
                    <a:pt x="287" y="103"/>
                  </a:lnTo>
                  <a:lnTo>
                    <a:pt x="268" y="79"/>
                  </a:lnTo>
                  <a:lnTo>
                    <a:pt x="234" y="56"/>
                  </a:lnTo>
                  <a:lnTo>
                    <a:pt x="230" y="28"/>
                  </a:lnTo>
                  <a:lnTo>
                    <a:pt x="231" y="13"/>
                  </a:lnTo>
                  <a:lnTo>
                    <a:pt x="208" y="12"/>
                  </a:lnTo>
                  <a:lnTo>
                    <a:pt x="195" y="25"/>
                  </a:lnTo>
                  <a:lnTo>
                    <a:pt x="161" y="25"/>
                  </a:lnTo>
                  <a:lnTo>
                    <a:pt x="139" y="6"/>
                  </a:lnTo>
                  <a:lnTo>
                    <a:pt x="119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39</a:t>
              </a:r>
            </a:p>
          </p:txBody>
        </p:sp>
        <p:sp>
          <p:nvSpPr>
            <p:cNvPr id="80" name="FR-51">
              <a:extLst>
                <a:ext uri="{FF2B5EF4-FFF2-40B4-BE49-F238E27FC236}">
                  <a16:creationId xmlns:a16="http://schemas.microsoft.com/office/drawing/2014/main" id="{5189933C-8617-4942-9AC5-E16990EFDBE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792397" y="3888477"/>
              <a:ext cx="374195" cy="288581"/>
            </a:xfrm>
            <a:custGeom>
              <a:avLst/>
              <a:gdLst>
                <a:gd name="T0" fmla="*/ 211 w 810"/>
                <a:gd name="T1" fmla="*/ 14 h 655"/>
                <a:gd name="T2" fmla="*/ 162 w 810"/>
                <a:gd name="T3" fmla="*/ 39 h 655"/>
                <a:gd name="T4" fmla="*/ 112 w 810"/>
                <a:gd name="T5" fmla="*/ 146 h 655"/>
                <a:gd name="T6" fmla="*/ 159 w 810"/>
                <a:gd name="T7" fmla="*/ 193 h 655"/>
                <a:gd name="T8" fmla="*/ 92 w 810"/>
                <a:gd name="T9" fmla="*/ 222 h 655"/>
                <a:gd name="T10" fmla="*/ 104 w 810"/>
                <a:gd name="T11" fmla="*/ 253 h 655"/>
                <a:gd name="T12" fmla="*/ 86 w 810"/>
                <a:gd name="T13" fmla="*/ 281 h 655"/>
                <a:gd name="T14" fmla="*/ 133 w 810"/>
                <a:gd name="T15" fmla="*/ 300 h 655"/>
                <a:gd name="T16" fmla="*/ 89 w 810"/>
                <a:gd name="T17" fmla="*/ 370 h 655"/>
                <a:gd name="T18" fmla="*/ 37 w 810"/>
                <a:gd name="T19" fmla="*/ 417 h 655"/>
                <a:gd name="T20" fmla="*/ 27 w 810"/>
                <a:gd name="T21" fmla="*/ 448 h 655"/>
                <a:gd name="T22" fmla="*/ 0 w 810"/>
                <a:gd name="T23" fmla="*/ 498 h 655"/>
                <a:gd name="T24" fmla="*/ 32 w 810"/>
                <a:gd name="T25" fmla="*/ 550 h 655"/>
                <a:gd name="T26" fmla="*/ 27 w 810"/>
                <a:gd name="T27" fmla="*/ 591 h 655"/>
                <a:gd name="T28" fmla="*/ 65 w 810"/>
                <a:gd name="T29" fmla="*/ 602 h 655"/>
                <a:gd name="T30" fmla="*/ 122 w 810"/>
                <a:gd name="T31" fmla="*/ 647 h 655"/>
                <a:gd name="T32" fmla="*/ 259 w 810"/>
                <a:gd name="T33" fmla="*/ 586 h 655"/>
                <a:gd name="T34" fmla="*/ 349 w 810"/>
                <a:gd name="T35" fmla="*/ 554 h 655"/>
                <a:gd name="T36" fmla="*/ 441 w 810"/>
                <a:gd name="T37" fmla="*/ 528 h 655"/>
                <a:gd name="T38" fmla="*/ 494 w 810"/>
                <a:gd name="T39" fmla="*/ 652 h 655"/>
                <a:gd name="T40" fmla="*/ 621 w 810"/>
                <a:gd name="T41" fmla="*/ 636 h 655"/>
                <a:gd name="T42" fmla="*/ 729 w 810"/>
                <a:gd name="T43" fmla="*/ 615 h 655"/>
                <a:gd name="T44" fmla="*/ 799 w 810"/>
                <a:gd name="T45" fmla="*/ 539 h 655"/>
                <a:gd name="T46" fmla="*/ 748 w 810"/>
                <a:gd name="T47" fmla="*/ 459 h 655"/>
                <a:gd name="T48" fmla="*/ 761 w 810"/>
                <a:gd name="T49" fmla="*/ 406 h 655"/>
                <a:gd name="T50" fmla="*/ 761 w 810"/>
                <a:gd name="T51" fmla="*/ 354 h 655"/>
                <a:gd name="T52" fmla="*/ 810 w 810"/>
                <a:gd name="T53" fmla="*/ 276 h 655"/>
                <a:gd name="T54" fmla="*/ 792 w 810"/>
                <a:gd name="T55" fmla="*/ 253 h 655"/>
                <a:gd name="T56" fmla="*/ 756 w 810"/>
                <a:gd name="T57" fmla="*/ 156 h 655"/>
                <a:gd name="T58" fmla="*/ 766 w 810"/>
                <a:gd name="T59" fmla="*/ 133 h 655"/>
                <a:gd name="T60" fmla="*/ 759 w 810"/>
                <a:gd name="T61" fmla="*/ 116 h 655"/>
                <a:gd name="T62" fmla="*/ 708 w 810"/>
                <a:gd name="T63" fmla="*/ 121 h 655"/>
                <a:gd name="T64" fmla="*/ 690 w 810"/>
                <a:gd name="T65" fmla="*/ 108 h 655"/>
                <a:gd name="T66" fmla="*/ 616 w 810"/>
                <a:gd name="T67" fmla="*/ 121 h 655"/>
                <a:gd name="T68" fmla="*/ 582 w 810"/>
                <a:gd name="T69" fmla="*/ 86 h 655"/>
                <a:gd name="T70" fmla="*/ 539 w 810"/>
                <a:gd name="T71" fmla="*/ 94 h 655"/>
                <a:gd name="T72" fmla="*/ 462 w 810"/>
                <a:gd name="T73" fmla="*/ 60 h 655"/>
                <a:gd name="T74" fmla="*/ 423 w 810"/>
                <a:gd name="T75" fmla="*/ 36 h 655"/>
                <a:gd name="T76" fmla="*/ 304 w 810"/>
                <a:gd name="T77" fmla="*/ 0 h 655"/>
                <a:gd name="T78" fmla="*/ 287 w 810"/>
                <a:gd name="T79" fmla="*/ 29 h 655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810"/>
                <a:gd name="T121" fmla="*/ 0 h 655"/>
                <a:gd name="T122" fmla="*/ 810 w 810"/>
                <a:gd name="T123" fmla="*/ 655 h 655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810" h="655">
                  <a:moveTo>
                    <a:pt x="242" y="0"/>
                  </a:moveTo>
                  <a:lnTo>
                    <a:pt x="211" y="14"/>
                  </a:lnTo>
                  <a:lnTo>
                    <a:pt x="217" y="39"/>
                  </a:lnTo>
                  <a:lnTo>
                    <a:pt x="162" y="39"/>
                  </a:lnTo>
                  <a:lnTo>
                    <a:pt x="112" y="76"/>
                  </a:lnTo>
                  <a:lnTo>
                    <a:pt x="112" y="146"/>
                  </a:lnTo>
                  <a:lnTo>
                    <a:pt x="149" y="170"/>
                  </a:lnTo>
                  <a:lnTo>
                    <a:pt x="159" y="193"/>
                  </a:lnTo>
                  <a:lnTo>
                    <a:pt x="99" y="198"/>
                  </a:lnTo>
                  <a:lnTo>
                    <a:pt x="92" y="222"/>
                  </a:lnTo>
                  <a:lnTo>
                    <a:pt x="115" y="237"/>
                  </a:lnTo>
                  <a:lnTo>
                    <a:pt x="104" y="253"/>
                  </a:lnTo>
                  <a:lnTo>
                    <a:pt x="81" y="264"/>
                  </a:lnTo>
                  <a:lnTo>
                    <a:pt x="86" y="281"/>
                  </a:lnTo>
                  <a:lnTo>
                    <a:pt x="120" y="281"/>
                  </a:lnTo>
                  <a:lnTo>
                    <a:pt x="133" y="300"/>
                  </a:lnTo>
                  <a:lnTo>
                    <a:pt x="110" y="316"/>
                  </a:lnTo>
                  <a:lnTo>
                    <a:pt x="89" y="370"/>
                  </a:lnTo>
                  <a:lnTo>
                    <a:pt x="50" y="389"/>
                  </a:lnTo>
                  <a:lnTo>
                    <a:pt x="37" y="417"/>
                  </a:lnTo>
                  <a:lnTo>
                    <a:pt x="24" y="433"/>
                  </a:lnTo>
                  <a:lnTo>
                    <a:pt x="27" y="448"/>
                  </a:lnTo>
                  <a:lnTo>
                    <a:pt x="6" y="461"/>
                  </a:lnTo>
                  <a:lnTo>
                    <a:pt x="0" y="498"/>
                  </a:lnTo>
                  <a:lnTo>
                    <a:pt x="21" y="511"/>
                  </a:lnTo>
                  <a:lnTo>
                    <a:pt x="32" y="550"/>
                  </a:lnTo>
                  <a:lnTo>
                    <a:pt x="19" y="573"/>
                  </a:lnTo>
                  <a:lnTo>
                    <a:pt x="27" y="591"/>
                  </a:lnTo>
                  <a:lnTo>
                    <a:pt x="65" y="589"/>
                  </a:lnTo>
                  <a:lnTo>
                    <a:pt x="65" y="602"/>
                  </a:lnTo>
                  <a:lnTo>
                    <a:pt x="77" y="599"/>
                  </a:lnTo>
                  <a:lnTo>
                    <a:pt x="122" y="647"/>
                  </a:lnTo>
                  <a:lnTo>
                    <a:pt x="185" y="636"/>
                  </a:lnTo>
                  <a:lnTo>
                    <a:pt x="259" y="586"/>
                  </a:lnTo>
                  <a:lnTo>
                    <a:pt x="304" y="586"/>
                  </a:lnTo>
                  <a:lnTo>
                    <a:pt x="349" y="554"/>
                  </a:lnTo>
                  <a:lnTo>
                    <a:pt x="402" y="525"/>
                  </a:lnTo>
                  <a:lnTo>
                    <a:pt x="441" y="528"/>
                  </a:lnTo>
                  <a:lnTo>
                    <a:pt x="447" y="581"/>
                  </a:lnTo>
                  <a:lnTo>
                    <a:pt x="494" y="652"/>
                  </a:lnTo>
                  <a:lnTo>
                    <a:pt x="547" y="652"/>
                  </a:lnTo>
                  <a:lnTo>
                    <a:pt x="621" y="636"/>
                  </a:lnTo>
                  <a:lnTo>
                    <a:pt x="674" y="655"/>
                  </a:lnTo>
                  <a:lnTo>
                    <a:pt x="729" y="615"/>
                  </a:lnTo>
                  <a:lnTo>
                    <a:pt x="737" y="549"/>
                  </a:lnTo>
                  <a:lnTo>
                    <a:pt x="799" y="539"/>
                  </a:lnTo>
                  <a:lnTo>
                    <a:pt x="797" y="498"/>
                  </a:lnTo>
                  <a:lnTo>
                    <a:pt x="748" y="459"/>
                  </a:lnTo>
                  <a:lnTo>
                    <a:pt x="742" y="438"/>
                  </a:lnTo>
                  <a:lnTo>
                    <a:pt x="761" y="406"/>
                  </a:lnTo>
                  <a:lnTo>
                    <a:pt x="745" y="394"/>
                  </a:lnTo>
                  <a:lnTo>
                    <a:pt x="761" y="354"/>
                  </a:lnTo>
                  <a:lnTo>
                    <a:pt x="789" y="341"/>
                  </a:lnTo>
                  <a:lnTo>
                    <a:pt x="810" y="276"/>
                  </a:lnTo>
                  <a:lnTo>
                    <a:pt x="769" y="279"/>
                  </a:lnTo>
                  <a:lnTo>
                    <a:pt x="792" y="253"/>
                  </a:lnTo>
                  <a:lnTo>
                    <a:pt x="774" y="196"/>
                  </a:lnTo>
                  <a:lnTo>
                    <a:pt x="756" y="156"/>
                  </a:lnTo>
                  <a:lnTo>
                    <a:pt x="779" y="136"/>
                  </a:lnTo>
                  <a:lnTo>
                    <a:pt x="766" y="133"/>
                  </a:lnTo>
                  <a:lnTo>
                    <a:pt x="762" y="115"/>
                  </a:lnTo>
                  <a:lnTo>
                    <a:pt x="759" y="116"/>
                  </a:lnTo>
                  <a:lnTo>
                    <a:pt x="735" y="94"/>
                  </a:lnTo>
                  <a:lnTo>
                    <a:pt x="708" y="121"/>
                  </a:lnTo>
                  <a:lnTo>
                    <a:pt x="700" y="121"/>
                  </a:lnTo>
                  <a:lnTo>
                    <a:pt x="690" y="108"/>
                  </a:lnTo>
                  <a:lnTo>
                    <a:pt x="627" y="105"/>
                  </a:lnTo>
                  <a:lnTo>
                    <a:pt x="616" y="121"/>
                  </a:lnTo>
                  <a:lnTo>
                    <a:pt x="597" y="121"/>
                  </a:lnTo>
                  <a:lnTo>
                    <a:pt x="582" y="86"/>
                  </a:lnTo>
                  <a:lnTo>
                    <a:pt x="547" y="86"/>
                  </a:lnTo>
                  <a:lnTo>
                    <a:pt x="539" y="94"/>
                  </a:lnTo>
                  <a:lnTo>
                    <a:pt x="505" y="92"/>
                  </a:lnTo>
                  <a:lnTo>
                    <a:pt x="462" y="60"/>
                  </a:lnTo>
                  <a:lnTo>
                    <a:pt x="433" y="52"/>
                  </a:lnTo>
                  <a:lnTo>
                    <a:pt x="423" y="36"/>
                  </a:lnTo>
                  <a:lnTo>
                    <a:pt x="367" y="2"/>
                  </a:lnTo>
                  <a:lnTo>
                    <a:pt x="304" y="0"/>
                  </a:lnTo>
                  <a:lnTo>
                    <a:pt x="305" y="24"/>
                  </a:lnTo>
                  <a:lnTo>
                    <a:pt x="287" y="2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51</a:t>
              </a:r>
            </a:p>
          </p:txBody>
        </p:sp>
        <p:sp>
          <p:nvSpPr>
            <p:cNvPr id="81" name="FR-60">
              <a:extLst>
                <a:ext uri="{FF2B5EF4-FFF2-40B4-BE49-F238E27FC236}">
                  <a16:creationId xmlns:a16="http://schemas.microsoft.com/office/drawing/2014/main" id="{74EDB3F6-7F51-4292-9E4E-5046FB70C38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97876" y="3776569"/>
              <a:ext cx="333080" cy="231305"/>
            </a:xfrm>
            <a:custGeom>
              <a:avLst/>
              <a:gdLst>
                <a:gd name="T0" fmla="*/ 11 w 721"/>
                <a:gd name="T1" fmla="*/ 20 h 525"/>
                <a:gd name="T2" fmla="*/ 21 w 721"/>
                <a:gd name="T3" fmla="*/ 46 h 525"/>
                <a:gd name="T4" fmla="*/ 0 w 721"/>
                <a:gd name="T5" fmla="*/ 124 h 525"/>
                <a:gd name="T6" fmla="*/ 16 w 721"/>
                <a:gd name="T7" fmla="*/ 195 h 525"/>
                <a:gd name="T8" fmla="*/ 31 w 721"/>
                <a:gd name="T9" fmla="*/ 213 h 525"/>
                <a:gd name="T10" fmla="*/ 6 w 721"/>
                <a:gd name="T11" fmla="*/ 270 h 525"/>
                <a:gd name="T12" fmla="*/ 36 w 721"/>
                <a:gd name="T13" fmla="*/ 351 h 525"/>
                <a:gd name="T14" fmla="*/ 31 w 721"/>
                <a:gd name="T15" fmla="*/ 377 h 525"/>
                <a:gd name="T16" fmla="*/ 4 w 721"/>
                <a:gd name="T17" fmla="*/ 395 h 525"/>
                <a:gd name="T18" fmla="*/ 16 w 721"/>
                <a:gd name="T19" fmla="*/ 416 h 525"/>
                <a:gd name="T20" fmla="*/ 102 w 721"/>
                <a:gd name="T21" fmla="*/ 447 h 525"/>
                <a:gd name="T22" fmla="*/ 185 w 721"/>
                <a:gd name="T23" fmla="*/ 416 h 525"/>
                <a:gd name="T24" fmla="*/ 248 w 721"/>
                <a:gd name="T25" fmla="*/ 458 h 525"/>
                <a:gd name="T26" fmla="*/ 307 w 721"/>
                <a:gd name="T27" fmla="*/ 437 h 525"/>
                <a:gd name="T28" fmla="*/ 419 w 721"/>
                <a:gd name="T29" fmla="*/ 499 h 525"/>
                <a:gd name="T30" fmla="*/ 469 w 721"/>
                <a:gd name="T31" fmla="*/ 497 h 525"/>
                <a:gd name="T32" fmla="*/ 511 w 721"/>
                <a:gd name="T33" fmla="*/ 525 h 525"/>
                <a:gd name="T34" fmla="*/ 550 w 721"/>
                <a:gd name="T35" fmla="*/ 502 h 525"/>
                <a:gd name="T36" fmla="*/ 631 w 721"/>
                <a:gd name="T37" fmla="*/ 504 h 525"/>
                <a:gd name="T38" fmla="*/ 682 w 721"/>
                <a:gd name="T39" fmla="*/ 491 h 525"/>
                <a:gd name="T40" fmla="*/ 703 w 721"/>
                <a:gd name="T41" fmla="*/ 487 h 525"/>
                <a:gd name="T42" fmla="*/ 690 w 721"/>
                <a:gd name="T43" fmla="*/ 430 h 525"/>
                <a:gd name="T44" fmla="*/ 645 w 721"/>
                <a:gd name="T45" fmla="*/ 430 h 525"/>
                <a:gd name="T46" fmla="*/ 634 w 721"/>
                <a:gd name="T47" fmla="*/ 393 h 525"/>
                <a:gd name="T48" fmla="*/ 653 w 721"/>
                <a:gd name="T49" fmla="*/ 351 h 525"/>
                <a:gd name="T50" fmla="*/ 637 w 721"/>
                <a:gd name="T51" fmla="*/ 319 h 525"/>
                <a:gd name="T52" fmla="*/ 698 w 721"/>
                <a:gd name="T53" fmla="*/ 245 h 525"/>
                <a:gd name="T54" fmla="*/ 690 w 721"/>
                <a:gd name="T55" fmla="*/ 211 h 525"/>
                <a:gd name="T56" fmla="*/ 706 w 721"/>
                <a:gd name="T57" fmla="*/ 108 h 525"/>
                <a:gd name="T58" fmla="*/ 640 w 721"/>
                <a:gd name="T59" fmla="*/ 52 h 525"/>
                <a:gd name="T60" fmla="*/ 534 w 721"/>
                <a:gd name="T61" fmla="*/ 65 h 525"/>
                <a:gd name="T62" fmla="*/ 428 w 721"/>
                <a:gd name="T63" fmla="*/ 105 h 525"/>
                <a:gd name="T64" fmla="*/ 343 w 721"/>
                <a:gd name="T65" fmla="*/ 63 h 525"/>
                <a:gd name="T66" fmla="*/ 188 w 721"/>
                <a:gd name="T67" fmla="*/ 52 h 525"/>
                <a:gd name="T68" fmla="*/ 116 w 721"/>
                <a:gd name="T69" fmla="*/ 34 h 525"/>
                <a:gd name="T70" fmla="*/ 66 w 721"/>
                <a:gd name="T71" fmla="*/ 36 h 525"/>
                <a:gd name="T72" fmla="*/ 61 w 721"/>
                <a:gd name="T73" fmla="*/ 0 h 525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721"/>
                <a:gd name="T112" fmla="*/ 0 h 525"/>
                <a:gd name="T113" fmla="*/ 721 w 721"/>
                <a:gd name="T114" fmla="*/ 525 h 525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721" h="525">
                  <a:moveTo>
                    <a:pt x="28" y="0"/>
                  </a:moveTo>
                  <a:lnTo>
                    <a:pt x="11" y="20"/>
                  </a:lnTo>
                  <a:lnTo>
                    <a:pt x="0" y="46"/>
                  </a:lnTo>
                  <a:lnTo>
                    <a:pt x="21" y="46"/>
                  </a:lnTo>
                  <a:lnTo>
                    <a:pt x="11" y="72"/>
                  </a:lnTo>
                  <a:lnTo>
                    <a:pt x="0" y="124"/>
                  </a:lnTo>
                  <a:lnTo>
                    <a:pt x="16" y="150"/>
                  </a:lnTo>
                  <a:lnTo>
                    <a:pt x="16" y="195"/>
                  </a:lnTo>
                  <a:lnTo>
                    <a:pt x="42" y="195"/>
                  </a:lnTo>
                  <a:lnTo>
                    <a:pt x="31" y="213"/>
                  </a:lnTo>
                  <a:lnTo>
                    <a:pt x="13" y="247"/>
                  </a:lnTo>
                  <a:lnTo>
                    <a:pt x="6" y="270"/>
                  </a:lnTo>
                  <a:lnTo>
                    <a:pt x="29" y="291"/>
                  </a:lnTo>
                  <a:lnTo>
                    <a:pt x="36" y="351"/>
                  </a:lnTo>
                  <a:lnTo>
                    <a:pt x="50" y="372"/>
                  </a:lnTo>
                  <a:lnTo>
                    <a:pt x="31" y="377"/>
                  </a:lnTo>
                  <a:lnTo>
                    <a:pt x="8" y="364"/>
                  </a:lnTo>
                  <a:lnTo>
                    <a:pt x="4" y="395"/>
                  </a:lnTo>
                  <a:lnTo>
                    <a:pt x="6" y="393"/>
                  </a:lnTo>
                  <a:lnTo>
                    <a:pt x="16" y="416"/>
                  </a:lnTo>
                  <a:lnTo>
                    <a:pt x="31" y="442"/>
                  </a:lnTo>
                  <a:lnTo>
                    <a:pt x="102" y="447"/>
                  </a:lnTo>
                  <a:lnTo>
                    <a:pt x="151" y="442"/>
                  </a:lnTo>
                  <a:lnTo>
                    <a:pt x="185" y="416"/>
                  </a:lnTo>
                  <a:lnTo>
                    <a:pt x="227" y="442"/>
                  </a:lnTo>
                  <a:lnTo>
                    <a:pt x="248" y="458"/>
                  </a:lnTo>
                  <a:lnTo>
                    <a:pt x="279" y="450"/>
                  </a:lnTo>
                  <a:lnTo>
                    <a:pt x="307" y="437"/>
                  </a:lnTo>
                  <a:lnTo>
                    <a:pt x="362" y="465"/>
                  </a:lnTo>
                  <a:lnTo>
                    <a:pt x="419" y="499"/>
                  </a:lnTo>
                  <a:lnTo>
                    <a:pt x="438" y="518"/>
                  </a:lnTo>
                  <a:lnTo>
                    <a:pt x="469" y="497"/>
                  </a:lnTo>
                  <a:lnTo>
                    <a:pt x="495" y="512"/>
                  </a:lnTo>
                  <a:lnTo>
                    <a:pt x="511" y="525"/>
                  </a:lnTo>
                  <a:lnTo>
                    <a:pt x="534" y="523"/>
                  </a:lnTo>
                  <a:lnTo>
                    <a:pt x="550" y="502"/>
                  </a:lnTo>
                  <a:lnTo>
                    <a:pt x="586" y="523"/>
                  </a:lnTo>
                  <a:lnTo>
                    <a:pt x="631" y="504"/>
                  </a:lnTo>
                  <a:lnTo>
                    <a:pt x="656" y="512"/>
                  </a:lnTo>
                  <a:lnTo>
                    <a:pt x="682" y="491"/>
                  </a:lnTo>
                  <a:lnTo>
                    <a:pt x="698" y="483"/>
                  </a:lnTo>
                  <a:lnTo>
                    <a:pt x="703" y="487"/>
                  </a:lnTo>
                  <a:lnTo>
                    <a:pt x="708" y="452"/>
                  </a:lnTo>
                  <a:lnTo>
                    <a:pt x="690" y="430"/>
                  </a:lnTo>
                  <a:lnTo>
                    <a:pt x="658" y="409"/>
                  </a:lnTo>
                  <a:lnTo>
                    <a:pt x="645" y="430"/>
                  </a:lnTo>
                  <a:lnTo>
                    <a:pt x="637" y="433"/>
                  </a:lnTo>
                  <a:lnTo>
                    <a:pt x="634" y="393"/>
                  </a:lnTo>
                  <a:lnTo>
                    <a:pt x="658" y="388"/>
                  </a:lnTo>
                  <a:lnTo>
                    <a:pt x="653" y="351"/>
                  </a:lnTo>
                  <a:lnTo>
                    <a:pt x="621" y="346"/>
                  </a:lnTo>
                  <a:lnTo>
                    <a:pt x="637" y="319"/>
                  </a:lnTo>
                  <a:lnTo>
                    <a:pt x="682" y="309"/>
                  </a:lnTo>
                  <a:lnTo>
                    <a:pt x="698" y="245"/>
                  </a:lnTo>
                  <a:lnTo>
                    <a:pt x="721" y="235"/>
                  </a:lnTo>
                  <a:lnTo>
                    <a:pt x="690" y="211"/>
                  </a:lnTo>
                  <a:lnTo>
                    <a:pt x="701" y="187"/>
                  </a:lnTo>
                  <a:lnTo>
                    <a:pt x="706" y="108"/>
                  </a:lnTo>
                  <a:lnTo>
                    <a:pt x="695" y="47"/>
                  </a:lnTo>
                  <a:lnTo>
                    <a:pt x="640" y="52"/>
                  </a:lnTo>
                  <a:lnTo>
                    <a:pt x="603" y="47"/>
                  </a:lnTo>
                  <a:lnTo>
                    <a:pt x="534" y="65"/>
                  </a:lnTo>
                  <a:lnTo>
                    <a:pt x="476" y="121"/>
                  </a:lnTo>
                  <a:lnTo>
                    <a:pt x="428" y="105"/>
                  </a:lnTo>
                  <a:lnTo>
                    <a:pt x="381" y="100"/>
                  </a:lnTo>
                  <a:lnTo>
                    <a:pt x="343" y="63"/>
                  </a:lnTo>
                  <a:lnTo>
                    <a:pt x="277" y="44"/>
                  </a:lnTo>
                  <a:lnTo>
                    <a:pt x="188" y="52"/>
                  </a:lnTo>
                  <a:lnTo>
                    <a:pt x="164" y="34"/>
                  </a:lnTo>
                  <a:lnTo>
                    <a:pt x="116" y="34"/>
                  </a:lnTo>
                  <a:lnTo>
                    <a:pt x="82" y="47"/>
                  </a:lnTo>
                  <a:lnTo>
                    <a:pt x="66" y="36"/>
                  </a:lnTo>
                  <a:lnTo>
                    <a:pt x="66" y="8"/>
                  </a:lnTo>
                  <a:lnTo>
                    <a:pt x="61" y="0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60</a:t>
              </a:r>
            </a:p>
          </p:txBody>
        </p:sp>
        <p:sp>
          <p:nvSpPr>
            <p:cNvPr id="82" name="FR-62">
              <a:extLst>
                <a:ext uri="{FF2B5EF4-FFF2-40B4-BE49-F238E27FC236}">
                  <a16:creationId xmlns:a16="http://schemas.microsoft.com/office/drawing/2014/main" id="{09721C59-B522-408C-BCB3-BEB82884AFF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64614" y="3355813"/>
              <a:ext cx="365418" cy="328674"/>
            </a:xfrm>
            <a:custGeom>
              <a:avLst/>
              <a:gdLst>
                <a:gd name="T0" fmla="*/ 116 w 791"/>
                <a:gd name="T1" fmla="*/ 28 h 746"/>
                <a:gd name="T2" fmla="*/ 1 w 791"/>
                <a:gd name="T3" fmla="*/ 468 h 746"/>
                <a:gd name="T4" fmla="*/ 41 w 791"/>
                <a:gd name="T5" fmla="*/ 488 h 746"/>
                <a:gd name="T6" fmla="*/ 85 w 791"/>
                <a:gd name="T7" fmla="*/ 509 h 746"/>
                <a:gd name="T8" fmla="*/ 127 w 791"/>
                <a:gd name="T9" fmla="*/ 493 h 746"/>
                <a:gd name="T10" fmla="*/ 195 w 791"/>
                <a:gd name="T11" fmla="*/ 525 h 746"/>
                <a:gd name="T12" fmla="*/ 254 w 791"/>
                <a:gd name="T13" fmla="*/ 577 h 746"/>
                <a:gd name="T14" fmla="*/ 288 w 791"/>
                <a:gd name="T15" fmla="*/ 615 h 746"/>
                <a:gd name="T16" fmla="*/ 387 w 791"/>
                <a:gd name="T17" fmla="*/ 595 h 746"/>
                <a:gd name="T18" fmla="*/ 434 w 791"/>
                <a:gd name="T19" fmla="*/ 595 h 746"/>
                <a:gd name="T20" fmla="*/ 411 w 791"/>
                <a:gd name="T21" fmla="*/ 647 h 746"/>
                <a:gd name="T22" fmla="*/ 424 w 791"/>
                <a:gd name="T23" fmla="*/ 696 h 746"/>
                <a:gd name="T24" fmla="*/ 442 w 791"/>
                <a:gd name="T25" fmla="*/ 673 h 746"/>
                <a:gd name="T26" fmla="*/ 489 w 791"/>
                <a:gd name="T27" fmla="*/ 675 h 746"/>
                <a:gd name="T28" fmla="*/ 567 w 791"/>
                <a:gd name="T29" fmla="*/ 694 h 746"/>
                <a:gd name="T30" fmla="*/ 601 w 791"/>
                <a:gd name="T31" fmla="*/ 691 h 746"/>
                <a:gd name="T32" fmla="*/ 588 w 791"/>
                <a:gd name="T33" fmla="*/ 735 h 746"/>
                <a:gd name="T34" fmla="*/ 640 w 791"/>
                <a:gd name="T35" fmla="*/ 709 h 746"/>
                <a:gd name="T36" fmla="*/ 650 w 791"/>
                <a:gd name="T37" fmla="*/ 746 h 746"/>
                <a:gd name="T38" fmla="*/ 752 w 791"/>
                <a:gd name="T39" fmla="*/ 725 h 746"/>
                <a:gd name="T40" fmla="*/ 770 w 791"/>
                <a:gd name="T41" fmla="*/ 698 h 746"/>
                <a:gd name="T42" fmla="*/ 738 w 791"/>
                <a:gd name="T43" fmla="*/ 680 h 746"/>
                <a:gd name="T44" fmla="*/ 696 w 791"/>
                <a:gd name="T45" fmla="*/ 674 h 746"/>
                <a:gd name="T46" fmla="*/ 746 w 791"/>
                <a:gd name="T47" fmla="*/ 661 h 746"/>
                <a:gd name="T48" fmla="*/ 773 w 791"/>
                <a:gd name="T49" fmla="*/ 616 h 746"/>
                <a:gd name="T50" fmla="*/ 791 w 791"/>
                <a:gd name="T51" fmla="*/ 582 h 746"/>
                <a:gd name="T52" fmla="*/ 728 w 791"/>
                <a:gd name="T53" fmla="*/ 560 h 746"/>
                <a:gd name="T54" fmla="*/ 741 w 791"/>
                <a:gd name="T55" fmla="*/ 539 h 746"/>
                <a:gd name="T56" fmla="*/ 728 w 791"/>
                <a:gd name="T57" fmla="*/ 510 h 746"/>
                <a:gd name="T58" fmla="*/ 704 w 791"/>
                <a:gd name="T59" fmla="*/ 463 h 746"/>
                <a:gd name="T60" fmla="*/ 743 w 791"/>
                <a:gd name="T61" fmla="*/ 428 h 746"/>
                <a:gd name="T62" fmla="*/ 706 w 791"/>
                <a:gd name="T63" fmla="*/ 383 h 746"/>
                <a:gd name="T64" fmla="*/ 611 w 791"/>
                <a:gd name="T65" fmla="*/ 365 h 746"/>
                <a:gd name="T66" fmla="*/ 640 w 791"/>
                <a:gd name="T67" fmla="*/ 291 h 746"/>
                <a:gd name="T68" fmla="*/ 600 w 791"/>
                <a:gd name="T69" fmla="*/ 264 h 746"/>
                <a:gd name="T70" fmla="*/ 500 w 791"/>
                <a:gd name="T71" fmla="*/ 288 h 746"/>
                <a:gd name="T72" fmla="*/ 397 w 791"/>
                <a:gd name="T73" fmla="*/ 233 h 746"/>
                <a:gd name="T74" fmla="*/ 426 w 791"/>
                <a:gd name="T75" fmla="*/ 188 h 746"/>
                <a:gd name="T76" fmla="*/ 344 w 791"/>
                <a:gd name="T77" fmla="*/ 167 h 746"/>
                <a:gd name="T78" fmla="*/ 260 w 791"/>
                <a:gd name="T79" fmla="*/ 0 h 7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791"/>
                <a:gd name="T121" fmla="*/ 0 h 746"/>
                <a:gd name="T122" fmla="*/ 791 w 791"/>
                <a:gd name="T123" fmla="*/ 746 h 74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791" h="746">
                  <a:moveTo>
                    <a:pt x="260" y="0"/>
                  </a:moveTo>
                  <a:lnTo>
                    <a:pt x="116" y="28"/>
                  </a:lnTo>
                  <a:lnTo>
                    <a:pt x="1" y="116"/>
                  </a:lnTo>
                  <a:lnTo>
                    <a:pt x="1" y="468"/>
                  </a:lnTo>
                  <a:lnTo>
                    <a:pt x="0" y="478"/>
                  </a:lnTo>
                  <a:lnTo>
                    <a:pt x="41" y="488"/>
                  </a:lnTo>
                  <a:lnTo>
                    <a:pt x="54" y="517"/>
                  </a:lnTo>
                  <a:lnTo>
                    <a:pt x="85" y="509"/>
                  </a:lnTo>
                  <a:lnTo>
                    <a:pt x="103" y="485"/>
                  </a:lnTo>
                  <a:lnTo>
                    <a:pt x="127" y="493"/>
                  </a:lnTo>
                  <a:lnTo>
                    <a:pt x="176" y="532"/>
                  </a:lnTo>
                  <a:lnTo>
                    <a:pt x="195" y="525"/>
                  </a:lnTo>
                  <a:lnTo>
                    <a:pt x="208" y="556"/>
                  </a:lnTo>
                  <a:lnTo>
                    <a:pt x="254" y="577"/>
                  </a:lnTo>
                  <a:lnTo>
                    <a:pt x="254" y="603"/>
                  </a:lnTo>
                  <a:lnTo>
                    <a:pt x="288" y="615"/>
                  </a:lnTo>
                  <a:lnTo>
                    <a:pt x="322" y="603"/>
                  </a:lnTo>
                  <a:lnTo>
                    <a:pt x="387" y="595"/>
                  </a:lnTo>
                  <a:lnTo>
                    <a:pt x="403" y="608"/>
                  </a:lnTo>
                  <a:lnTo>
                    <a:pt x="434" y="595"/>
                  </a:lnTo>
                  <a:lnTo>
                    <a:pt x="450" y="621"/>
                  </a:lnTo>
                  <a:lnTo>
                    <a:pt x="411" y="647"/>
                  </a:lnTo>
                  <a:lnTo>
                    <a:pt x="411" y="683"/>
                  </a:lnTo>
                  <a:lnTo>
                    <a:pt x="424" y="696"/>
                  </a:lnTo>
                  <a:lnTo>
                    <a:pt x="434" y="694"/>
                  </a:lnTo>
                  <a:lnTo>
                    <a:pt x="442" y="673"/>
                  </a:lnTo>
                  <a:lnTo>
                    <a:pt x="465" y="657"/>
                  </a:lnTo>
                  <a:lnTo>
                    <a:pt x="489" y="675"/>
                  </a:lnTo>
                  <a:lnTo>
                    <a:pt x="543" y="694"/>
                  </a:lnTo>
                  <a:lnTo>
                    <a:pt x="567" y="694"/>
                  </a:lnTo>
                  <a:lnTo>
                    <a:pt x="567" y="668"/>
                  </a:lnTo>
                  <a:lnTo>
                    <a:pt x="601" y="691"/>
                  </a:lnTo>
                  <a:lnTo>
                    <a:pt x="603" y="712"/>
                  </a:lnTo>
                  <a:lnTo>
                    <a:pt x="588" y="735"/>
                  </a:lnTo>
                  <a:lnTo>
                    <a:pt x="616" y="720"/>
                  </a:lnTo>
                  <a:lnTo>
                    <a:pt x="640" y="709"/>
                  </a:lnTo>
                  <a:lnTo>
                    <a:pt x="650" y="728"/>
                  </a:lnTo>
                  <a:lnTo>
                    <a:pt x="650" y="746"/>
                  </a:lnTo>
                  <a:lnTo>
                    <a:pt x="689" y="725"/>
                  </a:lnTo>
                  <a:lnTo>
                    <a:pt x="752" y="725"/>
                  </a:lnTo>
                  <a:lnTo>
                    <a:pt x="754" y="728"/>
                  </a:lnTo>
                  <a:lnTo>
                    <a:pt x="770" y="698"/>
                  </a:lnTo>
                  <a:lnTo>
                    <a:pt x="762" y="685"/>
                  </a:lnTo>
                  <a:lnTo>
                    <a:pt x="738" y="680"/>
                  </a:lnTo>
                  <a:lnTo>
                    <a:pt x="712" y="680"/>
                  </a:lnTo>
                  <a:lnTo>
                    <a:pt x="696" y="674"/>
                  </a:lnTo>
                  <a:lnTo>
                    <a:pt x="722" y="658"/>
                  </a:lnTo>
                  <a:lnTo>
                    <a:pt x="746" y="661"/>
                  </a:lnTo>
                  <a:lnTo>
                    <a:pt x="770" y="658"/>
                  </a:lnTo>
                  <a:lnTo>
                    <a:pt x="773" y="616"/>
                  </a:lnTo>
                  <a:lnTo>
                    <a:pt x="788" y="605"/>
                  </a:lnTo>
                  <a:lnTo>
                    <a:pt x="791" y="582"/>
                  </a:lnTo>
                  <a:lnTo>
                    <a:pt x="762" y="563"/>
                  </a:lnTo>
                  <a:lnTo>
                    <a:pt x="728" y="560"/>
                  </a:lnTo>
                  <a:lnTo>
                    <a:pt x="720" y="555"/>
                  </a:lnTo>
                  <a:lnTo>
                    <a:pt x="741" y="539"/>
                  </a:lnTo>
                  <a:lnTo>
                    <a:pt x="746" y="523"/>
                  </a:lnTo>
                  <a:lnTo>
                    <a:pt x="728" y="510"/>
                  </a:lnTo>
                  <a:lnTo>
                    <a:pt x="701" y="478"/>
                  </a:lnTo>
                  <a:lnTo>
                    <a:pt x="704" y="463"/>
                  </a:lnTo>
                  <a:lnTo>
                    <a:pt x="738" y="447"/>
                  </a:lnTo>
                  <a:lnTo>
                    <a:pt x="743" y="428"/>
                  </a:lnTo>
                  <a:lnTo>
                    <a:pt x="720" y="418"/>
                  </a:lnTo>
                  <a:lnTo>
                    <a:pt x="706" y="383"/>
                  </a:lnTo>
                  <a:lnTo>
                    <a:pt x="659" y="378"/>
                  </a:lnTo>
                  <a:lnTo>
                    <a:pt x="611" y="365"/>
                  </a:lnTo>
                  <a:lnTo>
                    <a:pt x="606" y="312"/>
                  </a:lnTo>
                  <a:lnTo>
                    <a:pt x="640" y="291"/>
                  </a:lnTo>
                  <a:lnTo>
                    <a:pt x="627" y="264"/>
                  </a:lnTo>
                  <a:lnTo>
                    <a:pt x="600" y="264"/>
                  </a:lnTo>
                  <a:lnTo>
                    <a:pt x="582" y="293"/>
                  </a:lnTo>
                  <a:lnTo>
                    <a:pt x="500" y="288"/>
                  </a:lnTo>
                  <a:lnTo>
                    <a:pt x="434" y="272"/>
                  </a:lnTo>
                  <a:lnTo>
                    <a:pt x="397" y="233"/>
                  </a:lnTo>
                  <a:lnTo>
                    <a:pt x="397" y="201"/>
                  </a:lnTo>
                  <a:lnTo>
                    <a:pt x="426" y="188"/>
                  </a:lnTo>
                  <a:lnTo>
                    <a:pt x="402" y="169"/>
                  </a:lnTo>
                  <a:lnTo>
                    <a:pt x="344" y="167"/>
                  </a:lnTo>
                  <a:lnTo>
                    <a:pt x="310" y="79"/>
                  </a:lnTo>
                  <a:lnTo>
                    <a:pt x="260" y="0"/>
                  </a:lnTo>
                  <a:close/>
                </a:path>
              </a:pathLst>
            </a:custGeom>
            <a:solidFill>
              <a:srgbClr val="0063AC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solidFill>
                    <a:schemeClr val="bg1"/>
                  </a:solidFill>
                  <a:latin typeface="+mj-lt"/>
                </a:rPr>
                <a:t>62</a:t>
              </a:r>
            </a:p>
          </p:txBody>
        </p:sp>
        <p:sp>
          <p:nvSpPr>
            <p:cNvPr id="83" name="FR-59">
              <a:extLst>
                <a:ext uri="{FF2B5EF4-FFF2-40B4-BE49-F238E27FC236}">
                  <a16:creationId xmlns:a16="http://schemas.microsoft.com/office/drawing/2014/main" id="{53697A0E-B0AC-4EE8-8FF8-ABFF3B69C23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484726" y="3328938"/>
              <a:ext cx="484606" cy="370529"/>
            </a:xfrm>
            <a:custGeom>
              <a:avLst/>
              <a:gdLst>
                <a:gd name="T0" fmla="*/ 137 w 1049"/>
                <a:gd name="T1" fmla="*/ 39 h 841"/>
                <a:gd name="T2" fmla="*/ 0 w 1049"/>
                <a:gd name="T3" fmla="*/ 61 h 841"/>
                <a:gd name="T4" fmla="*/ 84 w 1049"/>
                <a:gd name="T5" fmla="*/ 228 h 841"/>
                <a:gd name="T6" fmla="*/ 166 w 1049"/>
                <a:gd name="T7" fmla="*/ 249 h 841"/>
                <a:gd name="T8" fmla="*/ 137 w 1049"/>
                <a:gd name="T9" fmla="*/ 294 h 841"/>
                <a:gd name="T10" fmla="*/ 240 w 1049"/>
                <a:gd name="T11" fmla="*/ 349 h 841"/>
                <a:gd name="T12" fmla="*/ 340 w 1049"/>
                <a:gd name="T13" fmla="*/ 325 h 841"/>
                <a:gd name="T14" fmla="*/ 380 w 1049"/>
                <a:gd name="T15" fmla="*/ 352 h 841"/>
                <a:gd name="T16" fmla="*/ 351 w 1049"/>
                <a:gd name="T17" fmla="*/ 426 h 841"/>
                <a:gd name="T18" fmla="*/ 446 w 1049"/>
                <a:gd name="T19" fmla="*/ 444 h 841"/>
                <a:gd name="T20" fmla="*/ 483 w 1049"/>
                <a:gd name="T21" fmla="*/ 489 h 841"/>
                <a:gd name="T22" fmla="*/ 444 w 1049"/>
                <a:gd name="T23" fmla="*/ 524 h 841"/>
                <a:gd name="T24" fmla="*/ 468 w 1049"/>
                <a:gd name="T25" fmla="*/ 571 h 841"/>
                <a:gd name="T26" fmla="*/ 481 w 1049"/>
                <a:gd name="T27" fmla="*/ 600 h 841"/>
                <a:gd name="T28" fmla="*/ 468 w 1049"/>
                <a:gd name="T29" fmla="*/ 621 h 841"/>
                <a:gd name="T30" fmla="*/ 531 w 1049"/>
                <a:gd name="T31" fmla="*/ 643 h 841"/>
                <a:gd name="T32" fmla="*/ 513 w 1049"/>
                <a:gd name="T33" fmla="*/ 677 h 841"/>
                <a:gd name="T34" fmla="*/ 486 w 1049"/>
                <a:gd name="T35" fmla="*/ 722 h 841"/>
                <a:gd name="T36" fmla="*/ 436 w 1049"/>
                <a:gd name="T37" fmla="*/ 735 h 841"/>
                <a:gd name="T38" fmla="*/ 478 w 1049"/>
                <a:gd name="T39" fmla="*/ 741 h 841"/>
                <a:gd name="T40" fmla="*/ 510 w 1049"/>
                <a:gd name="T41" fmla="*/ 759 h 841"/>
                <a:gd name="T42" fmla="*/ 515 w 1049"/>
                <a:gd name="T43" fmla="*/ 809 h 841"/>
                <a:gd name="T44" fmla="*/ 557 w 1049"/>
                <a:gd name="T45" fmla="*/ 801 h 841"/>
                <a:gd name="T46" fmla="*/ 593 w 1049"/>
                <a:gd name="T47" fmla="*/ 817 h 841"/>
                <a:gd name="T48" fmla="*/ 635 w 1049"/>
                <a:gd name="T49" fmla="*/ 796 h 841"/>
                <a:gd name="T50" fmla="*/ 708 w 1049"/>
                <a:gd name="T51" fmla="*/ 786 h 841"/>
                <a:gd name="T52" fmla="*/ 747 w 1049"/>
                <a:gd name="T53" fmla="*/ 804 h 841"/>
                <a:gd name="T54" fmla="*/ 807 w 1049"/>
                <a:gd name="T55" fmla="*/ 778 h 841"/>
                <a:gd name="T56" fmla="*/ 880 w 1049"/>
                <a:gd name="T57" fmla="*/ 796 h 841"/>
                <a:gd name="T58" fmla="*/ 914 w 1049"/>
                <a:gd name="T59" fmla="*/ 794 h 841"/>
                <a:gd name="T60" fmla="*/ 940 w 1049"/>
                <a:gd name="T61" fmla="*/ 828 h 841"/>
                <a:gd name="T62" fmla="*/ 1003 w 1049"/>
                <a:gd name="T63" fmla="*/ 831 h 841"/>
                <a:gd name="T64" fmla="*/ 997 w 1049"/>
                <a:gd name="T65" fmla="*/ 805 h 841"/>
                <a:gd name="T66" fmla="*/ 1041 w 1049"/>
                <a:gd name="T67" fmla="*/ 724 h 841"/>
                <a:gd name="T68" fmla="*/ 1004 w 1049"/>
                <a:gd name="T69" fmla="*/ 698 h 841"/>
                <a:gd name="T70" fmla="*/ 1043 w 1049"/>
                <a:gd name="T71" fmla="*/ 633 h 841"/>
                <a:gd name="T72" fmla="*/ 950 w 1049"/>
                <a:gd name="T73" fmla="*/ 547 h 841"/>
                <a:gd name="T74" fmla="*/ 788 w 1049"/>
                <a:gd name="T75" fmla="*/ 581 h 841"/>
                <a:gd name="T76" fmla="*/ 773 w 1049"/>
                <a:gd name="T77" fmla="*/ 490 h 841"/>
                <a:gd name="T78" fmla="*/ 700 w 1049"/>
                <a:gd name="T79" fmla="*/ 446 h 841"/>
                <a:gd name="T80" fmla="*/ 629 w 1049"/>
                <a:gd name="T81" fmla="*/ 448 h 841"/>
                <a:gd name="T82" fmla="*/ 575 w 1049"/>
                <a:gd name="T83" fmla="*/ 425 h 841"/>
                <a:gd name="T84" fmla="*/ 562 w 1049"/>
                <a:gd name="T85" fmla="*/ 287 h 841"/>
                <a:gd name="T86" fmla="*/ 535 w 1049"/>
                <a:gd name="T87" fmla="*/ 261 h 841"/>
                <a:gd name="T88" fmla="*/ 515 w 1049"/>
                <a:gd name="T89" fmla="*/ 229 h 841"/>
                <a:gd name="T90" fmla="*/ 416 w 1049"/>
                <a:gd name="T91" fmla="*/ 253 h 841"/>
                <a:gd name="T92" fmla="*/ 353 w 1049"/>
                <a:gd name="T93" fmla="*/ 292 h 841"/>
                <a:gd name="T94" fmla="*/ 325 w 1049"/>
                <a:gd name="T95" fmla="*/ 237 h 841"/>
                <a:gd name="T96" fmla="*/ 262 w 1049"/>
                <a:gd name="T97" fmla="*/ 209 h 841"/>
                <a:gd name="T98" fmla="*/ 247 w 1049"/>
                <a:gd name="T99" fmla="*/ 136 h 841"/>
                <a:gd name="T100" fmla="*/ 254 w 1049"/>
                <a:gd name="T101" fmla="*/ 68 h 84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049"/>
                <a:gd name="T154" fmla="*/ 0 h 841"/>
                <a:gd name="T155" fmla="*/ 1049 w 1049"/>
                <a:gd name="T156" fmla="*/ 841 h 84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049" h="841">
                  <a:moveTo>
                    <a:pt x="220" y="0"/>
                  </a:moveTo>
                  <a:lnTo>
                    <a:pt x="137" y="39"/>
                  </a:lnTo>
                  <a:lnTo>
                    <a:pt x="7" y="60"/>
                  </a:lnTo>
                  <a:lnTo>
                    <a:pt x="0" y="61"/>
                  </a:lnTo>
                  <a:lnTo>
                    <a:pt x="50" y="140"/>
                  </a:lnTo>
                  <a:lnTo>
                    <a:pt x="84" y="228"/>
                  </a:lnTo>
                  <a:lnTo>
                    <a:pt x="142" y="230"/>
                  </a:lnTo>
                  <a:lnTo>
                    <a:pt x="166" y="249"/>
                  </a:lnTo>
                  <a:lnTo>
                    <a:pt x="137" y="262"/>
                  </a:lnTo>
                  <a:lnTo>
                    <a:pt x="137" y="294"/>
                  </a:lnTo>
                  <a:lnTo>
                    <a:pt x="174" y="333"/>
                  </a:lnTo>
                  <a:lnTo>
                    <a:pt x="240" y="349"/>
                  </a:lnTo>
                  <a:lnTo>
                    <a:pt x="322" y="354"/>
                  </a:lnTo>
                  <a:lnTo>
                    <a:pt x="340" y="325"/>
                  </a:lnTo>
                  <a:lnTo>
                    <a:pt x="367" y="325"/>
                  </a:lnTo>
                  <a:lnTo>
                    <a:pt x="380" y="352"/>
                  </a:lnTo>
                  <a:lnTo>
                    <a:pt x="346" y="373"/>
                  </a:lnTo>
                  <a:lnTo>
                    <a:pt x="351" y="426"/>
                  </a:lnTo>
                  <a:lnTo>
                    <a:pt x="399" y="439"/>
                  </a:lnTo>
                  <a:lnTo>
                    <a:pt x="446" y="444"/>
                  </a:lnTo>
                  <a:lnTo>
                    <a:pt x="460" y="479"/>
                  </a:lnTo>
                  <a:lnTo>
                    <a:pt x="483" y="489"/>
                  </a:lnTo>
                  <a:lnTo>
                    <a:pt x="478" y="508"/>
                  </a:lnTo>
                  <a:lnTo>
                    <a:pt x="444" y="524"/>
                  </a:lnTo>
                  <a:lnTo>
                    <a:pt x="441" y="539"/>
                  </a:lnTo>
                  <a:lnTo>
                    <a:pt x="468" y="571"/>
                  </a:lnTo>
                  <a:lnTo>
                    <a:pt x="486" y="584"/>
                  </a:lnTo>
                  <a:lnTo>
                    <a:pt x="481" y="600"/>
                  </a:lnTo>
                  <a:lnTo>
                    <a:pt x="460" y="616"/>
                  </a:lnTo>
                  <a:lnTo>
                    <a:pt x="468" y="621"/>
                  </a:lnTo>
                  <a:lnTo>
                    <a:pt x="502" y="624"/>
                  </a:lnTo>
                  <a:lnTo>
                    <a:pt x="531" y="643"/>
                  </a:lnTo>
                  <a:lnTo>
                    <a:pt x="528" y="666"/>
                  </a:lnTo>
                  <a:lnTo>
                    <a:pt x="513" y="677"/>
                  </a:lnTo>
                  <a:lnTo>
                    <a:pt x="510" y="719"/>
                  </a:lnTo>
                  <a:lnTo>
                    <a:pt x="486" y="722"/>
                  </a:lnTo>
                  <a:lnTo>
                    <a:pt x="462" y="719"/>
                  </a:lnTo>
                  <a:lnTo>
                    <a:pt x="436" y="735"/>
                  </a:lnTo>
                  <a:lnTo>
                    <a:pt x="452" y="741"/>
                  </a:lnTo>
                  <a:lnTo>
                    <a:pt x="478" y="741"/>
                  </a:lnTo>
                  <a:lnTo>
                    <a:pt x="502" y="746"/>
                  </a:lnTo>
                  <a:lnTo>
                    <a:pt x="510" y="759"/>
                  </a:lnTo>
                  <a:lnTo>
                    <a:pt x="494" y="789"/>
                  </a:lnTo>
                  <a:lnTo>
                    <a:pt x="515" y="809"/>
                  </a:lnTo>
                  <a:lnTo>
                    <a:pt x="536" y="815"/>
                  </a:lnTo>
                  <a:lnTo>
                    <a:pt x="557" y="801"/>
                  </a:lnTo>
                  <a:lnTo>
                    <a:pt x="585" y="801"/>
                  </a:lnTo>
                  <a:lnTo>
                    <a:pt x="593" y="817"/>
                  </a:lnTo>
                  <a:lnTo>
                    <a:pt x="604" y="815"/>
                  </a:lnTo>
                  <a:lnTo>
                    <a:pt x="635" y="796"/>
                  </a:lnTo>
                  <a:lnTo>
                    <a:pt x="666" y="815"/>
                  </a:lnTo>
                  <a:lnTo>
                    <a:pt x="708" y="786"/>
                  </a:lnTo>
                  <a:lnTo>
                    <a:pt x="726" y="786"/>
                  </a:lnTo>
                  <a:lnTo>
                    <a:pt x="747" y="804"/>
                  </a:lnTo>
                  <a:lnTo>
                    <a:pt x="789" y="776"/>
                  </a:lnTo>
                  <a:lnTo>
                    <a:pt x="807" y="778"/>
                  </a:lnTo>
                  <a:lnTo>
                    <a:pt x="823" y="791"/>
                  </a:lnTo>
                  <a:lnTo>
                    <a:pt x="880" y="796"/>
                  </a:lnTo>
                  <a:lnTo>
                    <a:pt x="885" y="820"/>
                  </a:lnTo>
                  <a:lnTo>
                    <a:pt x="914" y="794"/>
                  </a:lnTo>
                  <a:lnTo>
                    <a:pt x="929" y="794"/>
                  </a:lnTo>
                  <a:lnTo>
                    <a:pt x="940" y="828"/>
                  </a:lnTo>
                  <a:lnTo>
                    <a:pt x="989" y="841"/>
                  </a:lnTo>
                  <a:lnTo>
                    <a:pt x="1003" y="831"/>
                  </a:lnTo>
                  <a:lnTo>
                    <a:pt x="999" y="831"/>
                  </a:lnTo>
                  <a:lnTo>
                    <a:pt x="997" y="805"/>
                  </a:lnTo>
                  <a:lnTo>
                    <a:pt x="1049" y="774"/>
                  </a:lnTo>
                  <a:lnTo>
                    <a:pt x="1041" y="724"/>
                  </a:lnTo>
                  <a:lnTo>
                    <a:pt x="991" y="711"/>
                  </a:lnTo>
                  <a:lnTo>
                    <a:pt x="1004" y="698"/>
                  </a:lnTo>
                  <a:lnTo>
                    <a:pt x="1004" y="662"/>
                  </a:lnTo>
                  <a:lnTo>
                    <a:pt x="1043" y="633"/>
                  </a:lnTo>
                  <a:lnTo>
                    <a:pt x="1033" y="612"/>
                  </a:lnTo>
                  <a:lnTo>
                    <a:pt x="950" y="547"/>
                  </a:lnTo>
                  <a:lnTo>
                    <a:pt x="804" y="555"/>
                  </a:lnTo>
                  <a:lnTo>
                    <a:pt x="788" y="581"/>
                  </a:lnTo>
                  <a:lnTo>
                    <a:pt x="770" y="581"/>
                  </a:lnTo>
                  <a:lnTo>
                    <a:pt x="773" y="490"/>
                  </a:lnTo>
                  <a:lnTo>
                    <a:pt x="731" y="441"/>
                  </a:lnTo>
                  <a:lnTo>
                    <a:pt x="700" y="446"/>
                  </a:lnTo>
                  <a:lnTo>
                    <a:pt x="681" y="425"/>
                  </a:lnTo>
                  <a:lnTo>
                    <a:pt x="629" y="448"/>
                  </a:lnTo>
                  <a:lnTo>
                    <a:pt x="611" y="430"/>
                  </a:lnTo>
                  <a:lnTo>
                    <a:pt x="575" y="425"/>
                  </a:lnTo>
                  <a:lnTo>
                    <a:pt x="564" y="391"/>
                  </a:lnTo>
                  <a:lnTo>
                    <a:pt x="562" y="287"/>
                  </a:lnTo>
                  <a:lnTo>
                    <a:pt x="538" y="276"/>
                  </a:lnTo>
                  <a:lnTo>
                    <a:pt x="535" y="261"/>
                  </a:lnTo>
                  <a:lnTo>
                    <a:pt x="520" y="261"/>
                  </a:lnTo>
                  <a:lnTo>
                    <a:pt x="515" y="229"/>
                  </a:lnTo>
                  <a:lnTo>
                    <a:pt x="481" y="232"/>
                  </a:lnTo>
                  <a:lnTo>
                    <a:pt x="416" y="253"/>
                  </a:lnTo>
                  <a:lnTo>
                    <a:pt x="385" y="292"/>
                  </a:lnTo>
                  <a:lnTo>
                    <a:pt x="353" y="292"/>
                  </a:lnTo>
                  <a:lnTo>
                    <a:pt x="333" y="266"/>
                  </a:lnTo>
                  <a:lnTo>
                    <a:pt x="325" y="237"/>
                  </a:lnTo>
                  <a:lnTo>
                    <a:pt x="299" y="209"/>
                  </a:lnTo>
                  <a:lnTo>
                    <a:pt x="262" y="209"/>
                  </a:lnTo>
                  <a:lnTo>
                    <a:pt x="247" y="180"/>
                  </a:lnTo>
                  <a:lnTo>
                    <a:pt x="247" y="136"/>
                  </a:lnTo>
                  <a:lnTo>
                    <a:pt x="265" y="107"/>
                  </a:lnTo>
                  <a:lnTo>
                    <a:pt x="254" y="68"/>
                  </a:lnTo>
                  <a:lnTo>
                    <a:pt x="22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59</a:t>
              </a:r>
            </a:p>
          </p:txBody>
        </p:sp>
        <p:sp>
          <p:nvSpPr>
            <p:cNvPr id="84" name="FR-02">
              <a:extLst>
                <a:ext uri="{FF2B5EF4-FFF2-40B4-BE49-F238E27FC236}">
                  <a16:creationId xmlns:a16="http://schemas.microsoft.com/office/drawing/2014/main" id="{9F9E32DF-2F40-41A7-9BA9-3670EE51425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684759" y="3670829"/>
              <a:ext cx="295660" cy="404454"/>
            </a:xfrm>
            <a:custGeom>
              <a:avLst/>
              <a:gdLst>
                <a:gd name="T0" fmla="*/ 314 w 640"/>
                <a:gd name="T1" fmla="*/ 28 h 918"/>
                <a:gd name="T2" fmla="*/ 275 w 640"/>
                <a:gd name="T3" fmla="*/ 10 h 918"/>
                <a:gd name="T4" fmla="*/ 202 w 640"/>
                <a:gd name="T5" fmla="*/ 20 h 918"/>
                <a:gd name="T6" fmla="*/ 160 w 640"/>
                <a:gd name="T7" fmla="*/ 41 h 918"/>
                <a:gd name="T8" fmla="*/ 124 w 640"/>
                <a:gd name="T9" fmla="*/ 25 h 918"/>
                <a:gd name="T10" fmla="*/ 102 w 640"/>
                <a:gd name="T11" fmla="*/ 39 h 918"/>
                <a:gd name="T12" fmla="*/ 74 w 640"/>
                <a:gd name="T13" fmla="*/ 113 h 918"/>
                <a:gd name="T14" fmla="*/ 50 w 640"/>
                <a:gd name="T15" fmla="*/ 173 h 918"/>
                <a:gd name="T16" fmla="*/ 69 w 640"/>
                <a:gd name="T17" fmla="*/ 258 h 918"/>
                <a:gd name="T18" fmla="*/ 80 w 640"/>
                <a:gd name="T19" fmla="*/ 427 h 918"/>
                <a:gd name="T20" fmla="*/ 100 w 640"/>
                <a:gd name="T21" fmla="*/ 475 h 918"/>
                <a:gd name="T22" fmla="*/ 61 w 640"/>
                <a:gd name="T23" fmla="*/ 549 h 918"/>
                <a:gd name="T24" fmla="*/ 0 w 640"/>
                <a:gd name="T25" fmla="*/ 586 h 918"/>
                <a:gd name="T26" fmla="*/ 37 w 640"/>
                <a:gd name="T27" fmla="*/ 628 h 918"/>
                <a:gd name="T28" fmla="*/ 16 w 640"/>
                <a:gd name="T29" fmla="*/ 673 h 918"/>
                <a:gd name="T30" fmla="*/ 37 w 640"/>
                <a:gd name="T31" fmla="*/ 649 h 918"/>
                <a:gd name="T32" fmla="*/ 87 w 640"/>
                <a:gd name="T33" fmla="*/ 692 h 918"/>
                <a:gd name="T34" fmla="*/ 106 w 640"/>
                <a:gd name="T35" fmla="*/ 744 h 918"/>
                <a:gd name="T36" fmla="*/ 184 w 640"/>
                <a:gd name="T37" fmla="*/ 869 h 918"/>
                <a:gd name="T38" fmla="*/ 220 w 640"/>
                <a:gd name="T39" fmla="*/ 908 h 918"/>
                <a:gd name="T40" fmla="*/ 270 w 640"/>
                <a:gd name="T41" fmla="*/ 911 h 918"/>
                <a:gd name="T42" fmla="*/ 322 w 640"/>
                <a:gd name="T43" fmla="*/ 864 h 918"/>
                <a:gd name="T44" fmla="*/ 366 w 640"/>
                <a:gd name="T45" fmla="*/ 794 h 918"/>
                <a:gd name="T46" fmla="*/ 319 w 640"/>
                <a:gd name="T47" fmla="*/ 775 h 918"/>
                <a:gd name="T48" fmla="*/ 337 w 640"/>
                <a:gd name="T49" fmla="*/ 747 h 918"/>
                <a:gd name="T50" fmla="*/ 325 w 640"/>
                <a:gd name="T51" fmla="*/ 716 h 918"/>
                <a:gd name="T52" fmla="*/ 392 w 640"/>
                <a:gd name="T53" fmla="*/ 687 h 918"/>
                <a:gd name="T54" fmla="*/ 345 w 640"/>
                <a:gd name="T55" fmla="*/ 640 h 918"/>
                <a:gd name="T56" fmla="*/ 395 w 640"/>
                <a:gd name="T57" fmla="*/ 533 h 918"/>
                <a:gd name="T58" fmla="*/ 444 w 640"/>
                <a:gd name="T59" fmla="*/ 508 h 918"/>
                <a:gd name="T60" fmla="*/ 520 w 640"/>
                <a:gd name="T61" fmla="*/ 523 h 918"/>
                <a:gd name="T62" fmla="*/ 535 w 640"/>
                <a:gd name="T63" fmla="*/ 429 h 918"/>
                <a:gd name="T64" fmla="*/ 554 w 640"/>
                <a:gd name="T65" fmla="*/ 362 h 918"/>
                <a:gd name="T66" fmla="*/ 527 w 640"/>
                <a:gd name="T67" fmla="*/ 323 h 918"/>
                <a:gd name="T68" fmla="*/ 577 w 640"/>
                <a:gd name="T69" fmla="*/ 278 h 918"/>
                <a:gd name="T70" fmla="*/ 627 w 640"/>
                <a:gd name="T71" fmla="*/ 226 h 918"/>
                <a:gd name="T72" fmla="*/ 616 w 640"/>
                <a:gd name="T73" fmla="*/ 166 h 918"/>
                <a:gd name="T74" fmla="*/ 616 w 640"/>
                <a:gd name="T75" fmla="*/ 101 h 918"/>
                <a:gd name="T76" fmla="*/ 570 w 640"/>
                <a:gd name="T77" fmla="*/ 55 h 918"/>
                <a:gd name="T78" fmla="*/ 507 w 640"/>
                <a:gd name="T79" fmla="*/ 52 h 918"/>
                <a:gd name="T80" fmla="*/ 481 w 640"/>
                <a:gd name="T81" fmla="*/ 18 h 918"/>
                <a:gd name="T82" fmla="*/ 447 w 640"/>
                <a:gd name="T83" fmla="*/ 20 h 918"/>
                <a:gd name="T84" fmla="*/ 374 w 640"/>
                <a:gd name="T85" fmla="*/ 2 h 91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40"/>
                <a:gd name="T130" fmla="*/ 0 h 918"/>
                <a:gd name="T131" fmla="*/ 640 w 640"/>
                <a:gd name="T132" fmla="*/ 918 h 91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40" h="918">
                  <a:moveTo>
                    <a:pt x="356" y="0"/>
                  </a:moveTo>
                  <a:lnTo>
                    <a:pt x="314" y="28"/>
                  </a:lnTo>
                  <a:lnTo>
                    <a:pt x="293" y="10"/>
                  </a:lnTo>
                  <a:lnTo>
                    <a:pt x="275" y="10"/>
                  </a:lnTo>
                  <a:lnTo>
                    <a:pt x="233" y="39"/>
                  </a:lnTo>
                  <a:lnTo>
                    <a:pt x="202" y="20"/>
                  </a:lnTo>
                  <a:lnTo>
                    <a:pt x="171" y="39"/>
                  </a:lnTo>
                  <a:lnTo>
                    <a:pt x="160" y="41"/>
                  </a:lnTo>
                  <a:lnTo>
                    <a:pt x="152" y="25"/>
                  </a:lnTo>
                  <a:lnTo>
                    <a:pt x="124" y="25"/>
                  </a:lnTo>
                  <a:lnTo>
                    <a:pt x="103" y="39"/>
                  </a:lnTo>
                  <a:lnTo>
                    <a:pt x="102" y="39"/>
                  </a:lnTo>
                  <a:lnTo>
                    <a:pt x="108" y="75"/>
                  </a:lnTo>
                  <a:lnTo>
                    <a:pt x="74" y="113"/>
                  </a:lnTo>
                  <a:lnTo>
                    <a:pt x="74" y="147"/>
                  </a:lnTo>
                  <a:lnTo>
                    <a:pt x="50" y="173"/>
                  </a:lnTo>
                  <a:lnTo>
                    <a:pt x="56" y="205"/>
                  </a:lnTo>
                  <a:lnTo>
                    <a:pt x="69" y="258"/>
                  </a:lnTo>
                  <a:lnTo>
                    <a:pt x="85" y="348"/>
                  </a:lnTo>
                  <a:lnTo>
                    <a:pt x="80" y="427"/>
                  </a:lnTo>
                  <a:lnTo>
                    <a:pt x="69" y="451"/>
                  </a:lnTo>
                  <a:lnTo>
                    <a:pt x="100" y="475"/>
                  </a:lnTo>
                  <a:lnTo>
                    <a:pt x="77" y="485"/>
                  </a:lnTo>
                  <a:lnTo>
                    <a:pt x="61" y="549"/>
                  </a:lnTo>
                  <a:lnTo>
                    <a:pt x="16" y="559"/>
                  </a:lnTo>
                  <a:lnTo>
                    <a:pt x="0" y="586"/>
                  </a:lnTo>
                  <a:lnTo>
                    <a:pt x="32" y="591"/>
                  </a:lnTo>
                  <a:lnTo>
                    <a:pt x="37" y="628"/>
                  </a:lnTo>
                  <a:lnTo>
                    <a:pt x="13" y="633"/>
                  </a:lnTo>
                  <a:lnTo>
                    <a:pt x="16" y="673"/>
                  </a:lnTo>
                  <a:lnTo>
                    <a:pt x="24" y="670"/>
                  </a:lnTo>
                  <a:lnTo>
                    <a:pt x="37" y="649"/>
                  </a:lnTo>
                  <a:lnTo>
                    <a:pt x="69" y="670"/>
                  </a:lnTo>
                  <a:lnTo>
                    <a:pt x="87" y="692"/>
                  </a:lnTo>
                  <a:lnTo>
                    <a:pt x="82" y="727"/>
                  </a:lnTo>
                  <a:lnTo>
                    <a:pt x="106" y="744"/>
                  </a:lnTo>
                  <a:lnTo>
                    <a:pt x="114" y="802"/>
                  </a:lnTo>
                  <a:lnTo>
                    <a:pt x="184" y="869"/>
                  </a:lnTo>
                  <a:lnTo>
                    <a:pt x="207" y="877"/>
                  </a:lnTo>
                  <a:lnTo>
                    <a:pt x="220" y="908"/>
                  </a:lnTo>
                  <a:lnTo>
                    <a:pt x="264" y="918"/>
                  </a:lnTo>
                  <a:lnTo>
                    <a:pt x="270" y="911"/>
                  </a:lnTo>
                  <a:lnTo>
                    <a:pt x="283" y="883"/>
                  </a:lnTo>
                  <a:lnTo>
                    <a:pt x="322" y="864"/>
                  </a:lnTo>
                  <a:lnTo>
                    <a:pt x="343" y="810"/>
                  </a:lnTo>
                  <a:lnTo>
                    <a:pt x="366" y="794"/>
                  </a:lnTo>
                  <a:lnTo>
                    <a:pt x="353" y="775"/>
                  </a:lnTo>
                  <a:lnTo>
                    <a:pt x="319" y="775"/>
                  </a:lnTo>
                  <a:lnTo>
                    <a:pt x="314" y="758"/>
                  </a:lnTo>
                  <a:lnTo>
                    <a:pt x="337" y="747"/>
                  </a:lnTo>
                  <a:lnTo>
                    <a:pt x="348" y="731"/>
                  </a:lnTo>
                  <a:lnTo>
                    <a:pt x="325" y="716"/>
                  </a:lnTo>
                  <a:lnTo>
                    <a:pt x="332" y="692"/>
                  </a:lnTo>
                  <a:lnTo>
                    <a:pt x="392" y="687"/>
                  </a:lnTo>
                  <a:lnTo>
                    <a:pt x="382" y="664"/>
                  </a:lnTo>
                  <a:lnTo>
                    <a:pt x="345" y="640"/>
                  </a:lnTo>
                  <a:lnTo>
                    <a:pt x="345" y="570"/>
                  </a:lnTo>
                  <a:lnTo>
                    <a:pt x="395" y="533"/>
                  </a:lnTo>
                  <a:lnTo>
                    <a:pt x="450" y="533"/>
                  </a:lnTo>
                  <a:lnTo>
                    <a:pt x="444" y="508"/>
                  </a:lnTo>
                  <a:lnTo>
                    <a:pt x="475" y="494"/>
                  </a:lnTo>
                  <a:lnTo>
                    <a:pt x="520" y="523"/>
                  </a:lnTo>
                  <a:lnTo>
                    <a:pt x="538" y="518"/>
                  </a:lnTo>
                  <a:lnTo>
                    <a:pt x="535" y="429"/>
                  </a:lnTo>
                  <a:lnTo>
                    <a:pt x="543" y="398"/>
                  </a:lnTo>
                  <a:lnTo>
                    <a:pt x="554" y="362"/>
                  </a:lnTo>
                  <a:lnTo>
                    <a:pt x="520" y="343"/>
                  </a:lnTo>
                  <a:lnTo>
                    <a:pt x="527" y="323"/>
                  </a:lnTo>
                  <a:lnTo>
                    <a:pt x="577" y="312"/>
                  </a:lnTo>
                  <a:lnTo>
                    <a:pt x="577" y="278"/>
                  </a:lnTo>
                  <a:lnTo>
                    <a:pt x="616" y="258"/>
                  </a:lnTo>
                  <a:lnTo>
                    <a:pt x="627" y="226"/>
                  </a:lnTo>
                  <a:lnTo>
                    <a:pt x="614" y="205"/>
                  </a:lnTo>
                  <a:lnTo>
                    <a:pt x="616" y="166"/>
                  </a:lnTo>
                  <a:lnTo>
                    <a:pt x="640" y="145"/>
                  </a:lnTo>
                  <a:lnTo>
                    <a:pt x="616" y="101"/>
                  </a:lnTo>
                  <a:lnTo>
                    <a:pt x="623" y="55"/>
                  </a:lnTo>
                  <a:lnTo>
                    <a:pt x="570" y="55"/>
                  </a:lnTo>
                  <a:lnTo>
                    <a:pt x="556" y="65"/>
                  </a:lnTo>
                  <a:lnTo>
                    <a:pt x="507" y="52"/>
                  </a:lnTo>
                  <a:lnTo>
                    <a:pt x="496" y="18"/>
                  </a:lnTo>
                  <a:lnTo>
                    <a:pt x="481" y="18"/>
                  </a:lnTo>
                  <a:lnTo>
                    <a:pt x="452" y="44"/>
                  </a:lnTo>
                  <a:lnTo>
                    <a:pt x="447" y="20"/>
                  </a:lnTo>
                  <a:lnTo>
                    <a:pt x="390" y="15"/>
                  </a:lnTo>
                  <a:lnTo>
                    <a:pt x="374" y="2"/>
                  </a:lnTo>
                  <a:lnTo>
                    <a:pt x="356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02</a:t>
              </a:r>
            </a:p>
          </p:txBody>
        </p:sp>
        <p:sp>
          <p:nvSpPr>
            <p:cNvPr id="85" name="FR-80">
              <a:extLst>
                <a:ext uri="{FF2B5EF4-FFF2-40B4-BE49-F238E27FC236}">
                  <a16:creationId xmlns:a16="http://schemas.microsoft.com/office/drawing/2014/main" id="{D6935D32-383B-439D-9D4F-0639997F692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16569" y="3566412"/>
              <a:ext cx="418082" cy="263468"/>
            </a:xfrm>
            <a:custGeom>
              <a:avLst/>
              <a:gdLst>
                <a:gd name="T0" fmla="*/ 97 w 905"/>
                <a:gd name="T1" fmla="*/ 86 h 598"/>
                <a:gd name="T2" fmla="*/ 155 w 905"/>
                <a:gd name="T3" fmla="*/ 165 h 598"/>
                <a:gd name="T4" fmla="*/ 0 w 905"/>
                <a:gd name="T5" fmla="*/ 227 h 598"/>
                <a:gd name="T6" fmla="*/ 51 w 905"/>
                <a:gd name="T7" fmla="*/ 234 h 598"/>
                <a:gd name="T8" fmla="*/ 179 w 905"/>
                <a:gd name="T9" fmla="*/ 372 h 598"/>
                <a:gd name="T10" fmla="*/ 212 w 905"/>
                <a:gd name="T11" fmla="*/ 466 h 598"/>
                <a:gd name="T12" fmla="*/ 237 w 905"/>
                <a:gd name="T13" fmla="*/ 477 h 598"/>
                <a:gd name="T14" fmla="*/ 242 w 905"/>
                <a:gd name="T15" fmla="*/ 513 h 598"/>
                <a:gd name="T16" fmla="*/ 292 w 905"/>
                <a:gd name="T17" fmla="*/ 511 h 598"/>
                <a:gd name="T18" fmla="*/ 364 w 905"/>
                <a:gd name="T19" fmla="*/ 529 h 598"/>
                <a:gd name="T20" fmla="*/ 519 w 905"/>
                <a:gd name="T21" fmla="*/ 540 h 598"/>
                <a:gd name="T22" fmla="*/ 604 w 905"/>
                <a:gd name="T23" fmla="*/ 582 h 598"/>
                <a:gd name="T24" fmla="*/ 710 w 905"/>
                <a:gd name="T25" fmla="*/ 542 h 598"/>
                <a:gd name="T26" fmla="*/ 816 w 905"/>
                <a:gd name="T27" fmla="*/ 529 h 598"/>
                <a:gd name="T28" fmla="*/ 866 w 905"/>
                <a:gd name="T29" fmla="*/ 495 h 598"/>
                <a:gd name="T30" fmla="*/ 847 w 905"/>
                <a:gd name="T31" fmla="*/ 410 h 598"/>
                <a:gd name="T32" fmla="*/ 871 w 905"/>
                <a:gd name="T33" fmla="*/ 350 h 598"/>
                <a:gd name="T34" fmla="*/ 899 w 905"/>
                <a:gd name="T35" fmla="*/ 276 h 598"/>
                <a:gd name="T36" fmla="*/ 856 w 905"/>
                <a:gd name="T37" fmla="*/ 247 h 598"/>
                <a:gd name="T38" fmla="*/ 754 w 905"/>
                <a:gd name="T39" fmla="*/ 268 h 598"/>
                <a:gd name="T40" fmla="*/ 744 w 905"/>
                <a:gd name="T41" fmla="*/ 231 h 598"/>
                <a:gd name="T42" fmla="*/ 692 w 905"/>
                <a:gd name="T43" fmla="*/ 257 h 598"/>
                <a:gd name="T44" fmla="*/ 705 w 905"/>
                <a:gd name="T45" fmla="*/ 213 h 598"/>
                <a:gd name="T46" fmla="*/ 671 w 905"/>
                <a:gd name="T47" fmla="*/ 216 h 598"/>
                <a:gd name="T48" fmla="*/ 593 w 905"/>
                <a:gd name="T49" fmla="*/ 197 h 598"/>
                <a:gd name="T50" fmla="*/ 546 w 905"/>
                <a:gd name="T51" fmla="*/ 195 h 598"/>
                <a:gd name="T52" fmla="*/ 528 w 905"/>
                <a:gd name="T53" fmla="*/ 218 h 598"/>
                <a:gd name="T54" fmla="*/ 515 w 905"/>
                <a:gd name="T55" fmla="*/ 169 h 598"/>
                <a:gd name="T56" fmla="*/ 538 w 905"/>
                <a:gd name="T57" fmla="*/ 117 h 598"/>
                <a:gd name="T58" fmla="*/ 491 w 905"/>
                <a:gd name="T59" fmla="*/ 117 h 598"/>
                <a:gd name="T60" fmla="*/ 392 w 905"/>
                <a:gd name="T61" fmla="*/ 137 h 598"/>
                <a:gd name="T62" fmla="*/ 358 w 905"/>
                <a:gd name="T63" fmla="*/ 99 h 598"/>
                <a:gd name="T64" fmla="*/ 299 w 905"/>
                <a:gd name="T65" fmla="*/ 47 h 598"/>
                <a:gd name="T66" fmla="*/ 231 w 905"/>
                <a:gd name="T67" fmla="*/ 15 h 598"/>
                <a:gd name="T68" fmla="*/ 189 w 905"/>
                <a:gd name="T69" fmla="*/ 31 h 598"/>
                <a:gd name="T70" fmla="*/ 145 w 905"/>
                <a:gd name="T71" fmla="*/ 10 h 59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05"/>
                <a:gd name="T109" fmla="*/ 0 h 598"/>
                <a:gd name="T110" fmla="*/ 905 w 905"/>
                <a:gd name="T111" fmla="*/ 598 h 59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05" h="598">
                  <a:moveTo>
                    <a:pt x="104" y="0"/>
                  </a:moveTo>
                  <a:lnTo>
                    <a:pt x="97" y="86"/>
                  </a:lnTo>
                  <a:lnTo>
                    <a:pt x="155" y="138"/>
                  </a:lnTo>
                  <a:lnTo>
                    <a:pt x="155" y="165"/>
                  </a:lnTo>
                  <a:lnTo>
                    <a:pt x="84" y="123"/>
                  </a:lnTo>
                  <a:lnTo>
                    <a:pt x="0" y="227"/>
                  </a:lnTo>
                  <a:lnTo>
                    <a:pt x="22" y="237"/>
                  </a:lnTo>
                  <a:lnTo>
                    <a:pt x="51" y="234"/>
                  </a:lnTo>
                  <a:lnTo>
                    <a:pt x="64" y="260"/>
                  </a:lnTo>
                  <a:lnTo>
                    <a:pt x="179" y="372"/>
                  </a:lnTo>
                  <a:lnTo>
                    <a:pt x="187" y="419"/>
                  </a:lnTo>
                  <a:lnTo>
                    <a:pt x="212" y="466"/>
                  </a:lnTo>
                  <a:lnTo>
                    <a:pt x="204" y="477"/>
                  </a:lnTo>
                  <a:lnTo>
                    <a:pt x="237" y="477"/>
                  </a:lnTo>
                  <a:lnTo>
                    <a:pt x="242" y="485"/>
                  </a:lnTo>
                  <a:lnTo>
                    <a:pt x="242" y="513"/>
                  </a:lnTo>
                  <a:lnTo>
                    <a:pt x="258" y="524"/>
                  </a:lnTo>
                  <a:lnTo>
                    <a:pt x="292" y="511"/>
                  </a:lnTo>
                  <a:lnTo>
                    <a:pt x="340" y="511"/>
                  </a:lnTo>
                  <a:lnTo>
                    <a:pt x="364" y="529"/>
                  </a:lnTo>
                  <a:lnTo>
                    <a:pt x="453" y="521"/>
                  </a:lnTo>
                  <a:lnTo>
                    <a:pt x="519" y="540"/>
                  </a:lnTo>
                  <a:lnTo>
                    <a:pt x="557" y="577"/>
                  </a:lnTo>
                  <a:lnTo>
                    <a:pt x="604" y="582"/>
                  </a:lnTo>
                  <a:lnTo>
                    <a:pt x="652" y="598"/>
                  </a:lnTo>
                  <a:lnTo>
                    <a:pt x="710" y="542"/>
                  </a:lnTo>
                  <a:lnTo>
                    <a:pt x="779" y="524"/>
                  </a:lnTo>
                  <a:lnTo>
                    <a:pt x="816" y="529"/>
                  </a:lnTo>
                  <a:lnTo>
                    <a:pt x="871" y="524"/>
                  </a:lnTo>
                  <a:lnTo>
                    <a:pt x="866" y="495"/>
                  </a:lnTo>
                  <a:lnTo>
                    <a:pt x="853" y="442"/>
                  </a:lnTo>
                  <a:lnTo>
                    <a:pt x="847" y="410"/>
                  </a:lnTo>
                  <a:lnTo>
                    <a:pt x="871" y="384"/>
                  </a:lnTo>
                  <a:lnTo>
                    <a:pt x="871" y="350"/>
                  </a:lnTo>
                  <a:lnTo>
                    <a:pt x="905" y="312"/>
                  </a:lnTo>
                  <a:lnTo>
                    <a:pt x="899" y="276"/>
                  </a:lnTo>
                  <a:lnTo>
                    <a:pt x="879" y="270"/>
                  </a:lnTo>
                  <a:lnTo>
                    <a:pt x="856" y="247"/>
                  </a:lnTo>
                  <a:lnTo>
                    <a:pt x="793" y="247"/>
                  </a:lnTo>
                  <a:lnTo>
                    <a:pt x="754" y="268"/>
                  </a:lnTo>
                  <a:lnTo>
                    <a:pt x="754" y="250"/>
                  </a:lnTo>
                  <a:lnTo>
                    <a:pt x="744" y="231"/>
                  </a:lnTo>
                  <a:lnTo>
                    <a:pt x="720" y="242"/>
                  </a:lnTo>
                  <a:lnTo>
                    <a:pt x="692" y="257"/>
                  </a:lnTo>
                  <a:lnTo>
                    <a:pt x="707" y="234"/>
                  </a:lnTo>
                  <a:lnTo>
                    <a:pt x="705" y="213"/>
                  </a:lnTo>
                  <a:lnTo>
                    <a:pt x="671" y="190"/>
                  </a:lnTo>
                  <a:lnTo>
                    <a:pt x="671" y="216"/>
                  </a:lnTo>
                  <a:lnTo>
                    <a:pt x="647" y="216"/>
                  </a:lnTo>
                  <a:lnTo>
                    <a:pt x="593" y="197"/>
                  </a:lnTo>
                  <a:lnTo>
                    <a:pt x="569" y="179"/>
                  </a:lnTo>
                  <a:lnTo>
                    <a:pt x="546" y="195"/>
                  </a:lnTo>
                  <a:lnTo>
                    <a:pt x="538" y="216"/>
                  </a:lnTo>
                  <a:lnTo>
                    <a:pt x="528" y="218"/>
                  </a:lnTo>
                  <a:lnTo>
                    <a:pt x="515" y="205"/>
                  </a:lnTo>
                  <a:lnTo>
                    <a:pt x="515" y="169"/>
                  </a:lnTo>
                  <a:lnTo>
                    <a:pt x="554" y="143"/>
                  </a:lnTo>
                  <a:lnTo>
                    <a:pt x="538" y="117"/>
                  </a:lnTo>
                  <a:lnTo>
                    <a:pt x="507" y="130"/>
                  </a:lnTo>
                  <a:lnTo>
                    <a:pt x="491" y="117"/>
                  </a:lnTo>
                  <a:lnTo>
                    <a:pt x="426" y="125"/>
                  </a:lnTo>
                  <a:lnTo>
                    <a:pt x="392" y="137"/>
                  </a:lnTo>
                  <a:lnTo>
                    <a:pt x="358" y="125"/>
                  </a:lnTo>
                  <a:lnTo>
                    <a:pt x="358" y="99"/>
                  </a:lnTo>
                  <a:lnTo>
                    <a:pt x="312" y="78"/>
                  </a:lnTo>
                  <a:lnTo>
                    <a:pt x="299" y="47"/>
                  </a:lnTo>
                  <a:lnTo>
                    <a:pt x="280" y="54"/>
                  </a:lnTo>
                  <a:lnTo>
                    <a:pt x="231" y="15"/>
                  </a:lnTo>
                  <a:lnTo>
                    <a:pt x="207" y="7"/>
                  </a:lnTo>
                  <a:lnTo>
                    <a:pt x="189" y="31"/>
                  </a:lnTo>
                  <a:lnTo>
                    <a:pt x="158" y="39"/>
                  </a:lnTo>
                  <a:lnTo>
                    <a:pt x="145" y="10"/>
                  </a:lnTo>
                  <a:lnTo>
                    <a:pt x="104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80</a:t>
              </a:r>
            </a:p>
          </p:txBody>
        </p:sp>
        <p:sp>
          <p:nvSpPr>
            <p:cNvPr id="86" name="FR-08">
              <a:extLst>
                <a:ext uri="{FF2B5EF4-FFF2-40B4-BE49-F238E27FC236}">
                  <a16:creationId xmlns:a16="http://schemas.microsoft.com/office/drawing/2014/main" id="{EB545DA1-7FEB-41A2-8C7E-1964ED1D74B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924983" y="3633380"/>
              <a:ext cx="304438" cy="308408"/>
            </a:xfrm>
            <a:custGeom>
              <a:avLst/>
              <a:gdLst>
                <a:gd name="T0" fmla="*/ 332 w 659"/>
                <a:gd name="T1" fmla="*/ 38 h 700"/>
                <a:gd name="T2" fmla="*/ 309 w 659"/>
                <a:gd name="T3" fmla="*/ 85 h 700"/>
                <a:gd name="T4" fmla="*/ 278 w 659"/>
                <a:gd name="T5" fmla="*/ 138 h 700"/>
                <a:gd name="T6" fmla="*/ 190 w 659"/>
                <a:gd name="T7" fmla="*/ 169 h 700"/>
                <a:gd name="T8" fmla="*/ 103 w 659"/>
                <a:gd name="T9" fmla="*/ 140 h 700"/>
                <a:gd name="T10" fmla="*/ 120 w 659"/>
                <a:gd name="T11" fmla="*/ 230 h 700"/>
                <a:gd name="T12" fmla="*/ 94 w 659"/>
                <a:gd name="T13" fmla="*/ 290 h 700"/>
                <a:gd name="T14" fmla="*/ 96 w 659"/>
                <a:gd name="T15" fmla="*/ 343 h 700"/>
                <a:gd name="T16" fmla="*/ 57 w 659"/>
                <a:gd name="T17" fmla="*/ 397 h 700"/>
                <a:gd name="T18" fmla="*/ 0 w 659"/>
                <a:gd name="T19" fmla="*/ 428 h 700"/>
                <a:gd name="T20" fmla="*/ 23 w 659"/>
                <a:gd name="T21" fmla="*/ 483 h 700"/>
                <a:gd name="T22" fmla="*/ 17 w 659"/>
                <a:gd name="T23" fmla="*/ 579 h 700"/>
                <a:gd name="T24" fmla="*/ 136 w 659"/>
                <a:gd name="T25" fmla="*/ 615 h 700"/>
                <a:gd name="T26" fmla="*/ 175 w 659"/>
                <a:gd name="T27" fmla="*/ 639 h 700"/>
                <a:gd name="T28" fmla="*/ 252 w 659"/>
                <a:gd name="T29" fmla="*/ 673 h 700"/>
                <a:gd name="T30" fmla="*/ 295 w 659"/>
                <a:gd name="T31" fmla="*/ 665 h 700"/>
                <a:gd name="T32" fmla="*/ 329 w 659"/>
                <a:gd name="T33" fmla="*/ 700 h 700"/>
                <a:gd name="T34" fmla="*/ 403 w 659"/>
                <a:gd name="T35" fmla="*/ 687 h 700"/>
                <a:gd name="T36" fmla="*/ 421 w 659"/>
                <a:gd name="T37" fmla="*/ 700 h 700"/>
                <a:gd name="T38" fmla="*/ 472 w 659"/>
                <a:gd name="T39" fmla="*/ 695 h 700"/>
                <a:gd name="T40" fmla="*/ 474 w 659"/>
                <a:gd name="T41" fmla="*/ 683 h 700"/>
                <a:gd name="T42" fmla="*/ 520 w 659"/>
                <a:gd name="T43" fmla="*/ 652 h 700"/>
                <a:gd name="T44" fmla="*/ 507 w 659"/>
                <a:gd name="T45" fmla="*/ 608 h 700"/>
                <a:gd name="T46" fmla="*/ 547 w 659"/>
                <a:gd name="T47" fmla="*/ 533 h 700"/>
                <a:gd name="T48" fmla="*/ 526 w 659"/>
                <a:gd name="T49" fmla="*/ 475 h 700"/>
                <a:gd name="T50" fmla="*/ 560 w 659"/>
                <a:gd name="T51" fmla="*/ 436 h 700"/>
                <a:gd name="T52" fmla="*/ 617 w 659"/>
                <a:gd name="T53" fmla="*/ 454 h 700"/>
                <a:gd name="T54" fmla="*/ 659 w 659"/>
                <a:gd name="T55" fmla="*/ 409 h 700"/>
                <a:gd name="T56" fmla="*/ 630 w 659"/>
                <a:gd name="T57" fmla="*/ 354 h 700"/>
                <a:gd name="T58" fmla="*/ 536 w 659"/>
                <a:gd name="T59" fmla="*/ 330 h 700"/>
                <a:gd name="T60" fmla="*/ 499 w 659"/>
                <a:gd name="T61" fmla="*/ 281 h 700"/>
                <a:gd name="T62" fmla="*/ 411 w 659"/>
                <a:gd name="T63" fmla="*/ 210 h 700"/>
                <a:gd name="T64" fmla="*/ 421 w 659"/>
                <a:gd name="T65" fmla="*/ 177 h 700"/>
                <a:gd name="T66" fmla="*/ 387 w 659"/>
                <a:gd name="T67" fmla="*/ 122 h 700"/>
                <a:gd name="T68" fmla="*/ 380 w 659"/>
                <a:gd name="T69" fmla="*/ 80 h 700"/>
                <a:gd name="T70" fmla="*/ 408 w 659"/>
                <a:gd name="T71" fmla="*/ 7 h 700"/>
                <a:gd name="T72" fmla="*/ 359 w 659"/>
                <a:gd name="T73" fmla="*/ 0 h 70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59"/>
                <a:gd name="T112" fmla="*/ 0 h 700"/>
                <a:gd name="T113" fmla="*/ 659 w 659"/>
                <a:gd name="T114" fmla="*/ 700 h 70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59" h="700">
                  <a:moveTo>
                    <a:pt x="359" y="0"/>
                  </a:moveTo>
                  <a:lnTo>
                    <a:pt x="332" y="38"/>
                  </a:lnTo>
                  <a:lnTo>
                    <a:pt x="309" y="62"/>
                  </a:lnTo>
                  <a:lnTo>
                    <a:pt x="309" y="85"/>
                  </a:lnTo>
                  <a:lnTo>
                    <a:pt x="309" y="117"/>
                  </a:lnTo>
                  <a:lnTo>
                    <a:pt x="278" y="138"/>
                  </a:lnTo>
                  <a:lnTo>
                    <a:pt x="221" y="156"/>
                  </a:lnTo>
                  <a:lnTo>
                    <a:pt x="190" y="169"/>
                  </a:lnTo>
                  <a:lnTo>
                    <a:pt x="153" y="140"/>
                  </a:lnTo>
                  <a:lnTo>
                    <a:pt x="103" y="140"/>
                  </a:lnTo>
                  <a:lnTo>
                    <a:pt x="96" y="186"/>
                  </a:lnTo>
                  <a:lnTo>
                    <a:pt x="120" y="230"/>
                  </a:lnTo>
                  <a:lnTo>
                    <a:pt x="96" y="251"/>
                  </a:lnTo>
                  <a:lnTo>
                    <a:pt x="94" y="290"/>
                  </a:lnTo>
                  <a:lnTo>
                    <a:pt x="107" y="311"/>
                  </a:lnTo>
                  <a:lnTo>
                    <a:pt x="96" y="343"/>
                  </a:lnTo>
                  <a:lnTo>
                    <a:pt x="57" y="363"/>
                  </a:lnTo>
                  <a:lnTo>
                    <a:pt x="57" y="397"/>
                  </a:lnTo>
                  <a:lnTo>
                    <a:pt x="7" y="408"/>
                  </a:lnTo>
                  <a:lnTo>
                    <a:pt x="0" y="428"/>
                  </a:lnTo>
                  <a:lnTo>
                    <a:pt x="34" y="447"/>
                  </a:lnTo>
                  <a:lnTo>
                    <a:pt x="23" y="483"/>
                  </a:lnTo>
                  <a:lnTo>
                    <a:pt x="15" y="514"/>
                  </a:lnTo>
                  <a:lnTo>
                    <a:pt x="17" y="579"/>
                  </a:lnTo>
                  <a:lnTo>
                    <a:pt x="80" y="581"/>
                  </a:lnTo>
                  <a:lnTo>
                    <a:pt x="136" y="615"/>
                  </a:lnTo>
                  <a:lnTo>
                    <a:pt x="146" y="631"/>
                  </a:lnTo>
                  <a:lnTo>
                    <a:pt x="175" y="639"/>
                  </a:lnTo>
                  <a:lnTo>
                    <a:pt x="218" y="671"/>
                  </a:lnTo>
                  <a:lnTo>
                    <a:pt x="252" y="673"/>
                  </a:lnTo>
                  <a:lnTo>
                    <a:pt x="260" y="665"/>
                  </a:lnTo>
                  <a:lnTo>
                    <a:pt x="295" y="665"/>
                  </a:lnTo>
                  <a:lnTo>
                    <a:pt x="310" y="700"/>
                  </a:lnTo>
                  <a:lnTo>
                    <a:pt x="329" y="700"/>
                  </a:lnTo>
                  <a:lnTo>
                    <a:pt x="340" y="684"/>
                  </a:lnTo>
                  <a:lnTo>
                    <a:pt x="403" y="687"/>
                  </a:lnTo>
                  <a:lnTo>
                    <a:pt x="413" y="700"/>
                  </a:lnTo>
                  <a:lnTo>
                    <a:pt x="421" y="700"/>
                  </a:lnTo>
                  <a:lnTo>
                    <a:pt x="448" y="673"/>
                  </a:lnTo>
                  <a:lnTo>
                    <a:pt x="472" y="695"/>
                  </a:lnTo>
                  <a:lnTo>
                    <a:pt x="475" y="694"/>
                  </a:lnTo>
                  <a:lnTo>
                    <a:pt x="474" y="683"/>
                  </a:lnTo>
                  <a:lnTo>
                    <a:pt x="505" y="668"/>
                  </a:lnTo>
                  <a:lnTo>
                    <a:pt x="520" y="652"/>
                  </a:lnTo>
                  <a:lnTo>
                    <a:pt x="510" y="626"/>
                  </a:lnTo>
                  <a:lnTo>
                    <a:pt x="507" y="608"/>
                  </a:lnTo>
                  <a:lnTo>
                    <a:pt x="536" y="585"/>
                  </a:lnTo>
                  <a:lnTo>
                    <a:pt x="547" y="533"/>
                  </a:lnTo>
                  <a:lnTo>
                    <a:pt x="515" y="493"/>
                  </a:lnTo>
                  <a:lnTo>
                    <a:pt x="526" y="475"/>
                  </a:lnTo>
                  <a:lnTo>
                    <a:pt x="552" y="426"/>
                  </a:lnTo>
                  <a:lnTo>
                    <a:pt x="560" y="436"/>
                  </a:lnTo>
                  <a:lnTo>
                    <a:pt x="599" y="436"/>
                  </a:lnTo>
                  <a:lnTo>
                    <a:pt x="617" y="454"/>
                  </a:lnTo>
                  <a:lnTo>
                    <a:pt x="640" y="439"/>
                  </a:lnTo>
                  <a:lnTo>
                    <a:pt x="659" y="409"/>
                  </a:lnTo>
                  <a:lnTo>
                    <a:pt x="640" y="406"/>
                  </a:lnTo>
                  <a:lnTo>
                    <a:pt x="630" y="354"/>
                  </a:lnTo>
                  <a:lnTo>
                    <a:pt x="609" y="338"/>
                  </a:lnTo>
                  <a:lnTo>
                    <a:pt x="536" y="330"/>
                  </a:lnTo>
                  <a:lnTo>
                    <a:pt x="523" y="296"/>
                  </a:lnTo>
                  <a:lnTo>
                    <a:pt x="499" y="281"/>
                  </a:lnTo>
                  <a:lnTo>
                    <a:pt x="416" y="270"/>
                  </a:lnTo>
                  <a:lnTo>
                    <a:pt x="411" y="210"/>
                  </a:lnTo>
                  <a:lnTo>
                    <a:pt x="421" y="200"/>
                  </a:lnTo>
                  <a:lnTo>
                    <a:pt x="421" y="177"/>
                  </a:lnTo>
                  <a:lnTo>
                    <a:pt x="380" y="150"/>
                  </a:lnTo>
                  <a:lnTo>
                    <a:pt x="387" y="122"/>
                  </a:lnTo>
                  <a:lnTo>
                    <a:pt x="398" y="96"/>
                  </a:lnTo>
                  <a:lnTo>
                    <a:pt x="380" y="80"/>
                  </a:lnTo>
                  <a:lnTo>
                    <a:pt x="408" y="54"/>
                  </a:lnTo>
                  <a:lnTo>
                    <a:pt x="408" y="7"/>
                  </a:lnTo>
                  <a:lnTo>
                    <a:pt x="398" y="0"/>
                  </a:lnTo>
                  <a:lnTo>
                    <a:pt x="359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08</a:t>
              </a:r>
            </a:p>
          </p:txBody>
        </p:sp>
        <p:sp>
          <p:nvSpPr>
            <p:cNvPr id="87" name="FR-10">
              <a:extLst>
                <a:ext uri="{FF2B5EF4-FFF2-40B4-BE49-F238E27FC236}">
                  <a16:creationId xmlns:a16="http://schemas.microsoft.com/office/drawing/2014/main" id="{59523EDE-C3BB-4D40-80DD-53E301D3BEB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788702" y="4119782"/>
              <a:ext cx="343243" cy="263468"/>
            </a:xfrm>
            <a:custGeom>
              <a:avLst/>
              <a:gdLst>
                <a:gd name="T0" fmla="*/ 410 w 743"/>
                <a:gd name="T1" fmla="*/ 0 h 598"/>
                <a:gd name="T2" fmla="*/ 357 w 743"/>
                <a:gd name="T3" fmla="*/ 29 h 598"/>
                <a:gd name="T4" fmla="*/ 312 w 743"/>
                <a:gd name="T5" fmla="*/ 61 h 598"/>
                <a:gd name="T6" fmla="*/ 267 w 743"/>
                <a:gd name="T7" fmla="*/ 61 h 598"/>
                <a:gd name="T8" fmla="*/ 193 w 743"/>
                <a:gd name="T9" fmla="*/ 111 h 598"/>
                <a:gd name="T10" fmla="*/ 130 w 743"/>
                <a:gd name="T11" fmla="*/ 122 h 598"/>
                <a:gd name="T12" fmla="*/ 85 w 743"/>
                <a:gd name="T13" fmla="*/ 74 h 598"/>
                <a:gd name="T14" fmla="*/ 73 w 743"/>
                <a:gd name="T15" fmla="*/ 77 h 598"/>
                <a:gd name="T16" fmla="*/ 73 w 743"/>
                <a:gd name="T17" fmla="*/ 85 h 598"/>
                <a:gd name="T18" fmla="*/ 37 w 743"/>
                <a:gd name="T19" fmla="*/ 100 h 598"/>
                <a:gd name="T20" fmla="*/ 35 w 743"/>
                <a:gd name="T21" fmla="*/ 131 h 598"/>
                <a:gd name="T22" fmla="*/ 16 w 743"/>
                <a:gd name="T23" fmla="*/ 155 h 598"/>
                <a:gd name="T24" fmla="*/ 6 w 743"/>
                <a:gd name="T25" fmla="*/ 207 h 598"/>
                <a:gd name="T26" fmla="*/ 0 w 743"/>
                <a:gd name="T27" fmla="*/ 251 h 598"/>
                <a:gd name="T28" fmla="*/ 16 w 743"/>
                <a:gd name="T29" fmla="*/ 264 h 598"/>
                <a:gd name="T30" fmla="*/ 47 w 743"/>
                <a:gd name="T31" fmla="*/ 264 h 598"/>
                <a:gd name="T32" fmla="*/ 115 w 743"/>
                <a:gd name="T33" fmla="*/ 335 h 598"/>
                <a:gd name="T34" fmla="*/ 107 w 743"/>
                <a:gd name="T35" fmla="*/ 405 h 598"/>
                <a:gd name="T36" fmla="*/ 154 w 743"/>
                <a:gd name="T37" fmla="*/ 441 h 598"/>
                <a:gd name="T38" fmla="*/ 180 w 743"/>
                <a:gd name="T39" fmla="*/ 423 h 598"/>
                <a:gd name="T40" fmla="*/ 222 w 743"/>
                <a:gd name="T41" fmla="*/ 473 h 598"/>
                <a:gd name="T42" fmla="*/ 227 w 743"/>
                <a:gd name="T43" fmla="*/ 520 h 598"/>
                <a:gd name="T44" fmla="*/ 256 w 743"/>
                <a:gd name="T45" fmla="*/ 559 h 598"/>
                <a:gd name="T46" fmla="*/ 269 w 743"/>
                <a:gd name="T47" fmla="*/ 587 h 598"/>
                <a:gd name="T48" fmla="*/ 373 w 743"/>
                <a:gd name="T49" fmla="*/ 593 h 598"/>
                <a:gd name="T50" fmla="*/ 425 w 743"/>
                <a:gd name="T51" fmla="*/ 566 h 598"/>
                <a:gd name="T52" fmla="*/ 440 w 743"/>
                <a:gd name="T53" fmla="*/ 595 h 598"/>
                <a:gd name="T54" fmla="*/ 459 w 743"/>
                <a:gd name="T55" fmla="*/ 598 h 598"/>
                <a:gd name="T56" fmla="*/ 472 w 743"/>
                <a:gd name="T57" fmla="*/ 569 h 598"/>
                <a:gd name="T58" fmla="*/ 558 w 743"/>
                <a:gd name="T59" fmla="*/ 566 h 598"/>
                <a:gd name="T60" fmla="*/ 592 w 743"/>
                <a:gd name="T61" fmla="*/ 548 h 598"/>
                <a:gd name="T62" fmla="*/ 597 w 743"/>
                <a:gd name="T63" fmla="*/ 514 h 598"/>
                <a:gd name="T64" fmla="*/ 672 w 743"/>
                <a:gd name="T65" fmla="*/ 514 h 598"/>
                <a:gd name="T66" fmla="*/ 683 w 743"/>
                <a:gd name="T67" fmla="*/ 520 h 598"/>
                <a:gd name="T68" fmla="*/ 674 w 743"/>
                <a:gd name="T69" fmla="*/ 487 h 598"/>
                <a:gd name="T70" fmla="*/ 653 w 743"/>
                <a:gd name="T71" fmla="*/ 474 h 598"/>
                <a:gd name="T72" fmla="*/ 682 w 743"/>
                <a:gd name="T73" fmla="*/ 447 h 598"/>
                <a:gd name="T74" fmla="*/ 727 w 743"/>
                <a:gd name="T75" fmla="*/ 444 h 598"/>
                <a:gd name="T76" fmla="*/ 743 w 743"/>
                <a:gd name="T77" fmla="*/ 421 h 598"/>
                <a:gd name="T78" fmla="*/ 740 w 743"/>
                <a:gd name="T79" fmla="*/ 326 h 598"/>
                <a:gd name="T80" fmla="*/ 730 w 743"/>
                <a:gd name="T81" fmla="*/ 270 h 598"/>
                <a:gd name="T82" fmla="*/ 685 w 743"/>
                <a:gd name="T83" fmla="*/ 254 h 598"/>
                <a:gd name="T84" fmla="*/ 637 w 743"/>
                <a:gd name="T85" fmla="*/ 188 h 598"/>
                <a:gd name="T86" fmla="*/ 640 w 743"/>
                <a:gd name="T87" fmla="*/ 149 h 598"/>
                <a:gd name="T88" fmla="*/ 653 w 743"/>
                <a:gd name="T89" fmla="*/ 120 h 598"/>
                <a:gd name="T90" fmla="*/ 629 w 743"/>
                <a:gd name="T91" fmla="*/ 111 h 598"/>
                <a:gd name="T92" fmla="*/ 555 w 743"/>
                <a:gd name="T93" fmla="*/ 127 h 598"/>
                <a:gd name="T94" fmla="*/ 502 w 743"/>
                <a:gd name="T95" fmla="*/ 127 h 598"/>
                <a:gd name="T96" fmla="*/ 455 w 743"/>
                <a:gd name="T97" fmla="*/ 56 h 598"/>
                <a:gd name="T98" fmla="*/ 449 w 743"/>
                <a:gd name="T99" fmla="*/ 3 h 598"/>
                <a:gd name="T100" fmla="*/ 410 w 743"/>
                <a:gd name="T101" fmla="*/ 0 h 5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743"/>
                <a:gd name="T154" fmla="*/ 0 h 598"/>
                <a:gd name="T155" fmla="*/ 743 w 743"/>
                <a:gd name="T156" fmla="*/ 598 h 5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743" h="598">
                  <a:moveTo>
                    <a:pt x="410" y="0"/>
                  </a:moveTo>
                  <a:lnTo>
                    <a:pt x="357" y="29"/>
                  </a:lnTo>
                  <a:lnTo>
                    <a:pt x="312" y="61"/>
                  </a:lnTo>
                  <a:lnTo>
                    <a:pt x="267" y="61"/>
                  </a:lnTo>
                  <a:lnTo>
                    <a:pt x="193" y="111"/>
                  </a:lnTo>
                  <a:lnTo>
                    <a:pt x="130" y="122"/>
                  </a:lnTo>
                  <a:lnTo>
                    <a:pt x="85" y="74"/>
                  </a:lnTo>
                  <a:lnTo>
                    <a:pt x="73" y="77"/>
                  </a:lnTo>
                  <a:lnTo>
                    <a:pt x="73" y="85"/>
                  </a:lnTo>
                  <a:lnTo>
                    <a:pt x="37" y="100"/>
                  </a:lnTo>
                  <a:lnTo>
                    <a:pt x="35" y="131"/>
                  </a:lnTo>
                  <a:lnTo>
                    <a:pt x="16" y="155"/>
                  </a:lnTo>
                  <a:lnTo>
                    <a:pt x="6" y="207"/>
                  </a:lnTo>
                  <a:lnTo>
                    <a:pt x="0" y="251"/>
                  </a:lnTo>
                  <a:lnTo>
                    <a:pt x="16" y="264"/>
                  </a:lnTo>
                  <a:lnTo>
                    <a:pt x="47" y="264"/>
                  </a:lnTo>
                  <a:lnTo>
                    <a:pt x="115" y="335"/>
                  </a:lnTo>
                  <a:lnTo>
                    <a:pt x="107" y="405"/>
                  </a:lnTo>
                  <a:lnTo>
                    <a:pt x="154" y="441"/>
                  </a:lnTo>
                  <a:lnTo>
                    <a:pt x="180" y="423"/>
                  </a:lnTo>
                  <a:lnTo>
                    <a:pt x="222" y="473"/>
                  </a:lnTo>
                  <a:lnTo>
                    <a:pt x="227" y="520"/>
                  </a:lnTo>
                  <a:lnTo>
                    <a:pt x="256" y="559"/>
                  </a:lnTo>
                  <a:lnTo>
                    <a:pt x="269" y="587"/>
                  </a:lnTo>
                  <a:lnTo>
                    <a:pt x="373" y="593"/>
                  </a:lnTo>
                  <a:lnTo>
                    <a:pt x="425" y="566"/>
                  </a:lnTo>
                  <a:lnTo>
                    <a:pt x="440" y="595"/>
                  </a:lnTo>
                  <a:lnTo>
                    <a:pt x="459" y="598"/>
                  </a:lnTo>
                  <a:lnTo>
                    <a:pt x="472" y="569"/>
                  </a:lnTo>
                  <a:lnTo>
                    <a:pt x="558" y="566"/>
                  </a:lnTo>
                  <a:lnTo>
                    <a:pt x="592" y="548"/>
                  </a:lnTo>
                  <a:lnTo>
                    <a:pt x="597" y="514"/>
                  </a:lnTo>
                  <a:lnTo>
                    <a:pt x="672" y="514"/>
                  </a:lnTo>
                  <a:lnTo>
                    <a:pt x="683" y="520"/>
                  </a:lnTo>
                  <a:lnTo>
                    <a:pt x="674" y="487"/>
                  </a:lnTo>
                  <a:lnTo>
                    <a:pt x="653" y="474"/>
                  </a:lnTo>
                  <a:lnTo>
                    <a:pt x="682" y="447"/>
                  </a:lnTo>
                  <a:lnTo>
                    <a:pt x="727" y="444"/>
                  </a:lnTo>
                  <a:lnTo>
                    <a:pt x="743" y="421"/>
                  </a:lnTo>
                  <a:lnTo>
                    <a:pt x="740" y="326"/>
                  </a:lnTo>
                  <a:lnTo>
                    <a:pt x="730" y="270"/>
                  </a:lnTo>
                  <a:lnTo>
                    <a:pt x="685" y="254"/>
                  </a:lnTo>
                  <a:lnTo>
                    <a:pt x="637" y="188"/>
                  </a:lnTo>
                  <a:lnTo>
                    <a:pt x="640" y="149"/>
                  </a:lnTo>
                  <a:lnTo>
                    <a:pt x="653" y="120"/>
                  </a:lnTo>
                  <a:lnTo>
                    <a:pt x="629" y="111"/>
                  </a:lnTo>
                  <a:lnTo>
                    <a:pt x="555" y="127"/>
                  </a:lnTo>
                  <a:lnTo>
                    <a:pt x="502" y="127"/>
                  </a:lnTo>
                  <a:lnTo>
                    <a:pt x="455" y="56"/>
                  </a:lnTo>
                  <a:lnTo>
                    <a:pt x="449" y="3"/>
                  </a:lnTo>
                  <a:lnTo>
                    <a:pt x="41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10</a:t>
              </a:r>
            </a:p>
          </p:txBody>
        </p:sp>
        <p:sp>
          <p:nvSpPr>
            <p:cNvPr id="88" name="FR-52">
              <a:extLst>
                <a:ext uri="{FF2B5EF4-FFF2-40B4-BE49-F238E27FC236}">
                  <a16:creationId xmlns:a16="http://schemas.microsoft.com/office/drawing/2014/main" id="{983409DE-031B-4237-87A8-34D5C129EAD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082976" y="4125951"/>
              <a:ext cx="295660" cy="362599"/>
            </a:xfrm>
            <a:custGeom>
              <a:avLst/>
              <a:gdLst>
                <a:gd name="T0" fmla="*/ 108 w 640"/>
                <a:gd name="T1" fmla="*/ 10 h 823"/>
                <a:gd name="T2" fmla="*/ 45 w 640"/>
                <a:gd name="T3" fmla="*/ 116 h 823"/>
                <a:gd name="T4" fmla="*/ 3 w 640"/>
                <a:gd name="T5" fmla="*/ 135 h 823"/>
                <a:gd name="T6" fmla="*/ 48 w 640"/>
                <a:gd name="T7" fmla="*/ 240 h 823"/>
                <a:gd name="T8" fmla="*/ 103 w 640"/>
                <a:gd name="T9" fmla="*/ 312 h 823"/>
                <a:gd name="T10" fmla="*/ 90 w 640"/>
                <a:gd name="T11" fmla="*/ 430 h 823"/>
                <a:gd name="T12" fmla="*/ 16 w 640"/>
                <a:gd name="T13" fmla="*/ 460 h 823"/>
                <a:gd name="T14" fmla="*/ 46 w 640"/>
                <a:gd name="T15" fmla="*/ 506 h 823"/>
                <a:gd name="T16" fmla="*/ 124 w 640"/>
                <a:gd name="T17" fmla="*/ 573 h 823"/>
                <a:gd name="T18" fmla="*/ 150 w 640"/>
                <a:gd name="T19" fmla="*/ 690 h 823"/>
                <a:gd name="T20" fmla="*/ 176 w 640"/>
                <a:gd name="T21" fmla="*/ 750 h 823"/>
                <a:gd name="T22" fmla="*/ 228 w 640"/>
                <a:gd name="T23" fmla="*/ 769 h 823"/>
                <a:gd name="T24" fmla="*/ 283 w 640"/>
                <a:gd name="T25" fmla="*/ 758 h 823"/>
                <a:gd name="T26" fmla="*/ 330 w 640"/>
                <a:gd name="T27" fmla="*/ 823 h 823"/>
                <a:gd name="T28" fmla="*/ 398 w 640"/>
                <a:gd name="T29" fmla="*/ 784 h 823"/>
                <a:gd name="T30" fmla="*/ 400 w 640"/>
                <a:gd name="T31" fmla="*/ 758 h 823"/>
                <a:gd name="T32" fmla="*/ 478 w 640"/>
                <a:gd name="T33" fmla="*/ 758 h 823"/>
                <a:gd name="T34" fmla="*/ 540 w 640"/>
                <a:gd name="T35" fmla="*/ 742 h 823"/>
                <a:gd name="T36" fmla="*/ 561 w 640"/>
                <a:gd name="T37" fmla="*/ 675 h 823"/>
                <a:gd name="T38" fmla="*/ 535 w 640"/>
                <a:gd name="T39" fmla="*/ 641 h 823"/>
                <a:gd name="T40" fmla="*/ 574 w 640"/>
                <a:gd name="T41" fmla="*/ 612 h 823"/>
                <a:gd name="T42" fmla="*/ 611 w 640"/>
                <a:gd name="T43" fmla="*/ 579 h 823"/>
                <a:gd name="T44" fmla="*/ 632 w 640"/>
                <a:gd name="T45" fmla="*/ 547 h 823"/>
                <a:gd name="T46" fmla="*/ 616 w 640"/>
                <a:gd name="T47" fmla="*/ 524 h 823"/>
                <a:gd name="T48" fmla="*/ 588 w 640"/>
                <a:gd name="T49" fmla="*/ 480 h 823"/>
                <a:gd name="T50" fmla="*/ 530 w 640"/>
                <a:gd name="T51" fmla="*/ 373 h 823"/>
                <a:gd name="T52" fmla="*/ 546 w 640"/>
                <a:gd name="T53" fmla="*/ 334 h 823"/>
                <a:gd name="T54" fmla="*/ 504 w 640"/>
                <a:gd name="T55" fmla="*/ 295 h 823"/>
                <a:gd name="T56" fmla="*/ 436 w 640"/>
                <a:gd name="T57" fmla="*/ 245 h 823"/>
                <a:gd name="T58" fmla="*/ 377 w 640"/>
                <a:gd name="T59" fmla="*/ 217 h 823"/>
                <a:gd name="T60" fmla="*/ 345 w 640"/>
                <a:gd name="T61" fmla="*/ 133 h 823"/>
                <a:gd name="T62" fmla="*/ 259 w 640"/>
                <a:gd name="T63" fmla="*/ 94 h 823"/>
                <a:gd name="T64" fmla="*/ 171 w 640"/>
                <a:gd name="T65" fmla="*/ 50 h 82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640"/>
                <a:gd name="T100" fmla="*/ 0 h 823"/>
                <a:gd name="T101" fmla="*/ 640 w 640"/>
                <a:gd name="T102" fmla="*/ 823 h 823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640" h="823">
                  <a:moveTo>
                    <a:pt x="170" y="0"/>
                  </a:moveTo>
                  <a:lnTo>
                    <a:pt x="108" y="10"/>
                  </a:lnTo>
                  <a:lnTo>
                    <a:pt x="100" y="76"/>
                  </a:lnTo>
                  <a:lnTo>
                    <a:pt x="45" y="116"/>
                  </a:lnTo>
                  <a:lnTo>
                    <a:pt x="16" y="106"/>
                  </a:lnTo>
                  <a:lnTo>
                    <a:pt x="3" y="135"/>
                  </a:lnTo>
                  <a:lnTo>
                    <a:pt x="0" y="174"/>
                  </a:lnTo>
                  <a:lnTo>
                    <a:pt x="48" y="240"/>
                  </a:lnTo>
                  <a:lnTo>
                    <a:pt x="93" y="256"/>
                  </a:lnTo>
                  <a:lnTo>
                    <a:pt x="103" y="312"/>
                  </a:lnTo>
                  <a:lnTo>
                    <a:pt x="106" y="407"/>
                  </a:lnTo>
                  <a:lnTo>
                    <a:pt x="90" y="430"/>
                  </a:lnTo>
                  <a:lnTo>
                    <a:pt x="45" y="433"/>
                  </a:lnTo>
                  <a:lnTo>
                    <a:pt x="16" y="460"/>
                  </a:lnTo>
                  <a:lnTo>
                    <a:pt x="37" y="473"/>
                  </a:lnTo>
                  <a:lnTo>
                    <a:pt x="46" y="506"/>
                  </a:lnTo>
                  <a:lnTo>
                    <a:pt x="77" y="524"/>
                  </a:lnTo>
                  <a:lnTo>
                    <a:pt x="124" y="573"/>
                  </a:lnTo>
                  <a:lnTo>
                    <a:pt x="184" y="654"/>
                  </a:lnTo>
                  <a:lnTo>
                    <a:pt x="150" y="690"/>
                  </a:lnTo>
                  <a:lnTo>
                    <a:pt x="173" y="706"/>
                  </a:lnTo>
                  <a:lnTo>
                    <a:pt x="176" y="750"/>
                  </a:lnTo>
                  <a:lnTo>
                    <a:pt x="218" y="748"/>
                  </a:lnTo>
                  <a:lnTo>
                    <a:pt x="228" y="769"/>
                  </a:lnTo>
                  <a:lnTo>
                    <a:pt x="259" y="771"/>
                  </a:lnTo>
                  <a:lnTo>
                    <a:pt x="283" y="758"/>
                  </a:lnTo>
                  <a:lnTo>
                    <a:pt x="324" y="810"/>
                  </a:lnTo>
                  <a:lnTo>
                    <a:pt x="330" y="823"/>
                  </a:lnTo>
                  <a:lnTo>
                    <a:pt x="387" y="810"/>
                  </a:lnTo>
                  <a:lnTo>
                    <a:pt x="398" y="784"/>
                  </a:lnTo>
                  <a:lnTo>
                    <a:pt x="400" y="785"/>
                  </a:lnTo>
                  <a:lnTo>
                    <a:pt x="400" y="758"/>
                  </a:lnTo>
                  <a:lnTo>
                    <a:pt x="436" y="742"/>
                  </a:lnTo>
                  <a:lnTo>
                    <a:pt x="478" y="758"/>
                  </a:lnTo>
                  <a:lnTo>
                    <a:pt x="517" y="742"/>
                  </a:lnTo>
                  <a:lnTo>
                    <a:pt x="540" y="742"/>
                  </a:lnTo>
                  <a:lnTo>
                    <a:pt x="548" y="690"/>
                  </a:lnTo>
                  <a:lnTo>
                    <a:pt x="561" y="675"/>
                  </a:lnTo>
                  <a:lnTo>
                    <a:pt x="538" y="672"/>
                  </a:lnTo>
                  <a:lnTo>
                    <a:pt x="535" y="641"/>
                  </a:lnTo>
                  <a:lnTo>
                    <a:pt x="572" y="633"/>
                  </a:lnTo>
                  <a:lnTo>
                    <a:pt x="574" y="612"/>
                  </a:lnTo>
                  <a:lnTo>
                    <a:pt x="611" y="612"/>
                  </a:lnTo>
                  <a:lnTo>
                    <a:pt x="611" y="579"/>
                  </a:lnTo>
                  <a:lnTo>
                    <a:pt x="640" y="568"/>
                  </a:lnTo>
                  <a:lnTo>
                    <a:pt x="632" y="547"/>
                  </a:lnTo>
                  <a:lnTo>
                    <a:pt x="640" y="542"/>
                  </a:lnTo>
                  <a:lnTo>
                    <a:pt x="616" y="524"/>
                  </a:lnTo>
                  <a:lnTo>
                    <a:pt x="588" y="534"/>
                  </a:lnTo>
                  <a:lnTo>
                    <a:pt x="588" y="480"/>
                  </a:lnTo>
                  <a:lnTo>
                    <a:pt x="515" y="443"/>
                  </a:lnTo>
                  <a:lnTo>
                    <a:pt x="530" y="373"/>
                  </a:lnTo>
                  <a:lnTo>
                    <a:pt x="553" y="357"/>
                  </a:lnTo>
                  <a:lnTo>
                    <a:pt x="546" y="334"/>
                  </a:lnTo>
                  <a:lnTo>
                    <a:pt x="512" y="329"/>
                  </a:lnTo>
                  <a:lnTo>
                    <a:pt x="504" y="295"/>
                  </a:lnTo>
                  <a:lnTo>
                    <a:pt x="473" y="295"/>
                  </a:lnTo>
                  <a:lnTo>
                    <a:pt x="436" y="245"/>
                  </a:lnTo>
                  <a:lnTo>
                    <a:pt x="395" y="242"/>
                  </a:lnTo>
                  <a:lnTo>
                    <a:pt x="377" y="217"/>
                  </a:lnTo>
                  <a:lnTo>
                    <a:pt x="400" y="193"/>
                  </a:lnTo>
                  <a:lnTo>
                    <a:pt x="345" y="133"/>
                  </a:lnTo>
                  <a:lnTo>
                    <a:pt x="322" y="125"/>
                  </a:lnTo>
                  <a:lnTo>
                    <a:pt x="259" y="94"/>
                  </a:lnTo>
                  <a:lnTo>
                    <a:pt x="225" y="58"/>
                  </a:lnTo>
                  <a:lnTo>
                    <a:pt x="171" y="50"/>
                  </a:lnTo>
                  <a:lnTo>
                    <a:pt x="17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52</a:t>
              </a:r>
            </a:p>
          </p:txBody>
        </p:sp>
        <p:sp>
          <p:nvSpPr>
            <p:cNvPr id="89" name="FR-67">
              <a:extLst>
                <a:ext uri="{FF2B5EF4-FFF2-40B4-BE49-F238E27FC236}">
                  <a16:creationId xmlns:a16="http://schemas.microsoft.com/office/drawing/2014/main" id="{9E6DF947-0D73-439D-B27F-90AC4F1A711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608235" y="3964698"/>
              <a:ext cx="293350" cy="319422"/>
            </a:xfrm>
            <a:custGeom>
              <a:avLst/>
              <a:gdLst>
                <a:gd name="T0" fmla="*/ 388 w 635"/>
                <a:gd name="T1" fmla="*/ 0 h 725"/>
                <a:gd name="T2" fmla="*/ 338 w 635"/>
                <a:gd name="T3" fmla="*/ 14 h 725"/>
                <a:gd name="T4" fmla="*/ 315 w 635"/>
                <a:gd name="T5" fmla="*/ 54 h 725"/>
                <a:gd name="T6" fmla="*/ 315 w 635"/>
                <a:gd name="T7" fmla="*/ 93 h 725"/>
                <a:gd name="T8" fmla="*/ 294 w 635"/>
                <a:gd name="T9" fmla="*/ 111 h 725"/>
                <a:gd name="T10" fmla="*/ 276 w 635"/>
                <a:gd name="T11" fmla="*/ 111 h 725"/>
                <a:gd name="T12" fmla="*/ 242 w 635"/>
                <a:gd name="T13" fmla="*/ 88 h 725"/>
                <a:gd name="T14" fmla="*/ 216 w 635"/>
                <a:gd name="T15" fmla="*/ 106 h 725"/>
                <a:gd name="T16" fmla="*/ 185 w 635"/>
                <a:gd name="T17" fmla="*/ 106 h 725"/>
                <a:gd name="T18" fmla="*/ 159 w 635"/>
                <a:gd name="T19" fmla="*/ 80 h 725"/>
                <a:gd name="T20" fmla="*/ 109 w 635"/>
                <a:gd name="T21" fmla="*/ 72 h 725"/>
                <a:gd name="T22" fmla="*/ 81 w 635"/>
                <a:gd name="T23" fmla="*/ 59 h 725"/>
                <a:gd name="T24" fmla="*/ 70 w 635"/>
                <a:gd name="T25" fmla="*/ 20 h 725"/>
                <a:gd name="T26" fmla="*/ 47 w 635"/>
                <a:gd name="T27" fmla="*/ 46 h 725"/>
                <a:gd name="T28" fmla="*/ 34 w 635"/>
                <a:gd name="T29" fmla="*/ 106 h 725"/>
                <a:gd name="T30" fmla="*/ 0 w 635"/>
                <a:gd name="T31" fmla="*/ 116 h 725"/>
                <a:gd name="T32" fmla="*/ 0 w 635"/>
                <a:gd name="T33" fmla="*/ 150 h 725"/>
                <a:gd name="T34" fmla="*/ 34 w 635"/>
                <a:gd name="T35" fmla="*/ 166 h 725"/>
                <a:gd name="T36" fmla="*/ 60 w 635"/>
                <a:gd name="T37" fmla="*/ 184 h 725"/>
                <a:gd name="T38" fmla="*/ 49 w 635"/>
                <a:gd name="T39" fmla="*/ 208 h 725"/>
                <a:gd name="T40" fmla="*/ 73 w 635"/>
                <a:gd name="T41" fmla="*/ 223 h 725"/>
                <a:gd name="T42" fmla="*/ 115 w 635"/>
                <a:gd name="T43" fmla="*/ 192 h 725"/>
                <a:gd name="T44" fmla="*/ 187 w 635"/>
                <a:gd name="T45" fmla="*/ 233 h 725"/>
                <a:gd name="T46" fmla="*/ 156 w 635"/>
                <a:gd name="T47" fmla="*/ 291 h 725"/>
                <a:gd name="T48" fmla="*/ 159 w 635"/>
                <a:gd name="T49" fmla="*/ 309 h 725"/>
                <a:gd name="T50" fmla="*/ 180 w 635"/>
                <a:gd name="T51" fmla="*/ 330 h 725"/>
                <a:gd name="T52" fmla="*/ 164 w 635"/>
                <a:gd name="T53" fmla="*/ 385 h 725"/>
                <a:gd name="T54" fmla="*/ 112 w 635"/>
                <a:gd name="T55" fmla="*/ 437 h 725"/>
                <a:gd name="T56" fmla="*/ 83 w 635"/>
                <a:gd name="T57" fmla="*/ 434 h 725"/>
                <a:gd name="T58" fmla="*/ 101 w 635"/>
                <a:gd name="T59" fmla="*/ 452 h 725"/>
                <a:gd name="T60" fmla="*/ 91 w 635"/>
                <a:gd name="T61" fmla="*/ 499 h 725"/>
                <a:gd name="T62" fmla="*/ 101 w 635"/>
                <a:gd name="T63" fmla="*/ 570 h 725"/>
                <a:gd name="T64" fmla="*/ 151 w 635"/>
                <a:gd name="T65" fmla="*/ 583 h 725"/>
                <a:gd name="T66" fmla="*/ 147 w 635"/>
                <a:gd name="T67" fmla="*/ 592 h 725"/>
                <a:gd name="T68" fmla="*/ 186 w 635"/>
                <a:gd name="T69" fmla="*/ 590 h 725"/>
                <a:gd name="T70" fmla="*/ 209 w 635"/>
                <a:gd name="T71" fmla="*/ 618 h 725"/>
                <a:gd name="T72" fmla="*/ 229 w 635"/>
                <a:gd name="T73" fmla="*/ 643 h 725"/>
                <a:gd name="T74" fmla="*/ 281 w 635"/>
                <a:gd name="T75" fmla="*/ 641 h 725"/>
                <a:gd name="T76" fmla="*/ 303 w 635"/>
                <a:gd name="T77" fmla="*/ 707 h 725"/>
                <a:gd name="T78" fmla="*/ 343 w 635"/>
                <a:gd name="T79" fmla="*/ 725 h 725"/>
                <a:gd name="T80" fmla="*/ 343 w 635"/>
                <a:gd name="T81" fmla="*/ 716 h 725"/>
                <a:gd name="T82" fmla="*/ 411 w 635"/>
                <a:gd name="T83" fmla="*/ 583 h 725"/>
                <a:gd name="T84" fmla="*/ 403 w 635"/>
                <a:gd name="T85" fmla="*/ 508 h 725"/>
                <a:gd name="T86" fmla="*/ 434 w 635"/>
                <a:gd name="T87" fmla="*/ 406 h 725"/>
                <a:gd name="T88" fmla="*/ 442 w 635"/>
                <a:gd name="T89" fmla="*/ 318 h 725"/>
                <a:gd name="T90" fmla="*/ 510 w 635"/>
                <a:gd name="T91" fmla="*/ 268 h 725"/>
                <a:gd name="T92" fmla="*/ 510 w 635"/>
                <a:gd name="T93" fmla="*/ 237 h 725"/>
                <a:gd name="T94" fmla="*/ 536 w 635"/>
                <a:gd name="T95" fmla="*/ 203 h 725"/>
                <a:gd name="T96" fmla="*/ 557 w 635"/>
                <a:gd name="T97" fmla="*/ 203 h 725"/>
                <a:gd name="T98" fmla="*/ 580 w 635"/>
                <a:gd name="T99" fmla="*/ 180 h 725"/>
                <a:gd name="T100" fmla="*/ 575 w 635"/>
                <a:gd name="T101" fmla="*/ 136 h 725"/>
                <a:gd name="T102" fmla="*/ 598 w 635"/>
                <a:gd name="T103" fmla="*/ 73 h 725"/>
                <a:gd name="T104" fmla="*/ 635 w 635"/>
                <a:gd name="T105" fmla="*/ 65 h 725"/>
                <a:gd name="T106" fmla="*/ 598 w 635"/>
                <a:gd name="T107" fmla="*/ 36 h 725"/>
                <a:gd name="T108" fmla="*/ 533 w 635"/>
                <a:gd name="T109" fmla="*/ 29 h 725"/>
                <a:gd name="T110" fmla="*/ 476 w 635"/>
                <a:gd name="T111" fmla="*/ 0 h 725"/>
                <a:gd name="T112" fmla="*/ 437 w 635"/>
                <a:gd name="T113" fmla="*/ 23 h 725"/>
                <a:gd name="T114" fmla="*/ 416 w 635"/>
                <a:gd name="T115" fmla="*/ 0 h 725"/>
                <a:gd name="T116" fmla="*/ 388 w 635"/>
                <a:gd name="T117" fmla="*/ 0 h 725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5"/>
                <a:gd name="T178" fmla="*/ 0 h 725"/>
                <a:gd name="T179" fmla="*/ 635 w 635"/>
                <a:gd name="T180" fmla="*/ 725 h 725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5" h="725">
                  <a:moveTo>
                    <a:pt x="388" y="0"/>
                  </a:moveTo>
                  <a:lnTo>
                    <a:pt x="338" y="14"/>
                  </a:lnTo>
                  <a:lnTo>
                    <a:pt x="315" y="54"/>
                  </a:lnTo>
                  <a:lnTo>
                    <a:pt x="315" y="93"/>
                  </a:lnTo>
                  <a:lnTo>
                    <a:pt x="294" y="111"/>
                  </a:lnTo>
                  <a:lnTo>
                    <a:pt x="276" y="111"/>
                  </a:lnTo>
                  <a:lnTo>
                    <a:pt x="242" y="88"/>
                  </a:lnTo>
                  <a:lnTo>
                    <a:pt x="216" y="106"/>
                  </a:lnTo>
                  <a:lnTo>
                    <a:pt x="185" y="106"/>
                  </a:lnTo>
                  <a:lnTo>
                    <a:pt x="159" y="80"/>
                  </a:lnTo>
                  <a:lnTo>
                    <a:pt x="109" y="72"/>
                  </a:lnTo>
                  <a:lnTo>
                    <a:pt x="81" y="59"/>
                  </a:lnTo>
                  <a:lnTo>
                    <a:pt x="70" y="20"/>
                  </a:lnTo>
                  <a:lnTo>
                    <a:pt x="47" y="46"/>
                  </a:lnTo>
                  <a:lnTo>
                    <a:pt x="34" y="106"/>
                  </a:lnTo>
                  <a:lnTo>
                    <a:pt x="0" y="116"/>
                  </a:lnTo>
                  <a:lnTo>
                    <a:pt x="0" y="150"/>
                  </a:lnTo>
                  <a:lnTo>
                    <a:pt x="34" y="166"/>
                  </a:lnTo>
                  <a:lnTo>
                    <a:pt x="60" y="184"/>
                  </a:lnTo>
                  <a:lnTo>
                    <a:pt x="49" y="208"/>
                  </a:lnTo>
                  <a:lnTo>
                    <a:pt x="73" y="223"/>
                  </a:lnTo>
                  <a:lnTo>
                    <a:pt x="115" y="192"/>
                  </a:lnTo>
                  <a:lnTo>
                    <a:pt x="187" y="233"/>
                  </a:lnTo>
                  <a:lnTo>
                    <a:pt x="156" y="291"/>
                  </a:lnTo>
                  <a:lnTo>
                    <a:pt x="159" y="309"/>
                  </a:lnTo>
                  <a:lnTo>
                    <a:pt x="180" y="330"/>
                  </a:lnTo>
                  <a:lnTo>
                    <a:pt x="164" y="385"/>
                  </a:lnTo>
                  <a:lnTo>
                    <a:pt x="112" y="437"/>
                  </a:lnTo>
                  <a:lnTo>
                    <a:pt x="83" y="434"/>
                  </a:lnTo>
                  <a:lnTo>
                    <a:pt x="101" y="452"/>
                  </a:lnTo>
                  <a:lnTo>
                    <a:pt x="91" y="499"/>
                  </a:lnTo>
                  <a:lnTo>
                    <a:pt x="101" y="570"/>
                  </a:lnTo>
                  <a:lnTo>
                    <a:pt x="151" y="583"/>
                  </a:lnTo>
                  <a:lnTo>
                    <a:pt x="147" y="592"/>
                  </a:lnTo>
                  <a:lnTo>
                    <a:pt x="186" y="590"/>
                  </a:lnTo>
                  <a:lnTo>
                    <a:pt x="209" y="618"/>
                  </a:lnTo>
                  <a:lnTo>
                    <a:pt x="229" y="643"/>
                  </a:lnTo>
                  <a:lnTo>
                    <a:pt x="281" y="641"/>
                  </a:lnTo>
                  <a:lnTo>
                    <a:pt x="303" y="707"/>
                  </a:lnTo>
                  <a:lnTo>
                    <a:pt x="343" y="725"/>
                  </a:lnTo>
                  <a:lnTo>
                    <a:pt x="343" y="716"/>
                  </a:lnTo>
                  <a:lnTo>
                    <a:pt x="411" y="583"/>
                  </a:lnTo>
                  <a:lnTo>
                    <a:pt x="403" y="508"/>
                  </a:lnTo>
                  <a:lnTo>
                    <a:pt x="434" y="406"/>
                  </a:lnTo>
                  <a:lnTo>
                    <a:pt x="442" y="318"/>
                  </a:lnTo>
                  <a:lnTo>
                    <a:pt x="510" y="268"/>
                  </a:lnTo>
                  <a:lnTo>
                    <a:pt x="510" y="237"/>
                  </a:lnTo>
                  <a:lnTo>
                    <a:pt x="536" y="203"/>
                  </a:lnTo>
                  <a:lnTo>
                    <a:pt x="557" y="203"/>
                  </a:lnTo>
                  <a:lnTo>
                    <a:pt x="580" y="180"/>
                  </a:lnTo>
                  <a:lnTo>
                    <a:pt x="575" y="136"/>
                  </a:lnTo>
                  <a:lnTo>
                    <a:pt x="598" y="73"/>
                  </a:lnTo>
                  <a:lnTo>
                    <a:pt x="635" y="65"/>
                  </a:lnTo>
                  <a:lnTo>
                    <a:pt x="598" y="36"/>
                  </a:lnTo>
                  <a:lnTo>
                    <a:pt x="533" y="29"/>
                  </a:lnTo>
                  <a:lnTo>
                    <a:pt x="476" y="0"/>
                  </a:lnTo>
                  <a:lnTo>
                    <a:pt x="437" y="23"/>
                  </a:lnTo>
                  <a:lnTo>
                    <a:pt x="416" y="0"/>
                  </a:lnTo>
                  <a:lnTo>
                    <a:pt x="388" y="0"/>
                  </a:lnTo>
                  <a:close/>
                </a:path>
              </a:pathLst>
            </a:custGeom>
            <a:solidFill>
              <a:srgbClr val="0063AC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solidFill>
                    <a:schemeClr val="bg1"/>
                  </a:solidFill>
                  <a:latin typeface="+mj-lt"/>
                </a:rPr>
                <a:t>67</a:t>
              </a:r>
            </a:p>
          </p:txBody>
        </p:sp>
        <p:sp>
          <p:nvSpPr>
            <p:cNvPr id="90" name="FR-54">
              <a:extLst>
                <a:ext uri="{FF2B5EF4-FFF2-40B4-BE49-F238E27FC236}">
                  <a16:creationId xmlns:a16="http://schemas.microsoft.com/office/drawing/2014/main" id="{A6963F90-71CB-48BD-959D-5DC7713560D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255753" y="3824593"/>
              <a:ext cx="406533" cy="397846"/>
            </a:xfrm>
            <a:custGeom>
              <a:avLst/>
              <a:gdLst>
                <a:gd name="T0" fmla="*/ 64 w 880"/>
                <a:gd name="T1" fmla="*/ 29 h 903"/>
                <a:gd name="T2" fmla="*/ 5 w 880"/>
                <a:gd name="T3" fmla="*/ 47 h 903"/>
                <a:gd name="T4" fmla="*/ 0 w 880"/>
                <a:gd name="T5" fmla="*/ 79 h 903"/>
                <a:gd name="T6" fmla="*/ 10 w 880"/>
                <a:gd name="T7" fmla="*/ 119 h 903"/>
                <a:gd name="T8" fmla="*/ 7 w 880"/>
                <a:gd name="T9" fmla="*/ 147 h 903"/>
                <a:gd name="T10" fmla="*/ 33 w 880"/>
                <a:gd name="T11" fmla="*/ 114 h 903"/>
                <a:gd name="T12" fmla="*/ 102 w 880"/>
                <a:gd name="T13" fmla="*/ 99 h 903"/>
                <a:gd name="T14" fmla="*/ 135 w 880"/>
                <a:gd name="T15" fmla="*/ 137 h 903"/>
                <a:gd name="T16" fmla="*/ 143 w 880"/>
                <a:gd name="T17" fmla="*/ 183 h 903"/>
                <a:gd name="T18" fmla="*/ 155 w 880"/>
                <a:gd name="T19" fmla="*/ 211 h 903"/>
                <a:gd name="T20" fmla="*/ 140 w 880"/>
                <a:gd name="T21" fmla="*/ 260 h 903"/>
                <a:gd name="T22" fmla="*/ 153 w 880"/>
                <a:gd name="T23" fmla="*/ 296 h 903"/>
                <a:gd name="T24" fmla="*/ 171 w 880"/>
                <a:gd name="T25" fmla="*/ 341 h 903"/>
                <a:gd name="T26" fmla="*/ 184 w 880"/>
                <a:gd name="T27" fmla="*/ 372 h 903"/>
                <a:gd name="T28" fmla="*/ 186 w 880"/>
                <a:gd name="T29" fmla="*/ 426 h 903"/>
                <a:gd name="T30" fmla="*/ 216 w 880"/>
                <a:gd name="T31" fmla="*/ 456 h 903"/>
                <a:gd name="T32" fmla="*/ 186 w 880"/>
                <a:gd name="T33" fmla="*/ 469 h 903"/>
                <a:gd name="T34" fmla="*/ 176 w 880"/>
                <a:gd name="T35" fmla="*/ 500 h 903"/>
                <a:gd name="T36" fmla="*/ 179 w 880"/>
                <a:gd name="T37" fmla="*/ 569 h 903"/>
                <a:gd name="T38" fmla="*/ 168 w 880"/>
                <a:gd name="T39" fmla="*/ 643 h 903"/>
                <a:gd name="T40" fmla="*/ 179 w 880"/>
                <a:gd name="T41" fmla="*/ 711 h 903"/>
                <a:gd name="T42" fmla="*/ 201 w 880"/>
                <a:gd name="T43" fmla="*/ 724 h 903"/>
                <a:gd name="T44" fmla="*/ 158 w 880"/>
                <a:gd name="T45" fmla="*/ 734 h 903"/>
                <a:gd name="T46" fmla="*/ 184 w 880"/>
                <a:gd name="T47" fmla="*/ 773 h 903"/>
                <a:gd name="T48" fmla="*/ 209 w 880"/>
                <a:gd name="T49" fmla="*/ 801 h 903"/>
                <a:gd name="T50" fmla="*/ 250 w 880"/>
                <a:gd name="T51" fmla="*/ 844 h 903"/>
                <a:gd name="T52" fmla="*/ 247 w 880"/>
                <a:gd name="T53" fmla="*/ 862 h 903"/>
                <a:gd name="T54" fmla="*/ 273 w 880"/>
                <a:gd name="T55" fmla="*/ 880 h 903"/>
                <a:gd name="T56" fmla="*/ 375 w 880"/>
                <a:gd name="T57" fmla="*/ 898 h 903"/>
                <a:gd name="T58" fmla="*/ 431 w 880"/>
                <a:gd name="T59" fmla="*/ 864 h 903"/>
                <a:gd name="T60" fmla="*/ 472 w 880"/>
                <a:gd name="T61" fmla="*/ 867 h 903"/>
                <a:gd name="T62" fmla="*/ 528 w 880"/>
                <a:gd name="T63" fmla="*/ 862 h 903"/>
                <a:gd name="T64" fmla="*/ 584 w 880"/>
                <a:gd name="T65" fmla="*/ 831 h 903"/>
                <a:gd name="T66" fmla="*/ 602 w 880"/>
                <a:gd name="T67" fmla="*/ 811 h 903"/>
                <a:gd name="T68" fmla="*/ 633 w 880"/>
                <a:gd name="T69" fmla="*/ 836 h 903"/>
                <a:gd name="T70" fmla="*/ 694 w 880"/>
                <a:gd name="T71" fmla="*/ 847 h 903"/>
                <a:gd name="T72" fmla="*/ 750 w 880"/>
                <a:gd name="T73" fmla="*/ 829 h 903"/>
                <a:gd name="T74" fmla="*/ 794 w 880"/>
                <a:gd name="T75" fmla="*/ 788 h 903"/>
                <a:gd name="T76" fmla="*/ 861 w 880"/>
                <a:gd name="T77" fmla="*/ 767 h 903"/>
                <a:gd name="T78" fmla="*/ 875 w 880"/>
                <a:gd name="T79" fmla="*/ 755 h 903"/>
                <a:gd name="T80" fmla="*/ 849 w 880"/>
                <a:gd name="T81" fmla="*/ 739 h 903"/>
                <a:gd name="T82" fmla="*/ 768 w 880"/>
                <a:gd name="T83" fmla="*/ 681 h 903"/>
                <a:gd name="T84" fmla="*/ 674 w 880"/>
                <a:gd name="T85" fmla="*/ 653 h 903"/>
                <a:gd name="T86" fmla="*/ 635 w 880"/>
                <a:gd name="T87" fmla="*/ 640 h 903"/>
                <a:gd name="T88" fmla="*/ 510 w 880"/>
                <a:gd name="T89" fmla="*/ 576 h 903"/>
                <a:gd name="T90" fmla="*/ 464 w 880"/>
                <a:gd name="T91" fmla="*/ 541 h 903"/>
                <a:gd name="T92" fmla="*/ 362 w 880"/>
                <a:gd name="T93" fmla="*/ 476 h 903"/>
                <a:gd name="T94" fmla="*/ 301 w 880"/>
                <a:gd name="T95" fmla="*/ 449 h 903"/>
                <a:gd name="T96" fmla="*/ 250 w 880"/>
                <a:gd name="T97" fmla="*/ 374 h 903"/>
                <a:gd name="T98" fmla="*/ 281 w 880"/>
                <a:gd name="T99" fmla="*/ 341 h 903"/>
                <a:gd name="T100" fmla="*/ 291 w 880"/>
                <a:gd name="T101" fmla="*/ 293 h 903"/>
                <a:gd name="T102" fmla="*/ 288 w 880"/>
                <a:gd name="T103" fmla="*/ 234 h 903"/>
                <a:gd name="T104" fmla="*/ 260 w 880"/>
                <a:gd name="T105" fmla="*/ 183 h 903"/>
                <a:gd name="T106" fmla="*/ 240 w 880"/>
                <a:gd name="T107" fmla="*/ 91 h 903"/>
                <a:gd name="T108" fmla="*/ 203 w 880"/>
                <a:gd name="T109" fmla="*/ 52 h 903"/>
                <a:gd name="T110" fmla="*/ 96 w 880"/>
                <a:gd name="T111" fmla="*/ 0 h 90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880"/>
                <a:gd name="T169" fmla="*/ 0 h 903"/>
                <a:gd name="T170" fmla="*/ 880 w 880"/>
                <a:gd name="T171" fmla="*/ 903 h 90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880" h="903">
                  <a:moveTo>
                    <a:pt x="96" y="0"/>
                  </a:moveTo>
                  <a:lnTo>
                    <a:pt x="64" y="29"/>
                  </a:lnTo>
                  <a:lnTo>
                    <a:pt x="20" y="31"/>
                  </a:lnTo>
                  <a:lnTo>
                    <a:pt x="5" y="47"/>
                  </a:lnTo>
                  <a:lnTo>
                    <a:pt x="1" y="47"/>
                  </a:lnTo>
                  <a:lnTo>
                    <a:pt x="0" y="79"/>
                  </a:lnTo>
                  <a:lnTo>
                    <a:pt x="15" y="104"/>
                  </a:lnTo>
                  <a:lnTo>
                    <a:pt x="10" y="119"/>
                  </a:lnTo>
                  <a:lnTo>
                    <a:pt x="5" y="137"/>
                  </a:lnTo>
                  <a:lnTo>
                    <a:pt x="7" y="147"/>
                  </a:lnTo>
                  <a:lnTo>
                    <a:pt x="20" y="137"/>
                  </a:lnTo>
                  <a:lnTo>
                    <a:pt x="33" y="114"/>
                  </a:lnTo>
                  <a:lnTo>
                    <a:pt x="59" y="112"/>
                  </a:lnTo>
                  <a:lnTo>
                    <a:pt x="102" y="99"/>
                  </a:lnTo>
                  <a:lnTo>
                    <a:pt x="125" y="117"/>
                  </a:lnTo>
                  <a:lnTo>
                    <a:pt x="135" y="137"/>
                  </a:lnTo>
                  <a:lnTo>
                    <a:pt x="143" y="160"/>
                  </a:lnTo>
                  <a:lnTo>
                    <a:pt x="143" y="183"/>
                  </a:lnTo>
                  <a:lnTo>
                    <a:pt x="155" y="194"/>
                  </a:lnTo>
                  <a:lnTo>
                    <a:pt x="155" y="211"/>
                  </a:lnTo>
                  <a:lnTo>
                    <a:pt x="143" y="226"/>
                  </a:lnTo>
                  <a:lnTo>
                    <a:pt x="140" y="260"/>
                  </a:lnTo>
                  <a:lnTo>
                    <a:pt x="150" y="275"/>
                  </a:lnTo>
                  <a:lnTo>
                    <a:pt x="153" y="296"/>
                  </a:lnTo>
                  <a:lnTo>
                    <a:pt x="155" y="329"/>
                  </a:lnTo>
                  <a:lnTo>
                    <a:pt x="171" y="341"/>
                  </a:lnTo>
                  <a:lnTo>
                    <a:pt x="194" y="351"/>
                  </a:lnTo>
                  <a:lnTo>
                    <a:pt x="184" y="372"/>
                  </a:lnTo>
                  <a:lnTo>
                    <a:pt x="211" y="398"/>
                  </a:lnTo>
                  <a:lnTo>
                    <a:pt x="186" y="426"/>
                  </a:lnTo>
                  <a:lnTo>
                    <a:pt x="191" y="444"/>
                  </a:lnTo>
                  <a:lnTo>
                    <a:pt x="216" y="456"/>
                  </a:lnTo>
                  <a:lnTo>
                    <a:pt x="216" y="469"/>
                  </a:lnTo>
                  <a:lnTo>
                    <a:pt x="186" y="469"/>
                  </a:lnTo>
                  <a:lnTo>
                    <a:pt x="173" y="487"/>
                  </a:lnTo>
                  <a:lnTo>
                    <a:pt x="176" y="500"/>
                  </a:lnTo>
                  <a:lnTo>
                    <a:pt x="196" y="520"/>
                  </a:lnTo>
                  <a:lnTo>
                    <a:pt x="179" y="569"/>
                  </a:lnTo>
                  <a:lnTo>
                    <a:pt x="158" y="614"/>
                  </a:lnTo>
                  <a:lnTo>
                    <a:pt x="168" y="643"/>
                  </a:lnTo>
                  <a:lnTo>
                    <a:pt x="168" y="689"/>
                  </a:lnTo>
                  <a:lnTo>
                    <a:pt x="179" y="711"/>
                  </a:lnTo>
                  <a:lnTo>
                    <a:pt x="194" y="711"/>
                  </a:lnTo>
                  <a:lnTo>
                    <a:pt x="201" y="724"/>
                  </a:lnTo>
                  <a:lnTo>
                    <a:pt x="179" y="724"/>
                  </a:lnTo>
                  <a:lnTo>
                    <a:pt x="158" y="734"/>
                  </a:lnTo>
                  <a:lnTo>
                    <a:pt x="158" y="750"/>
                  </a:lnTo>
                  <a:lnTo>
                    <a:pt x="184" y="773"/>
                  </a:lnTo>
                  <a:lnTo>
                    <a:pt x="184" y="809"/>
                  </a:lnTo>
                  <a:lnTo>
                    <a:pt x="209" y="801"/>
                  </a:lnTo>
                  <a:lnTo>
                    <a:pt x="247" y="803"/>
                  </a:lnTo>
                  <a:lnTo>
                    <a:pt x="250" y="844"/>
                  </a:lnTo>
                  <a:lnTo>
                    <a:pt x="265" y="849"/>
                  </a:lnTo>
                  <a:lnTo>
                    <a:pt x="247" y="862"/>
                  </a:lnTo>
                  <a:lnTo>
                    <a:pt x="245" y="875"/>
                  </a:lnTo>
                  <a:lnTo>
                    <a:pt x="273" y="880"/>
                  </a:lnTo>
                  <a:lnTo>
                    <a:pt x="291" y="903"/>
                  </a:lnTo>
                  <a:lnTo>
                    <a:pt x="375" y="898"/>
                  </a:lnTo>
                  <a:lnTo>
                    <a:pt x="393" y="864"/>
                  </a:lnTo>
                  <a:lnTo>
                    <a:pt x="431" y="864"/>
                  </a:lnTo>
                  <a:lnTo>
                    <a:pt x="446" y="852"/>
                  </a:lnTo>
                  <a:lnTo>
                    <a:pt x="472" y="867"/>
                  </a:lnTo>
                  <a:lnTo>
                    <a:pt x="495" y="859"/>
                  </a:lnTo>
                  <a:lnTo>
                    <a:pt x="528" y="862"/>
                  </a:lnTo>
                  <a:lnTo>
                    <a:pt x="556" y="852"/>
                  </a:lnTo>
                  <a:lnTo>
                    <a:pt x="584" y="831"/>
                  </a:lnTo>
                  <a:lnTo>
                    <a:pt x="599" y="847"/>
                  </a:lnTo>
                  <a:lnTo>
                    <a:pt x="602" y="811"/>
                  </a:lnTo>
                  <a:lnTo>
                    <a:pt x="622" y="803"/>
                  </a:lnTo>
                  <a:lnTo>
                    <a:pt x="633" y="836"/>
                  </a:lnTo>
                  <a:lnTo>
                    <a:pt x="663" y="839"/>
                  </a:lnTo>
                  <a:lnTo>
                    <a:pt x="694" y="847"/>
                  </a:lnTo>
                  <a:lnTo>
                    <a:pt x="706" y="849"/>
                  </a:lnTo>
                  <a:lnTo>
                    <a:pt x="750" y="829"/>
                  </a:lnTo>
                  <a:lnTo>
                    <a:pt x="773" y="814"/>
                  </a:lnTo>
                  <a:lnTo>
                    <a:pt x="794" y="788"/>
                  </a:lnTo>
                  <a:lnTo>
                    <a:pt x="834" y="773"/>
                  </a:lnTo>
                  <a:lnTo>
                    <a:pt x="861" y="767"/>
                  </a:lnTo>
                  <a:lnTo>
                    <a:pt x="846" y="752"/>
                  </a:lnTo>
                  <a:lnTo>
                    <a:pt x="875" y="755"/>
                  </a:lnTo>
                  <a:lnTo>
                    <a:pt x="880" y="749"/>
                  </a:lnTo>
                  <a:lnTo>
                    <a:pt x="849" y="739"/>
                  </a:lnTo>
                  <a:lnTo>
                    <a:pt x="806" y="709"/>
                  </a:lnTo>
                  <a:lnTo>
                    <a:pt x="768" y="681"/>
                  </a:lnTo>
                  <a:lnTo>
                    <a:pt x="722" y="681"/>
                  </a:lnTo>
                  <a:lnTo>
                    <a:pt x="674" y="653"/>
                  </a:lnTo>
                  <a:lnTo>
                    <a:pt x="635" y="650"/>
                  </a:lnTo>
                  <a:lnTo>
                    <a:pt x="635" y="640"/>
                  </a:lnTo>
                  <a:lnTo>
                    <a:pt x="576" y="604"/>
                  </a:lnTo>
                  <a:lnTo>
                    <a:pt x="510" y="576"/>
                  </a:lnTo>
                  <a:lnTo>
                    <a:pt x="477" y="576"/>
                  </a:lnTo>
                  <a:lnTo>
                    <a:pt x="464" y="541"/>
                  </a:lnTo>
                  <a:lnTo>
                    <a:pt x="413" y="476"/>
                  </a:lnTo>
                  <a:lnTo>
                    <a:pt x="362" y="476"/>
                  </a:lnTo>
                  <a:lnTo>
                    <a:pt x="342" y="449"/>
                  </a:lnTo>
                  <a:lnTo>
                    <a:pt x="301" y="449"/>
                  </a:lnTo>
                  <a:lnTo>
                    <a:pt x="304" y="408"/>
                  </a:lnTo>
                  <a:lnTo>
                    <a:pt x="250" y="374"/>
                  </a:lnTo>
                  <a:lnTo>
                    <a:pt x="252" y="341"/>
                  </a:lnTo>
                  <a:lnTo>
                    <a:pt x="281" y="341"/>
                  </a:lnTo>
                  <a:lnTo>
                    <a:pt x="281" y="313"/>
                  </a:lnTo>
                  <a:lnTo>
                    <a:pt x="291" y="293"/>
                  </a:lnTo>
                  <a:lnTo>
                    <a:pt x="268" y="270"/>
                  </a:lnTo>
                  <a:lnTo>
                    <a:pt x="288" y="234"/>
                  </a:lnTo>
                  <a:lnTo>
                    <a:pt x="273" y="194"/>
                  </a:lnTo>
                  <a:lnTo>
                    <a:pt x="260" y="183"/>
                  </a:lnTo>
                  <a:lnTo>
                    <a:pt x="227" y="112"/>
                  </a:lnTo>
                  <a:lnTo>
                    <a:pt x="240" y="91"/>
                  </a:lnTo>
                  <a:cubicBezTo>
                    <a:pt x="240" y="91"/>
                    <a:pt x="244" y="58"/>
                    <a:pt x="238" y="52"/>
                  </a:cubicBezTo>
                  <a:lnTo>
                    <a:pt x="203" y="52"/>
                  </a:lnTo>
                  <a:lnTo>
                    <a:pt x="156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54</a:t>
              </a:r>
            </a:p>
          </p:txBody>
        </p:sp>
        <p:sp>
          <p:nvSpPr>
            <p:cNvPr id="91" name="FR-77">
              <a:extLst>
                <a:ext uri="{FF2B5EF4-FFF2-40B4-BE49-F238E27FC236}">
                  <a16:creationId xmlns:a16="http://schemas.microsoft.com/office/drawing/2014/main" id="{DB2C6AE5-7B7E-4C6A-9CF7-02D0DB82D5B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562337" y="3989371"/>
              <a:ext cx="260089" cy="336605"/>
            </a:xfrm>
            <a:custGeom>
              <a:avLst/>
              <a:gdLst>
                <a:gd name="T0" fmla="*/ 326 w 563"/>
                <a:gd name="T1" fmla="*/ 8 h 764"/>
                <a:gd name="T2" fmla="*/ 275 w 563"/>
                <a:gd name="T3" fmla="*/ 21 h 764"/>
                <a:gd name="T4" fmla="*/ 194 w 563"/>
                <a:gd name="T5" fmla="*/ 19 h 764"/>
                <a:gd name="T6" fmla="*/ 155 w 563"/>
                <a:gd name="T7" fmla="*/ 42 h 764"/>
                <a:gd name="T8" fmla="*/ 113 w 563"/>
                <a:gd name="T9" fmla="*/ 14 h 764"/>
                <a:gd name="T10" fmla="*/ 80 w 563"/>
                <a:gd name="T11" fmla="*/ 33 h 764"/>
                <a:gd name="T12" fmla="*/ 85 w 563"/>
                <a:gd name="T13" fmla="*/ 197 h 764"/>
                <a:gd name="T14" fmla="*/ 64 w 563"/>
                <a:gd name="T15" fmla="*/ 310 h 764"/>
                <a:gd name="T16" fmla="*/ 46 w 563"/>
                <a:gd name="T17" fmla="*/ 363 h 764"/>
                <a:gd name="T18" fmla="*/ 49 w 563"/>
                <a:gd name="T19" fmla="*/ 447 h 764"/>
                <a:gd name="T20" fmla="*/ 59 w 563"/>
                <a:gd name="T21" fmla="*/ 539 h 764"/>
                <a:gd name="T22" fmla="*/ 0 w 563"/>
                <a:gd name="T23" fmla="*/ 630 h 764"/>
                <a:gd name="T24" fmla="*/ 48 w 563"/>
                <a:gd name="T25" fmla="*/ 670 h 764"/>
                <a:gd name="T26" fmla="*/ 9 w 563"/>
                <a:gd name="T27" fmla="*/ 743 h 764"/>
                <a:gd name="T28" fmla="*/ 61 w 563"/>
                <a:gd name="T29" fmla="*/ 745 h 764"/>
                <a:gd name="T30" fmla="*/ 157 w 563"/>
                <a:gd name="T31" fmla="*/ 743 h 764"/>
                <a:gd name="T32" fmla="*/ 194 w 563"/>
                <a:gd name="T33" fmla="*/ 725 h 764"/>
                <a:gd name="T34" fmla="*/ 264 w 563"/>
                <a:gd name="T35" fmla="*/ 709 h 764"/>
                <a:gd name="T36" fmla="*/ 319 w 563"/>
                <a:gd name="T37" fmla="*/ 644 h 764"/>
                <a:gd name="T38" fmla="*/ 316 w 563"/>
                <a:gd name="T39" fmla="*/ 581 h 764"/>
                <a:gd name="T40" fmla="*/ 465 w 563"/>
                <a:gd name="T41" fmla="*/ 563 h 764"/>
                <a:gd name="T42" fmla="*/ 490 w 563"/>
                <a:gd name="T43" fmla="*/ 547 h 764"/>
                <a:gd name="T44" fmla="*/ 506 w 563"/>
                <a:gd name="T45" fmla="*/ 451 h 764"/>
                <a:gd name="T46" fmla="*/ 527 w 563"/>
                <a:gd name="T47" fmla="*/ 396 h 764"/>
                <a:gd name="T48" fmla="*/ 563 w 563"/>
                <a:gd name="T49" fmla="*/ 360 h 764"/>
                <a:gd name="T50" fmla="*/ 517 w 563"/>
                <a:gd name="T51" fmla="*/ 344 h 764"/>
                <a:gd name="T52" fmla="*/ 519 w 563"/>
                <a:gd name="T53" fmla="*/ 282 h 764"/>
                <a:gd name="T54" fmla="*/ 504 w 563"/>
                <a:gd name="T55" fmla="*/ 232 h 764"/>
                <a:gd name="T56" fmla="*/ 522 w 563"/>
                <a:gd name="T57" fmla="*/ 204 h 764"/>
                <a:gd name="T58" fmla="*/ 485 w 563"/>
                <a:gd name="T59" fmla="*/ 185 h 764"/>
                <a:gd name="T60" fmla="*/ 449 w 563"/>
                <a:gd name="T61" fmla="*/ 146 h 764"/>
                <a:gd name="T62" fmla="*/ 371 w 563"/>
                <a:gd name="T63" fmla="*/ 21 h 76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563"/>
                <a:gd name="T97" fmla="*/ 0 h 764"/>
                <a:gd name="T98" fmla="*/ 563 w 563"/>
                <a:gd name="T99" fmla="*/ 764 h 76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563" h="764">
                  <a:moveTo>
                    <a:pt x="342" y="0"/>
                  </a:moveTo>
                  <a:lnTo>
                    <a:pt x="326" y="8"/>
                  </a:lnTo>
                  <a:lnTo>
                    <a:pt x="300" y="29"/>
                  </a:lnTo>
                  <a:lnTo>
                    <a:pt x="275" y="21"/>
                  </a:lnTo>
                  <a:lnTo>
                    <a:pt x="230" y="40"/>
                  </a:lnTo>
                  <a:lnTo>
                    <a:pt x="194" y="19"/>
                  </a:lnTo>
                  <a:lnTo>
                    <a:pt x="178" y="40"/>
                  </a:lnTo>
                  <a:lnTo>
                    <a:pt x="155" y="42"/>
                  </a:lnTo>
                  <a:lnTo>
                    <a:pt x="139" y="29"/>
                  </a:lnTo>
                  <a:lnTo>
                    <a:pt x="113" y="14"/>
                  </a:lnTo>
                  <a:lnTo>
                    <a:pt x="82" y="35"/>
                  </a:lnTo>
                  <a:lnTo>
                    <a:pt x="80" y="33"/>
                  </a:lnTo>
                  <a:lnTo>
                    <a:pt x="69" y="105"/>
                  </a:lnTo>
                  <a:lnTo>
                    <a:pt x="85" y="197"/>
                  </a:lnTo>
                  <a:lnTo>
                    <a:pt x="85" y="258"/>
                  </a:lnTo>
                  <a:lnTo>
                    <a:pt x="64" y="310"/>
                  </a:lnTo>
                  <a:lnTo>
                    <a:pt x="69" y="345"/>
                  </a:lnTo>
                  <a:lnTo>
                    <a:pt x="46" y="363"/>
                  </a:lnTo>
                  <a:lnTo>
                    <a:pt x="59" y="432"/>
                  </a:lnTo>
                  <a:lnTo>
                    <a:pt x="49" y="447"/>
                  </a:lnTo>
                  <a:lnTo>
                    <a:pt x="41" y="516"/>
                  </a:lnTo>
                  <a:lnTo>
                    <a:pt x="59" y="539"/>
                  </a:lnTo>
                  <a:lnTo>
                    <a:pt x="0" y="577"/>
                  </a:lnTo>
                  <a:lnTo>
                    <a:pt x="0" y="630"/>
                  </a:lnTo>
                  <a:lnTo>
                    <a:pt x="17" y="654"/>
                  </a:lnTo>
                  <a:lnTo>
                    <a:pt x="48" y="670"/>
                  </a:lnTo>
                  <a:lnTo>
                    <a:pt x="50" y="714"/>
                  </a:lnTo>
                  <a:lnTo>
                    <a:pt x="9" y="743"/>
                  </a:lnTo>
                  <a:lnTo>
                    <a:pt x="32" y="764"/>
                  </a:lnTo>
                  <a:lnTo>
                    <a:pt x="61" y="745"/>
                  </a:lnTo>
                  <a:lnTo>
                    <a:pt x="131" y="748"/>
                  </a:lnTo>
                  <a:lnTo>
                    <a:pt x="157" y="743"/>
                  </a:lnTo>
                  <a:lnTo>
                    <a:pt x="165" y="722"/>
                  </a:lnTo>
                  <a:lnTo>
                    <a:pt x="194" y="725"/>
                  </a:lnTo>
                  <a:lnTo>
                    <a:pt x="199" y="745"/>
                  </a:lnTo>
                  <a:lnTo>
                    <a:pt x="264" y="709"/>
                  </a:lnTo>
                  <a:lnTo>
                    <a:pt x="287" y="680"/>
                  </a:lnTo>
                  <a:lnTo>
                    <a:pt x="319" y="644"/>
                  </a:lnTo>
                  <a:lnTo>
                    <a:pt x="298" y="620"/>
                  </a:lnTo>
                  <a:lnTo>
                    <a:pt x="316" y="581"/>
                  </a:lnTo>
                  <a:lnTo>
                    <a:pt x="363" y="558"/>
                  </a:lnTo>
                  <a:lnTo>
                    <a:pt x="465" y="563"/>
                  </a:lnTo>
                  <a:lnTo>
                    <a:pt x="488" y="545"/>
                  </a:lnTo>
                  <a:lnTo>
                    <a:pt x="490" y="547"/>
                  </a:lnTo>
                  <a:lnTo>
                    <a:pt x="496" y="503"/>
                  </a:lnTo>
                  <a:lnTo>
                    <a:pt x="506" y="451"/>
                  </a:lnTo>
                  <a:lnTo>
                    <a:pt x="525" y="427"/>
                  </a:lnTo>
                  <a:lnTo>
                    <a:pt x="527" y="396"/>
                  </a:lnTo>
                  <a:lnTo>
                    <a:pt x="563" y="381"/>
                  </a:lnTo>
                  <a:lnTo>
                    <a:pt x="563" y="360"/>
                  </a:lnTo>
                  <a:lnTo>
                    <a:pt x="525" y="362"/>
                  </a:lnTo>
                  <a:lnTo>
                    <a:pt x="517" y="344"/>
                  </a:lnTo>
                  <a:lnTo>
                    <a:pt x="530" y="321"/>
                  </a:lnTo>
                  <a:lnTo>
                    <a:pt x="519" y="282"/>
                  </a:lnTo>
                  <a:lnTo>
                    <a:pt x="498" y="269"/>
                  </a:lnTo>
                  <a:lnTo>
                    <a:pt x="504" y="232"/>
                  </a:lnTo>
                  <a:lnTo>
                    <a:pt x="525" y="219"/>
                  </a:lnTo>
                  <a:lnTo>
                    <a:pt x="522" y="204"/>
                  </a:lnTo>
                  <a:lnTo>
                    <a:pt x="529" y="195"/>
                  </a:lnTo>
                  <a:lnTo>
                    <a:pt x="485" y="185"/>
                  </a:lnTo>
                  <a:lnTo>
                    <a:pt x="472" y="154"/>
                  </a:lnTo>
                  <a:lnTo>
                    <a:pt x="449" y="146"/>
                  </a:lnTo>
                  <a:lnTo>
                    <a:pt x="379" y="79"/>
                  </a:lnTo>
                  <a:lnTo>
                    <a:pt x="371" y="21"/>
                  </a:lnTo>
                  <a:lnTo>
                    <a:pt x="342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77</a:t>
              </a:r>
            </a:p>
          </p:txBody>
        </p:sp>
        <p:sp>
          <p:nvSpPr>
            <p:cNvPr id="92" name="FR-68">
              <a:extLst>
                <a:ext uri="{FF2B5EF4-FFF2-40B4-BE49-F238E27FC236}">
                  <a16:creationId xmlns:a16="http://schemas.microsoft.com/office/drawing/2014/main" id="{563854E2-D9A6-470B-9818-F890B80FF25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605002" y="4224641"/>
              <a:ext cx="175086" cy="295631"/>
            </a:xfrm>
            <a:custGeom>
              <a:avLst/>
              <a:gdLst>
                <a:gd name="T0" fmla="*/ 193 w 379"/>
                <a:gd name="T1" fmla="*/ 0 h 671"/>
                <a:gd name="T2" fmla="*/ 154 w 379"/>
                <a:gd name="T3" fmla="*/ 2 h 671"/>
                <a:gd name="T4" fmla="*/ 129 w 379"/>
                <a:gd name="T5" fmla="*/ 58 h 671"/>
                <a:gd name="T6" fmla="*/ 98 w 379"/>
                <a:gd name="T7" fmla="*/ 120 h 671"/>
                <a:gd name="T8" fmla="*/ 106 w 379"/>
                <a:gd name="T9" fmla="*/ 159 h 671"/>
                <a:gd name="T10" fmla="*/ 80 w 379"/>
                <a:gd name="T11" fmla="*/ 219 h 671"/>
                <a:gd name="T12" fmla="*/ 35 w 379"/>
                <a:gd name="T13" fmla="*/ 258 h 671"/>
                <a:gd name="T14" fmla="*/ 33 w 379"/>
                <a:gd name="T15" fmla="*/ 360 h 671"/>
                <a:gd name="T16" fmla="*/ 0 w 379"/>
                <a:gd name="T17" fmla="*/ 388 h 671"/>
                <a:gd name="T18" fmla="*/ 2 w 379"/>
                <a:gd name="T19" fmla="*/ 388 h 671"/>
                <a:gd name="T20" fmla="*/ 12 w 379"/>
                <a:gd name="T21" fmla="*/ 409 h 671"/>
                <a:gd name="T22" fmla="*/ 54 w 379"/>
                <a:gd name="T23" fmla="*/ 412 h 671"/>
                <a:gd name="T24" fmla="*/ 101 w 379"/>
                <a:gd name="T25" fmla="*/ 448 h 671"/>
                <a:gd name="T26" fmla="*/ 108 w 379"/>
                <a:gd name="T27" fmla="*/ 466 h 671"/>
                <a:gd name="T28" fmla="*/ 106 w 379"/>
                <a:gd name="T29" fmla="*/ 498 h 671"/>
                <a:gd name="T30" fmla="*/ 93 w 379"/>
                <a:gd name="T31" fmla="*/ 521 h 671"/>
                <a:gd name="T32" fmla="*/ 98 w 379"/>
                <a:gd name="T33" fmla="*/ 553 h 671"/>
                <a:gd name="T34" fmla="*/ 135 w 379"/>
                <a:gd name="T35" fmla="*/ 547 h 671"/>
                <a:gd name="T36" fmla="*/ 143 w 379"/>
                <a:gd name="T37" fmla="*/ 576 h 671"/>
                <a:gd name="T38" fmla="*/ 155 w 379"/>
                <a:gd name="T39" fmla="*/ 631 h 671"/>
                <a:gd name="T40" fmla="*/ 186 w 379"/>
                <a:gd name="T41" fmla="*/ 626 h 671"/>
                <a:gd name="T42" fmla="*/ 181 w 379"/>
                <a:gd name="T43" fmla="*/ 655 h 671"/>
                <a:gd name="T44" fmla="*/ 199 w 379"/>
                <a:gd name="T45" fmla="*/ 671 h 671"/>
                <a:gd name="T46" fmla="*/ 295 w 379"/>
                <a:gd name="T47" fmla="*/ 668 h 671"/>
                <a:gd name="T48" fmla="*/ 345 w 379"/>
                <a:gd name="T49" fmla="*/ 629 h 671"/>
                <a:gd name="T50" fmla="*/ 348 w 379"/>
                <a:gd name="T51" fmla="*/ 571 h 671"/>
                <a:gd name="T52" fmla="*/ 374 w 379"/>
                <a:gd name="T53" fmla="*/ 538 h 671"/>
                <a:gd name="T54" fmla="*/ 340 w 379"/>
                <a:gd name="T55" fmla="*/ 498 h 671"/>
                <a:gd name="T56" fmla="*/ 322 w 379"/>
                <a:gd name="T57" fmla="*/ 457 h 671"/>
                <a:gd name="T58" fmla="*/ 343 w 379"/>
                <a:gd name="T59" fmla="*/ 428 h 671"/>
                <a:gd name="T60" fmla="*/ 343 w 379"/>
                <a:gd name="T61" fmla="*/ 363 h 671"/>
                <a:gd name="T62" fmla="*/ 355 w 379"/>
                <a:gd name="T63" fmla="*/ 332 h 671"/>
                <a:gd name="T64" fmla="*/ 355 w 379"/>
                <a:gd name="T65" fmla="*/ 280 h 671"/>
                <a:gd name="T66" fmla="*/ 379 w 379"/>
                <a:gd name="T67" fmla="*/ 246 h 671"/>
                <a:gd name="T68" fmla="*/ 353 w 379"/>
                <a:gd name="T69" fmla="*/ 210 h 671"/>
                <a:gd name="T70" fmla="*/ 350 w 379"/>
                <a:gd name="T71" fmla="*/ 135 h 671"/>
                <a:gd name="T72" fmla="*/ 310 w 379"/>
                <a:gd name="T73" fmla="*/ 117 h 671"/>
                <a:gd name="T74" fmla="*/ 288 w 379"/>
                <a:gd name="T75" fmla="*/ 51 h 671"/>
                <a:gd name="T76" fmla="*/ 236 w 379"/>
                <a:gd name="T77" fmla="*/ 53 h 671"/>
                <a:gd name="T78" fmla="*/ 216 w 379"/>
                <a:gd name="T79" fmla="*/ 28 h 671"/>
                <a:gd name="T80" fmla="*/ 193 w 379"/>
                <a:gd name="T81" fmla="*/ 0 h 67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79"/>
                <a:gd name="T124" fmla="*/ 0 h 671"/>
                <a:gd name="T125" fmla="*/ 379 w 379"/>
                <a:gd name="T126" fmla="*/ 671 h 671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79" h="671">
                  <a:moveTo>
                    <a:pt x="193" y="0"/>
                  </a:moveTo>
                  <a:lnTo>
                    <a:pt x="154" y="2"/>
                  </a:lnTo>
                  <a:lnTo>
                    <a:pt x="129" y="58"/>
                  </a:lnTo>
                  <a:lnTo>
                    <a:pt x="98" y="120"/>
                  </a:lnTo>
                  <a:lnTo>
                    <a:pt x="106" y="159"/>
                  </a:lnTo>
                  <a:lnTo>
                    <a:pt x="80" y="219"/>
                  </a:lnTo>
                  <a:lnTo>
                    <a:pt x="35" y="258"/>
                  </a:lnTo>
                  <a:lnTo>
                    <a:pt x="33" y="360"/>
                  </a:lnTo>
                  <a:lnTo>
                    <a:pt x="0" y="388"/>
                  </a:lnTo>
                  <a:lnTo>
                    <a:pt x="2" y="388"/>
                  </a:lnTo>
                  <a:lnTo>
                    <a:pt x="12" y="409"/>
                  </a:lnTo>
                  <a:lnTo>
                    <a:pt x="54" y="412"/>
                  </a:lnTo>
                  <a:lnTo>
                    <a:pt x="101" y="448"/>
                  </a:lnTo>
                  <a:lnTo>
                    <a:pt x="108" y="466"/>
                  </a:lnTo>
                  <a:lnTo>
                    <a:pt x="106" y="498"/>
                  </a:lnTo>
                  <a:lnTo>
                    <a:pt x="93" y="521"/>
                  </a:lnTo>
                  <a:lnTo>
                    <a:pt x="98" y="553"/>
                  </a:lnTo>
                  <a:lnTo>
                    <a:pt x="135" y="547"/>
                  </a:lnTo>
                  <a:lnTo>
                    <a:pt x="143" y="576"/>
                  </a:lnTo>
                  <a:lnTo>
                    <a:pt x="155" y="631"/>
                  </a:lnTo>
                  <a:lnTo>
                    <a:pt x="186" y="626"/>
                  </a:lnTo>
                  <a:lnTo>
                    <a:pt x="181" y="655"/>
                  </a:lnTo>
                  <a:lnTo>
                    <a:pt x="199" y="671"/>
                  </a:lnTo>
                  <a:lnTo>
                    <a:pt x="295" y="668"/>
                  </a:lnTo>
                  <a:lnTo>
                    <a:pt x="345" y="629"/>
                  </a:lnTo>
                  <a:lnTo>
                    <a:pt x="348" y="571"/>
                  </a:lnTo>
                  <a:lnTo>
                    <a:pt x="374" y="538"/>
                  </a:lnTo>
                  <a:lnTo>
                    <a:pt x="340" y="498"/>
                  </a:lnTo>
                  <a:lnTo>
                    <a:pt x="322" y="457"/>
                  </a:lnTo>
                  <a:lnTo>
                    <a:pt x="343" y="428"/>
                  </a:lnTo>
                  <a:lnTo>
                    <a:pt x="343" y="363"/>
                  </a:lnTo>
                  <a:lnTo>
                    <a:pt x="355" y="332"/>
                  </a:lnTo>
                  <a:lnTo>
                    <a:pt x="355" y="280"/>
                  </a:lnTo>
                  <a:lnTo>
                    <a:pt x="379" y="246"/>
                  </a:lnTo>
                  <a:lnTo>
                    <a:pt x="353" y="210"/>
                  </a:lnTo>
                  <a:lnTo>
                    <a:pt x="350" y="135"/>
                  </a:lnTo>
                  <a:lnTo>
                    <a:pt x="310" y="117"/>
                  </a:lnTo>
                  <a:lnTo>
                    <a:pt x="288" y="51"/>
                  </a:lnTo>
                  <a:lnTo>
                    <a:pt x="236" y="53"/>
                  </a:lnTo>
                  <a:lnTo>
                    <a:pt x="216" y="28"/>
                  </a:lnTo>
                  <a:lnTo>
                    <a:pt x="193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68</a:t>
              </a:r>
            </a:p>
          </p:txBody>
        </p:sp>
        <p:sp>
          <p:nvSpPr>
            <p:cNvPr id="93" name="FR-55">
              <a:extLst>
                <a:ext uri="{FF2B5EF4-FFF2-40B4-BE49-F238E27FC236}">
                  <a16:creationId xmlns:a16="http://schemas.microsoft.com/office/drawing/2014/main" id="{85C4BDAA-AA7C-4976-9931-601DC28916F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135179" y="3813578"/>
              <a:ext cx="220359" cy="400048"/>
            </a:xfrm>
            <a:custGeom>
              <a:avLst/>
              <a:gdLst>
                <a:gd name="T0" fmla="*/ 185 w 477"/>
                <a:gd name="T1" fmla="*/ 30 h 908"/>
                <a:gd name="T2" fmla="*/ 144 w 477"/>
                <a:gd name="T3" fmla="*/ 27 h 908"/>
                <a:gd name="T4" fmla="*/ 97 w 477"/>
                <a:gd name="T5" fmla="*/ 17 h 908"/>
                <a:gd name="T6" fmla="*/ 60 w 477"/>
                <a:gd name="T7" fmla="*/ 84 h 908"/>
                <a:gd name="T8" fmla="*/ 81 w 477"/>
                <a:gd name="T9" fmla="*/ 176 h 908"/>
                <a:gd name="T10" fmla="*/ 55 w 477"/>
                <a:gd name="T11" fmla="*/ 217 h 908"/>
                <a:gd name="T12" fmla="*/ 50 w 477"/>
                <a:gd name="T13" fmla="*/ 259 h 908"/>
                <a:gd name="T14" fmla="*/ 24 w 477"/>
                <a:gd name="T15" fmla="*/ 303 h 908"/>
                <a:gd name="T16" fmla="*/ 14 w 477"/>
                <a:gd name="T17" fmla="*/ 326 h 908"/>
                <a:gd name="T18" fmla="*/ 50 w 477"/>
                <a:gd name="T19" fmla="*/ 423 h 908"/>
                <a:gd name="T20" fmla="*/ 68 w 477"/>
                <a:gd name="T21" fmla="*/ 446 h 908"/>
                <a:gd name="T22" fmla="*/ 19 w 477"/>
                <a:gd name="T23" fmla="*/ 524 h 908"/>
                <a:gd name="T24" fmla="*/ 19 w 477"/>
                <a:gd name="T25" fmla="*/ 576 h 908"/>
                <a:gd name="T26" fmla="*/ 6 w 477"/>
                <a:gd name="T27" fmla="*/ 629 h 908"/>
                <a:gd name="T28" fmla="*/ 58 w 477"/>
                <a:gd name="T29" fmla="*/ 759 h 908"/>
                <a:gd name="T30" fmla="*/ 146 w 477"/>
                <a:gd name="T31" fmla="*/ 803 h 908"/>
                <a:gd name="T32" fmla="*/ 232 w 477"/>
                <a:gd name="T33" fmla="*/ 842 h 908"/>
                <a:gd name="T34" fmla="*/ 281 w 477"/>
                <a:gd name="T35" fmla="*/ 908 h 908"/>
                <a:gd name="T36" fmla="*/ 327 w 477"/>
                <a:gd name="T37" fmla="*/ 879 h 908"/>
                <a:gd name="T38" fmla="*/ 378 w 477"/>
                <a:gd name="T39" fmla="*/ 851 h 908"/>
                <a:gd name="T40" fmla="*/ 391 w 477"/>
                <a:gd name="T41" fmla="*/ 866 h 908"/>
                <a:gd name="T42" fmla="*/ 447 w 477"/>
                <a:gd name="T43" fmla="*/ 833 h 908"/>
                <a:gd name="T44" fmla="*/ 445 w 477"/>
                <a:gd name="T45" fmla="*/ 798 h 908"/>
                <a:gd name="T46" fmla="*/ 419 w 477"/>
                <a:gd name="T47" fmla="*/ 759 h 908"/>
                <a:gd name="T48" fmla="*/ 462 w 477"/>
                <a:gd name="T49" fmla="*/ 749 h 908"/>
                <a:gd name="T50" fmla="*/ 440 w 477"/>
                <a:gd name="T51" fmla="*/ 736 h 908"/>
                <a:gd name="T52" fmla="*/ 429 w 477"/>
                <a:gd name="T53" fmla="*/ 668 h 908"/>
                <a:gd name="T54" fmla="*/ 440 w 477"/>
                <a:gd name="T55" fmla="*/ 594 h 908"/>
                <a:gd name="T56" fmla="*/ 437 w 477"/>
                <a:gd name="T57" fmla="*/ 525 h 908"/>
                <a:gd name="T58" fmla="*/ 447 w 477"/>
                <a:gd name="T59" fmla="*/ 494 h 908"/>
                <a:gd name="T60" fmla="*/ 477 w 477"/>
                <a:gd name="T61" fmla="*/ 481 h 908"/>
                <a:gd name="T62" fmla="*/ 447 w 477"/>
                <a:gd name="T63" fmla="*/ 451 h 908"/>
                <a:gd name="T64" fmla="*/ 445 w 477"/>
                <a:gd name="T65" fmla="*/ 397 h 908"/>
                <a:gd name="T66" fmla="*/ 432 w 477"/>
                <a:gd name="T67" fmla="*/ 366 h 908"/>
                <a:gd name="T68" fmla="*/ 414 w 477"/>
                <a:gd name="T69" fmla="*/ 321 h 908"/>
                <a:gd name="T70" fmla="*/ 401 w 477"/>
                <a:gd name="T71" fmla="*/ 285 h 908"/>
                <a:gd name="T72" fmla="*/ 416 w 477"/>
                <a:gd name="T73" fmla="*/ 236 h 908"/>
                <a:gd name="T74" fmla="*/ 404 w 477"/>
                <a:gd name="T75" fmla="*/ 208 h 908"/>
                <a:gd name="T76" fmla="*/ 396 w 477"/>
                <a:gd name="T77" fmla="*/ 162 h 908"/>
                <a:gd name="T78" fmla="*/ 363 w 477"/>
                <a:gd name="T79" fmla="*/ 124 h 908"/>
                <a:gd name="T80" fmla="*/ 294 w 477"/>
                <a:gd name="T81" fmla="*/ 139 h 908"/>
                <a:gd name="T82" fmla="*/ 268 w 477"/>
                <a:gd name="T83" fmla="*/ 172 h 908"/>
                <a:gd name="T84" fmla="*/ 271 w 477"/>
                <a:gd name="T85" fmla="*/ 144 h 908"/>
                <a:gd name="T86" fmla="*/ 261 w 477"/>
                <a:gd name="T87" fmla="*/ 104 h 908"/>
                <a:gd name="T88" fmla="*/ 250 w 477"/>
                <a:gd name="T89" fmla="*/ 72 h 908"/>
                <a:gd name="T90" fmla="*/ 219 w 477"/>
                <a:gd name="T91" fmla="*/ 2 h 90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77"/>
                <a:gd name="T139" fmla="*/ 0 h 908"/>
                <a:gd name="T140" fmla="*/ 477 w 477"/>
                <a:gd name="T141" fmla="*/ 908 h 908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77" h="908">
                  <a:moveTo>
                    <a:pt x="204" y="0"/>
                  </a:moveTo>
                  <a:lnTo>
                    <a:pt x="185" y="30"/>
                  </a:lnTo>
                  <a:lnTo>
                    <a:pt x="162" y="45"/>
                  </a:lnTo>
                  <a:lnTo>
                    <a:pt x="144" y="27"/>
                  </a:lnTo>
                  <a:lnTo>
                    <a:pt x="105" y="27"/>
                  </a:lnTo>
                  <a:lnTo>
                    <a:pt x="97" y="17"/>
                  </a:lnTo>
                  <a:lnTo>
                    <a:pt x="71" y="66"/>
                  </a:lnTo>
                  <a:lnTo>
                    <a:pt x="60" y="84"/>
                  </a:lnTo>
                  <a:lnTo>
                    <a:pt x="92" y="124"/>
                  </a:lnTo>
                  <a:lnTo>
                    <a:pt x="81" y="176"/>
                  </a:lnTo>
                  <a:lnTo>
                    <a:pt x="52" y="199"/>
                  </a:lnTo>
                  <a:lnTo>
                    <a:pt x="55" y="217"/>
                  </a:lnTo>
                  <a:lnTo>
                    <a:pt x="65" y="243"/>
                  </a:lnTo>
                  <a:lnTo>
                    <a:pt x="50" y="259"/>
                  </a:lnTo>
                  <a:lnTo>
                    <a:pt x="19" y="274"/>
                  </a:lnTo>
                  <a:lnTo>
                    <a:pt x="24" y="303"/>
                  </a:lnTo>
                  <a:lnTo>
                    <a:pt x="37" y="306"/>
                  </a:lnTo>
                  <a:lnTo>
                    <a:pt x="14" y="326"/>
                  </a:lnTo>
                  <a:lnTo>
                    <a:pt x="32" y="366"/>
                  </a:lnTo>
                  <a:lnTo>
                    <a:pt x="50" y="423"/>
                  </a:lnTo>
                  <a:lnTo>
                    <a:pt x="27" y="449"/>
                  </a:lnTo>
                  <a:lnTo>
                    <a:pt x="68" y="446"/>
                  </a:lnTo>
                  <a:lnTo>
                    <a:pt x="47" y="511"/>
                  </a:lnTo>
                  <a:lnTo>
                    <a:pt x="19" y="524"/>
                  </a:lnTo>
                  <a:lnTo>
                    <a:pt x="3" y="564"/>
                  </a:lnTo>
                  <a:lnTo>
                    <a:pt x="19" y="576"/>
                  </a:lnTo>
                  <a:lnTo>
                    <a:pt x="0" y="608"/>
                  </a:lnTo>
                  <a:lnTo>
                    <a:pt x="6" y="629"/>
                  </a:lnTo>
                  <a:lnTo>
                    <a:pt x="55" y="668"/>
                  </a:lnTo>
                  <a:lnTo>
                    <a:pt x="58" y="759"/>
                  </a:lnTo>
                  <a:lnTo>
                    <a:pt x="112" y="767"/>
                  </a:lnTo>
                  <a:lnTo>
                    <a:pt x="146" y="803"/>
                  </a:lnTo>
                  <a:lnTo>
                    <a:pt x="209" y="834"/>
                  </a:lnTo>
                  <a:lnTo>
                    <a:pt x="232" y="842"/>
                  </a:lnTo>
                  <a:lnTo>
                    <a:pt x="287" y="902"/>
                  </a:lnTo>
                  <a:lnTo>
                    <a:pt x="281" y="908"/>
                  </a:lnTo>
                  <a:lnTo>
                    <a:pt x="327" y="902"/>
                  </a:lnTo>
                  <a:lnTo>
                    <a:pt x="327" y="879"/>
                  </a:lnTo>
                  <a:lnTo>
                    <a:pt x="378" y="869"/>
                  </a:lnTo>
                  <a:lnTo>
                    <a:pt x="378" y="851"/>
                  </a:lnTo>
                  <a:lnTo>
                    <a:pt x="391" y="851"/>
                  </a:lnTo>
                  <a:lnTo>
                    <a:pt x="391" y="866"/>
                  </a:lnTo>
                  <a:lnTo>
                    <a:pt x="432" y="854"/>
                  </a:lnTo>
                  <a:lnTo>
                    <a:pt x="447" y="833"/>
                  </a:lnTo>
                  <a:lnTo>
                    <a:pt x="445" y="834"/>
                  </a:lnTo>
                  <a:lnTo>
                    <a:pt x="445" y="798"/>
                  </a:lnTo>
                  <a:lnTo>
                    <a:pt x="419" y="775"/>
                  </a:lnTo>
                  <a:lnTo>
                    <a:pt x="419" y="759"/>
                  </a:lnTo>
                  <a:lnTo>
                    <a:pt x="440" y="749"/>
                  </a:lnTo>
                  <a:lnTo>
                    <a:pt x="462" y="749"/>
                  </a:lnTo>
                  <a:lnTo>
                    <a:pt x="455" y="736"/>
                  </a:lnTo>
                  <a:lnTo>
                    <a:pt x="440" y="736"/>
                  </a:lnTo>
                  <a:lnTo>
                    <a:pt x="429" y="714"/>
                  </a:lnTo>
                  <a:lnTo>
                    <a:pt x="429" y="668"/>
                  </a:lnTo>
                  <a:lnTo>
                    <a:pt x="419" y="639"/>
                  </a:lnTo>
                  <a:lnTo>
                    <a:pt x="440" y="594"/>
                  </a:lnTo>
                  <a:lnTo>
                    <a:pt x="457" y="545"/>
                  </a:lnTo>
                  <a:lnTo>
                    <a:pt x="437" y="525"/>
                  </a:lnTo>
                  <a:lnTo>
                    <a:pt x="434" y="512"/>
                  </a:lnTo>
                  <a:lnTo>
                    <a:pt x="447" y="494"/>
                  </a:lnTo>
                  <a:lnTo>
                    <a:pt x="477" y="494"/>
                  </a:lnTo>
                  <a:lnTo>
                    <a:pt x="477" y="481"/>
                  </a:lnTo>
                  <a:lnTo>
                    <a:pt x="452" y="469"/>
                  </a:lnTo>
                  <a:lnTo>
                    <a:pt x="447" y="451"/>
                  </a:lnTo>
                  <a:lnTo>
                    <a:pt x="472" y="423"/>
                  </a:lnTo>
                  <a:lnTo>
                    <a:pt x="445" y="397"/>
                  </a:lnTo>
                  <a:lnTo>
                    <a:pt x="455" y="376"/>
                  </a:lnTo>
                  <a:lnTo>
                    <a:pt x="432" y="366"/>
                  </a:lnTo>
                  <a:lnTo>
                    <a:pt x="416" y="354"/>
                  </a:lnTo>
                  <a:lnTo>
                    <a:pt x="414" y="321"/>
                  </a:lnTo>
                  <a:lnTo>
                    <a:pt x="411" y="300"/>
                  </a:lnTo>
                  <a:lnTo>
                    <a:pt x="401" y="285"/>
                  </a:lnTo>
                  <a:lnTo>
                    <a:pt x="404" y="251"/>
                  </a:lnTo>
                  <a:lnTo>
                    <a:pt x="416" y="236"/>
                  </a:lnTo>
                  <a:lnTo>
                    <a:pt x="416" y="219"/>
                  </a:lnTo>
                  <a:lnTo>
                    <a:pt x="404" y="208"/>
                  </a:lnTo>
                  <a:lnTo>
                    <a:pt x="404" y="185"/>
                  </a:lnTo>
                  <a:lnTo>
                    <a:pt x="396" y="162"/>
                  </a:lnTo>
                  <a:lnTo>
                    <a:pt x="386" y="142"/>
                  </a:lnTo>
                  <a:lnTo>
                    <a:pt x="363" y="124"/>
                  </a:lnTo>
                  <a:lnTo>
                    <a:pt x="320" y="137"/>
                  </a:lnTo>
                  <a:lnTo>
                    <a:pt x="294" y="139"/>
                  </a:lnTo>
                  <a:lnTo>
                    <a:pt x="281" y="162"/>
                  </a:lnTo>
                  <a:lnTo>
                    <a:pt x="268" y="172"/>
                  </a:lnTo>
                  <a:lnTo>
                    <a:pt x="266" y="162"/>
                  </a:lnTo>
                  <a:lnTo>
                    <a:pt x="271" y="144"/>
                  </a:lnTo>
                  <a:lnTo>
                    <a:pt x="276" y="129"/>
                  </a:lnTo>
                  <a:lnTo>
                    <a:pt x="261" y="104"/>
                  </a:lnTo>
                  <a:lnTo>
                    <a:pt x="262" y="72"/>
                  </a:lnTo>
                  <a:lnTo>
                    <a:pt x="250" y="72"/>
                  </a:lnTo>
                  <a:lnTo>
                    <a:pt x="240" y="23"/>
                  </a:lnTo>
                  <a:lnTo>
                    <a:pt x="219" y="2"/>
                  </a:lnTo>
                  <a:lnTo>
                    <a:pt x="204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55</a:t>
              </a:r>
            </a:p>
          </p:txBody>
        </p:sp>
        <p:sp>
          <p:nvSpPr>
            <p:cNvPr id="94" name="FR-57">
              <a:extLst>
                <a:ext uri="{FF2B5EF4-FFF2-40B4-BE49-F238E27FC236}">
                  <a16:creationId xmlns:a16="http://schemas.microsoft.com/office/drawing/2014/main" id="{0F74E2EE-B793-4A59-8525-5055D12E3D1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360620" y="3836048"/>
              <a:ext cx="403761" cy="318541"/>
            </a:xfrm>
            <a:custGeom>
              <a:avLst/>
              <a:gdLst>
                <a:gd name="T0" fmla="*/ 116 w 874"/>
                <a:gd name="T1" fmla="*/ 3 h 723"/>
                <a:gd name="T2" fmla="*/ 77 w 874"/>
                <a:gd name="T3" fmla="*/ 42 h 723"/>
                <a:gd name="T4" fmla="*/ 17 w 874"/>
                <a:gd name="T5" fmla="*/ 26 h 723"/>
                <a:gd name="T6" fmla="*/ 13 w 874"/>
                <a:gd name="T7" fmla="*/ 65 h 723"/>
                <a:gd name="T8" fmla="*/ 33 w 874"/>
                <a:gd name="T9" fmla="*/ 157 h 723"/>
                <a:gd name="T10" fmla="*/ 61 w 874"/>
                <a:gd name="T11" fmla="*/ 208 h 723"/>
                <a:gd name="T12" fmla="*/ 64 w 874"/>
                <a:gd name="T13" fmla="*/ 267 h 723"/>
                <a:gd name="T14" fmla="*/ 54 w 874"/>
                <a:gd name="T15" fmla="*/ 315 h 723"/>
                <a:gd name="T16" fmla="*/ 23 w 874"/>
                <a:gd name="T17" fmla="*/ 348 h 723"/>
                <a:gd name="T18" fmla="*/ 74 w 874"/>
                <a:gd name="T19" fmla="*/ 423 h 723"/>
                <a:gd name="T20" fmla="*/ 135 w 874"/>
                <a:gd name="T21" fmla="*/ 450 h 723"/>
                <a:gd name="T22" fmla="*/ 237 w 874"/>
                <a:gd name="T23" fmla="*/ 515 h 723"/>
                <a:gd name="T24" fmla="*/ 283 w 874"/>
                <a:gd name="T25" fmla="*/ 550 h 723"/>
                <a:gd name="T26" fmla="*/ 408 w 874"/>
                <a:gd name="T27" fmla="*/ 614 h 723"/>
                <a:gd name="T28" fmla="*/ 447 w 874"/>
                <a:gd name="T29" fmla="*/ 627 h 723"/>
                <a:gd name="T30" fmla="*/ 541 w 874"/>
                <a:gd name="T31" fmla="*/ 655 h 723"/>
                <a:gd name="T32" fmla="*/ 622 w 874"/>
                <a:gd name="T33" fmla="*/ 713 h 723"/>
                <a:gd name="T34" fmla="*/ 700 w 874"/>
                <a:gd name="T35" fmla="*/ 677 h 723"/>
                <a:gd name="T36" fmla="*/ 695 w 874"/>
                <a:gd name="T37" fmla="*/ 601 h 723"/>
                <a:gd name="T38" fmla="*/ 723 w 874"/>
                <a:gd name="T39" fmla="*/ 525 h 723"/>
                <a:gd name="T40" fmla="*/ 609 w 874"/>
                <a:gd name="T41" fmla="*/ 515 h 723"/>
                <a:gd name="T42" fmla="*/ 596 w 874"/>
                <a:gd name="T43" fmla="*/ 476 h 723"/>
                <a:gd name="T44" fmla="*/ 536 w 874"/>
                <a:gd name="T45" fmla="*/ 442 h 723"/>
                <a:gd name="T46" fmla="*/ 570 w 874"/>
                <a:gd name="T47" fmla="*/ 398 h 723"/>
                <a:gd name="T48" fmla="*/ 606 w 874"/>
                <a:gd name="T49" fmla="*/ 312 h 723"/>
                <a:gd name="T50" fmla="*/ 645 w 874"/>
                <a:gd name="T51" fmla="*/ 364 h 723"/>
                <a:gd name="T52" fmla="*/ 721 w 874"/>
                <a:gd name="T53" fmla="*/ 398 h 723"/>
                <a:gd name="T54" fmla="*/ 778 w 874"/>
                <a:gd name="T55" fmla="*/ 380 h 723"/>
                <a:gd name="T56" fmla="*/ 830 w 874"/>
                <a:gd name="T57" fmla="*/ 403 h 723"/>
                <a:gd name="T58" fmla="*/ 851 w 874"/>
                <a:gd name="T59" fmla="*/ 346 h 723"/>
                <a:gd name="T60" fmla="*/ 869 w 874"/>
                <a:gd name="T61" fmla="*/ 308 h 723"/>
                <a:gd name="T62" fmla="*/ 799 w 874"/>
                <a:gd name="T63" fmla="*/ 250 h 723"/>
                <a:gd name="T64" fmla="*/ 718 w 874"/>
                <a:gd name="T65" fmla="*/ 227 h 723"/>
                <a:gd name="T66" fmla="*/ 593 w 874"/>
                <a:gd name="T67" fmla="*/ 263 h 723"/>
                <a:gd name="T68" fmla="*/ 541 w 874"/>
                <a:gd name="T69" fmla="*/ 213 h 723"/>
                <a:gd name="T70" fmla="*/ 538 w 874"/>
                <a:gd name="T71" fmla="*/ 212 h 723"/>
                <a:gd name="T72" fmla="*/ 537 w 874"/>
                <a:gd name="T73" fmla="*/ 211 h 723"/>
                <a:gd name="T74" fmla="*/ 497 w 874"/>
                <a:gd name="T75" fmla="*/ 196 h 723"/>
                <a:gd name="T76" fmla="*/ 457 w 874"/>
                <a:gd name="T77" fmla="*/ 243 h 723"/>
                <a:gd name="T78" fmla="*/ 387 w 874"/>
                <a:gd name="T79" fmla="*/ 198 h 723"/>
                <a:gd name="T80" fmla="*/ 372 w 874"/>
                <a:gd name="T81" fmla="*/ 157 h 723"/>
                <a:gd name="T82" fmla="*/ 332 w 874"/>
                <a:gd name="T83" fmla="*/ 78 h 723"/>
                <a:gd name="T84" fmla="*/ 252 w 874"/>
                <a:gd name="T85" fmla="*/ 26 h 723"/>
                <a:gd name="T86" fmla="*/ 218 w 874"/>
                <a:gd name="T87" fmla="*/ 32 h 723"/>
                <a:gd name="T88" fmla="*/ 155 w 874"/>
                <a:gd name="T89" fmla="*/ 0 h 72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74"/>
                <a:gd name="T136" fmla="*/ 0 h 723"/>
                <a:gd name="T137" fmla="*/ 874 w 874"/>
                <a:gd name="T138" fmla="*/ 723 h 72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74" h="723">
                  <a:moveTo>
                    <a:pt x="155" y="0"/>
                  </a:moveTo>
                  <a:lnTo>
                    <a:pt x="116" y="3"/>
                  </a:lnTo>
                  <a:lnTo>
                    <a:pt x="85" y="29"/>
                  </a:lnTo>
                  <a:lnTo>
                    <a:pt x="77" y="42"/>
                  </a:lnTo>
                  <a:lnTo>
                    <a:pt x="33" y="42"/>
                  </a:lnTo>
                  <a:lnTo>
                    <a:pt x="17" y="26"/>
                  </a:lnTo>
                  <a:lnTo>
                    <a:pt x="11" y="26"/>
                  </a:lnTo>
                  <a:cubicBezTo>
                    <a:pt x="12" y="49"/>
                    <a:pt x="15" y="55"/>
                    <a:pt x="13" y="65"/>
                  </a:cubicBezTo>
                  <a:lnTo>
                    <a:pt x="0" y="86"/>
                  </a:lnTo>
                  <a:lnTo>
                    <a:pt x="33" y="157"/>
                  </a:lnTo>
                  <a:lnTo>
                    <a:pt x="46" y="168"/>
                  </a:lnTo>
                  <a:lnTo>
                    <a:pt x="61" y="208"/>
                  </a:lnTo>
                  <a:lnTo>
                    <a:pt x="41" y="244"/>
                  </a:lnTo>
                  <a:lnTo>
                    <a:pt x="64" y="267"/>
                  </a:lnTo>
                  <a:lnTo>
                    <a:pt x="54" y="287"/>
                  </a:lnTo>
                  <a:lnTo>
                    <a:pt x="54" y="315"/>
                  </a:lnTo>
                  <a:lnTo>
                    <a:pt x="25" y="315"/>
                  </a:lnTo>
                  <a:lnTo>
                    <a:pt x="23" y="348"/>
                  </a:lnTo>
                  <a:lnTo>
                    <a:pt x="77" y="382"/>
                  </a:lnTo>
                  <a:lnTo>
                    <a:pt x="74" y="423"/>
                  </a:lnTo>
                  <a:lnTo>
                    <a:pt x="115" y="423"/>
                  </a:lnTo>
                  <a:lnTo>
                    <a:pt x="135" y="450"/>
                  </a:lnTo>
                  <a:lnTo>
                    <a:pt x="186" y="450"/>
                  </a:lnTo>
                  <a:lnTo>
                    <a:pt x="237" y="515"/>
                  </a:lnTo>
                  <a:lnTo>
                    <a:pt x="250" y="550"/>
                  </a:lnTo>
                  <a:lnTo>
                    <a:pt x="283" y="550"/>
                  </a:lnTo>
                  <a:lnTo>
                    <a:pt x="349" y="578"/>
                  </a:lnTo>
                  <a:lnTo>
                    <a:pt x="408" y="614"/>
                  </a:lnTo>
                  <a:lnTo>
                    <a:pt x="408" y="624"/>
                  </a:lnTo>
                  <a:lnTo>
                    <a:pt x="447" y="627"/>
                  </a:lnTo>
                  <a:lnTo>
                    <a:pt x="495" y="655"/>
                  </a:lnTo>
                  <a:lnTo>
                    <a:pt x="541" y="655"/>
                  </a:lnTo>
                  <a:lnTo>
                    <a:pt x="579" y="683"/>
                  </a:lnTo>
                  <a:lnTo>
                    <a:pt x="622" y="713"/>
                  </a:lnTo>
                  <a:lnTo>
                    <a:pt x="653" y="723"/>
                  </a:lnTo>
                  <a:lnTo>
                    <a:pt x="700" y="677"/>
                  </a:lnTo>
                  <a:lnTo>
                    <a:pt x="716" y="622"/>
                  </a:lnTo>
                  <a:lnTo>
                    <a:pt x="695" y="601"/>
                  </a:lnTo>
                  <a:lnTo>
                    <a:pt x="692" y="583"/>
                  </a:lnTo>
                  <a:lnTo>
                    <a:pt x="723" y="525"/>
                  </a:lnTo>
                  <a:lnTo>
                    <a:pt x="651" y="484"/>
                  </a:lnTo>
                  <a:lnTo>
                    <a:pt x="609" y="515"/>
                  </a:lnTo>
                  <a:lnTo>
                    <a:pt x="585" y="500"/>
                  </a:lnTo>
                  <a:lnTo>
                    <a:pt x="596" y="476"/>
                  </a:lnTo>
                  <a:lnTo>
                    <a:pt x="570" y="458"/>
                  </a:lnTo>
                  <a:lnTo>
                    <a:pt x="536" y="442"/>
                  </a:lnTo>
                  <a:lnTo>
                    <a:pt x="536" y="408"/>
                  </a:lnTo>
                  <a:lnTo>
                    <a:pt x="570" y="398"/>
                  </a:lnTo>
                  <a:lnTo>
                    <a:pt x="583" y="338"/>
                  </a:lnTo>
                  <a:lnTo>
                    <a:pt x="606" y="312"/>
                  </a:lnTo>
                  <a:lnTo>
                    <a:pt x="617" y="351"/>
                  </a:lnTo>
                  <a:lnTo>
                    <a:pt x="645" y="364"/>
                  </a:lnTo>
                  <a:lnTo>
                    <a:pt x="695" y="372"/>
                  </a:lnTo>
                  <a:lnTo>
                    <a:pt x="721" y="398"/>
                  </a:lnTo>
                  <a:lnTo>
                    <a:pt x="752" y="398"/>
                  </a:lnTo>
                  <a:lnTo>
                    <a:pt x="778" y="380"/>
                  </a:lnTo>
                  <a:lnTo>
                    <a:pt x="812" y="403"/>
                  </a:lnTo>
                  <a:lnTo>
                    <a:pt x="830" y="403"/>
                  </a:lnTo>
                  <a:lnTo>
                    <a:pt x="851" y="385"/>
                  </a:lnTo>
                  <a:lnTo>
                    <a:pt x="851" y="346"/>
                  </a:lnTo>
                  <a:lnTo>
                    <a:pt x="874" y="306"/>
                  </a:lnTo>
                  <a:lnTo>
                    <a:pt x="869" y="308"/>
                  </a:lnTo>
                  <a:lnTo>
                    <a:pt x="851" y="282"/>
                  </a:lnTo>
                  <a:lnTo>
                    <a:pt x="799" y="250"/>
                  </a:lnTo>
                  <a:lnTo>
                    <a:pt x="780" y="222"/>
                  </a:lnTo>
                  <a:lnTo>
                    <a:pt x="718" y="227"/>
                  </a:lnTo>
                  <a:lnTo>
                    <a:pt x="681" y="261"/>
                  </a:lnTo>
                  <a:lnTo>
                    <a:pt x="593" y="263"/>
                  </a:lnTo>
                  <a:lnTo>
                    <a:pt x="567" y="245"/>
                  </a:lnTo>
                  <a:cubicBezTo>
                    <a:pt x="565" y="242"/>
                    <a:pt x="552" y="219"/>
                    <a:pt x="541" y="213"/>
                  </a:cubicBezTo>
                  <a:cubicBezTo>
                    <a:pt x="540" y="213"/>
                    <a:pt x="540" y="212"/>
                    <a:pt x="539" y="212"/>
                  </a:cubicBezTo>
                  <a:lnTo>
                    <a:pt x="538" y="212"/>
                  </a:lnTo>
                  <a:lnTo>
                    <a:pt x="537" y="211"/>
                  </a:lnTo>
                  <a:cubicBezTo>
                    <a:pt x="536" y="211"/>
                    <a:pt x="536" y="211"/>
                    <a:pt x="535" y="211"/>
                  </a:cubicBezTo>
                  <a:cubicBezTo>
                    <a:pt x="523" y="211"/>
                    <a:pt x="509" y="196"/>
                    <a:pt x="497" y="196"/>
                  </a:cubicBezTo>
                  <a:lnTo>
                    <a:pt x="460" y="211"/>
                  </a:lnTo>
                  <a:lnTo>
                    <a:pt x="457" y="243"/>
                  </a:lnTo>
                  <a:lnTo>
                    <a:pt x="413" y="248"/>
                  </a:lnTo>
                  <a:lnTo>
                    <a:pt x="387" y="198"/>
                  </a:lnTo>
                  <a:lnTo>
                    <a:pt x="372" y="193"/>
                  </a:lnTo>
                  <a:lnTo>
                    <a:pt x="372" y="157"/>
                  </a:lnTo>
                  <a:lnTo>
                    <a:pt x="335" y="141"/>
                  </a:lnTo>
                  <a:lnTo>
                    <a:pt x="332" y="78"/>
                  </a:lnTo>
                  <a:lnTo>
                    <a:pt x="306" y="53"/>
                  </a:lnTo>
                  <a:lnTo>
                    <a:pt x="252" y="26"/>
                  </a:lnTo>
                  <a:lnTo>
                    <a:pt x="226" y="26"/>
                  </a:lnTo>
                  <a:lnTo>
                    <a:pt x="218" y="32"/>
                  </a:lnTo>
                  <a:lnTo>
                    <a:pt x="192" y="32"/>
                  </a:lnTo>
                  <a:lnTo>
                    <a:pt x="155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57</a:t>
              </a:r>
            </a:p>
          </p:txBody>
        </p:sp>
        <p:sp>
          <p:nvSpPr>
            <p:cNvPr id="95" name="FR-88">
              <a:extLst>
                <a:ext uri="{FF2B5EF4-FFF2-40B4-BE49-F238E27FC236}">
                  <a16:creationId xmlns:a16="http://schemas.microsoft.com/office/drawing/2014/main" id="{146C1A30-21F4-4C3C-B8A5-B5B0CE2F275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257139" y="4162519"/>
              <a:ext cx="420854" cy="233068"/>
            </a:xfrm>
            <a:custGeom>
              <a:avLst/>
              <a:gdLst>
                <a:gd name="T0" fmla="*/ 831 w 911"/>
                <a:gd name="T1" fmla="*/ 6 h 529"/>
                <a:gd name="T2" fmla="*/ 770 w 911"/>
                <a:gd name="T3" fmla="*/ 47 h 529"/>
                <a:gd name="T4" fmla="*/ 703 w 911"/>
                <a:gd name="T5" fmla="*/ 82 h 529"/>
                <a:gd name="T6" fmla="*/ 660 w 911"/>
                <a:gd name="T7" fmla="*/ 72 h 529"/>
                <a:gd name="T8" fmla="*/ 619 w 911"/>
                <a:gd name="T9" fmla="*/ 36 h 529"/>
                <a:gd name="T10" fmla="*/ 596 w 911"/>
                <a:gd name="T11" fmla="*/ 80 h 529"/>
                <a:gd name="T12" fmla="*/ 553 w 911"/>
                <a:gd name="T13" fmla="*/ 85 h 529"/>
                <a:gd name="T14" fmla="*/ 492 w 911"/>
                <a:gd name="T15" fmla="*/ 92 h 529"/>
                <a:gd name="T16" fmla="*/ 443 w 911"/>
                <a:gd name="T17" fmla="*/ 85 h 529"/>
                <a:gd name="T18" fmla="*/ 390 w 911"/>
                <a:gd name="T19" fmla="*/ 97 h 529"/>
                <a:gd name="T20" fmla="*/ 288 w 911"/>
                <a:gd name="T21" fmla="*/ 136 h 529"/>
                <a:gd name="T22" fmla="*/ 242 w 911"/>
                <a:gd name="T23" fmla="*/ 108 h 529"/>
                <a:gd name="T24" fmla="*/ 262 w 911"/>
                <a:gd name="T25" fmla="*/ 82 h 529"/>
                <a:gd name="T26" fmla="*/ 244 w 911"/>
                <a:gd name="T27" fmla="*/ 36 h 529"/>
                <a:gd name="T28" fmla="*/ 183 w 911"/>
                <a:gd name="T29" fmla="*/ 41 h 529"/>
                <a:gd name="T30" fmla="*/ 127 w 911"/>
                <a:gd name="T31" fmla="*/ 74 h 529"/>
                <a:gd name="T32" fmla="*/ 114 w 911"/>
                <a:gd name="T33" fmla="*/ 59 h 529"/>
                <a:gd name="T34" fmla="*/ 63 w 911"/>
                <a:gd name="T35" fmla="*/ 87 h 529"/>
                <a:gd name="T36" fmla="*/ 17 w 911"/>
                <a:gd name="T37" fmla="*/ 116 h 529"/>
                <a:gd name="T38" fmla="*/ 18 w 911"/>
                <a:gd name="T39" fmla="*/ 159 h 529"/>
                <a:gd name="T40" fmla="*/ 96 w 911"/>
                <a:gd name="T41" fmla="*/ 212 h 529"/>
                <a:gd name="T42" fmla="*/ 135 w 911"/>
                <a:gd name="T43" fmla="*/ 246 h 529"/>
                <a:gd name="T44" fmla="*/ 176 w 911"/>
                <a:gd name="T45" fmla="*/ 274 h 529"/>
                <a:gd name="T46" fmla="*/ 138 w 911"/>
                <a:gd name="T47" fmla="*/ 360 h 529"/>
                <a:gd name="T48" fmla="*/ 211 w 911"/>
                <a:gd name="T49" fmla="*/ 451 h 529"/>
                <a:gd name="T50" fmla="*/ 263 w 911"/>
                <a:gd name="T51" fmla="*/ 459 h 529"/>
                <a:gd name="T52" fmla="*/ 271 w 911"/>
                <a:gd name="T53" fmla="*/ 433 h 529"/>
                <a:gd name="T54" fmla="*/ 301 w 911"/>
                <a:gd name="T55" fmla="*/ 446 h 529"/>
                <a:gd name="T56" fmla="*/ 336 w 911"/>
                <a:gd name="T57" fmla="*/ 402 h 529"/>
                <a:gd name="T58" fmla="*/ 398 w 911"/>
                <a:gd name="T59" fmla="*/ 404 h 529"/>
                <a:gd name="T60" fmla="*/ 429 w 911"/>
                <a:gd name="T61" fmla="*/ 459 h 529"/>
                <a:gd name="T62" fmla="*/ 473 w 911"/>
                <a:gd name="T63" fmla="*/ 438 h 529"/>
                <a:gd name="T64" fmla="*/ 567 w 911"/>
                <a:gd name="T65" fmla="*/ 482 h 529"/>
                <a:gd name="T66" fmla="*/ 601 w 911"/>
                <a:gd name="T67" fmla="*/ 469 h 529"/>
                <a:gd name="T68" fmla="*/ 625 w 911"/>
                <a:gd name="T69" fmla="*/ 444 h 529"/>
                <a:gd name="T70" fmla="*/ 671 w 911"/>
                <a:gd name="T71" fmla="*/ 485 h 529"/>
                <a:gd name="T72" fmla="*/ 786 w 911"/>
                <a:gd name="T73" fmla="*/ 501 h 529"/>
                <a:gd name="T74" fmla="*/ 833 w 911"/>
                <a:gd name="T75" fmla="*/ 360 h 529"/>
                <a:gd name="T76" fmla="*/ 851 w 911"/>
                <a:gd name="T77" fmla="*/ 261 h 529"/>
                <a:gd name="T78" fmla="*/ 911 w 911"/>
                <a:gd name="T79" fmla="*/ 134 h 529"/>
                <a:gd name="T80" fmla="*/ 851 w 911"/>
                <a:gd name="T81" fmla="*/ 50 h 529"/>
                <a:gd name="T82" fmla="*/ 858 w 911"/>
                <a:gd name="T83" fmla="*/ 0 h 529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11"/>
                <a:gd name="T127" fmla="*/ 0 h 529"/>
                <a:gd name="T128" fmla="*/ 911 w 911"/>
                <a:gd name="T129" fmla="*/ 529 h 529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11" h="529">
                  <a:moveTo>
                    <a:pt x="858" y="0"/>
                  </a:moveTo>
                  <a:lnTo>
                    <a:pt x="831" y="6"/>
                  </a:lnTo>
                  <a:lnTo>
                    <a:pt x="791" y="21"/>
                  </a:lnTo>
                  <a:lnTo>
                    <a:pt x="770" y="47"/>
                  </a:lnTo>
                  <a:lnTo>
                    <a:pt x="747" y="62"/>
                  </a:lnTo>
                  <a:lnTo>
                    <a:pt x="703" y="82"/>
                  </a:lnTo>
                  <a:lnTo>
                    <a:pt x="691" y="80"/>
                  </a:lnTo>
                  <a:lnTo>
                    <a:pt x="660" y="72"/>
                  </a:lnTo>
                  <a:lnTo>
                    <a:pt x="630" y="69"/>
                  </a:lnTo>
                  <a:lnTo>
                    <a:pt x="619" y="36"/>
                  </a:lnTo>
                  <a:lnTo>
                    <a:pt x="599" y="44"/>
                  </a:lnTo>
                  <a:lnTo>
                    <a:pt x="596" y="80"/>
                  </a:lnTo>
                  <a:lnTo>
                    <a:pt x="581" y="64"/>
                  </a:lnTo>
                  <a:lnTo>
                    <a:pt x="553" y="85"/>
                  </a:lnTo>
                  <a:lnTo>
                    <a:pt x="525" y="95"/>
                  </a:lnTo>
                  <a:lnTo>
                    <a:pt x="492" y="92"/>
                  </a:lnTo>
                  <a:lnTo>
                    <a:pt x="469" y="100"/>
                  </a:lnTo>
                  <a:lnTo>
                    <a:pt x="443" y="85"/>
                  </a:lnTo>
                  <a:lnTo>
                    <a:pt x="428" y="97"/>
                  </a:lnTo>
                  <a:lnTo>
                    <a:pt x="390" y="97"/>
                  </a:lnTo>
                  <a:lnTo>
                    <a:pt x="372" y="131"/>
                  </a:lnTo>
                  <a:lnTo>
                    <a:pt x="288" y="136"/>
                  </a:lnTo>
                  <a:lnTo>
                    <a:pt x="270" y="113"/>
                  </a:lnTo>
                  <a:lnTo>
                    <a:pt x="242" y="108"/>
                  </a:lnTo>
                  <a:lnTo>
                    <a:pt x="244" y="95"/>
                  </a:lnTo>
                  <a:lnTo>
                    <a:pt x="262" y="82"/>
                  </a:lnTo>
                  <a:lnTo>
                    <a:pt x="247" y="77"/>
                  </a:lnTo>
                  <a:lnTo>
                    <a:pt x="244" y="36"/>
                  </a:lnTo>
                  <a:lnTo>
                    <a:pt x="206" y="34"/>
                  </a:lnTo>
                  <a:lnTo>
                    <a:pt x="183" y="41"/>
                  </a:lnTo>
                  <a:lnTo>
                    <a:pt x="168" y="62"/>
                  </a:lnTo>
                  <a:lnTo>
                    <a:pt x="127" y="74"/>
                  </a:lnTo>
                  <a:lnTo>
                    <a:pt x="127" y="59"/>
                  </a:lnTo>
                  <a:lnTo>
                    <a:pt x="114" y="59"/>
                  </a:lnTo>
                  <a:lnTo>
                    <a:pt x="114" y="77"/>
                  </a:lnTo>
                  <a:lnTo>
                    <a:pt x="63" y="87"/>
                  </a:lnTo>
                  <a:lnTo>
                    <a:pt x="63" y="110"/>
                  </a:lnTo>
                  <a:lnTo>
                    <a:pt x="17" y="116"/>
                  </a:lnTo>
                  <a:lnTo>
                    <a:pt x="0" y="134"/>
                  </a:lnTo>
                  <a:lnTo>
                    <a:pt x="18" y="159"/>
                  </a:lnTo>
                  <a:lnTo>
                    <a:pt x="59" y="162"/>
                  </a:lnTo>
                  <a:lnTo>
                    <a:pt x="96" y="212"/>
                  </a:lnTo>
                  <a:lnTo>
                    <a:pt x="127" y="212"/>
                  </a:lnTo>
                  <a:lnTo>
                    <a:pt x="135" y="246"/>
                  </a:lnTo>
                  <a:lnTo>
                    <a:pt x="169" y="251"/>
                  </a:lnTo>
                  <a:lnTo>
                    <a:pt x="176" y="274"/>
                  </a:lnTo>
                  <a:lnTo>
                    <a:pt x="153" y="290"/>
                  </a:lnTo>
                  <a:lnTo>
                    <a:pt x="138" y="360"/>
                  </a:lnTo>
                  <a:lnTo>
                    <a:pt x="211" y="397"/>
                  </a:lnTo>
                  <a:lnTo>
                    <a:pt x="211" y="451"/>
                  </a:lnTo>
                  <a:lnTo>
                    <a:pt x="239" y="441"/>
                  </a:lnTo>
                  <a:lnTo>
                    <a:pt x="263" y="459"/>
                  </a:lnTo>
                  <a:lnTo>
                    <a:pt x="281" y="449"/>
                  </a:lnTo>
                  <a:lnTo>
                    <a:pt x="271" y="433"/>
                  </a:lnTo>
                  <a:lnTo>
                    <a:pt x="283" y="425"/>
                  </a:lnTo>
                  <a:lnTo>
                    <a:pt x="301" y="446"/>
                  </a:lnTo>
                  <a:lnTo>
                    <a:pt x="328" y="428"/>
                  </a:lnTo>
                  <a:lnTo>
                    <a:pt x="336" y="402"/>
                  </a:lnTo>
                  <a:lnTo>
                    <a:pt x="385" y="394"/>
                  </a:lnTo>
                  <a:lnTo>
                    <a:pt x="398" y="404"/>
                  </a:lnTo>
                  <a:lnTo>
                    <a:pt x="396" y="433"/>
                  </a:lnTo>
                  <a:lnTo>
                    <a:pt x="429" y="459"/>
                  </a:lnTo>
                  <a:lnTo>
                    <a:pt x="450" y="457"/>
                  </a:lnTo>
                  <a:lnTo>
                    <a:pt x="473" y="438"/>
                  </a:lnTo>
                  <a:lnTo>
                    <a:pt x="528" y="438"/>
                  </a:lnTo>
                  <a:lnTo>
                    <a:pt x="567" y="482"/>
                  </a:lnTo>
                  <a:lnTo>
                    <a:pt x="580" y="482"/>
                  </a:lnTo>
                  <a:lnTo>
                    <a:pt x="601" y="469"/>
                  </a:lnTo>
                  <a:lnTo>
                    <a:pt x="604" y="454"/>
                  </a:lnTo>
                  <a:lnTo>
                    <a:pt x="625" y="444"/>
                  </a:lnTo>
                  <a:lnTo>
                    <a:pt x="648" y="459"/>
                  </a:lnTo>
                  <a:lnTo>
                    <a:pt x="671" y="485"/>
                  </a:lnTo>
                  <a:lnTo>
                    <a:pt x="753" y="529"/>
                  </a:lnTo>
                  <a:lnTo>
                    <a:pt x="786" y="501"/>
                  </a:lnTo>
                  <a:lnTo>
                    <a:pt x="788" y="399"/>
                  </a:lnTo>
                  <a:lnTo>
                    <a:pt x="833" y="360"/>
                  </a:lnTo>
                  <a:lnTo>
                    <a:pt x="859" y="300"/>
                  </a:lnTo>
                  <a:lnTo>
                    <a:pt x="851" y="261"/>
                  </a:lnTo>
                  <a:lnTo>
                    <a:pt x="882" y="199"/>
                  </a:lnTo>
                  <a:lnTo>
                    <a:pt x="911" y="134"/>
                  </a:lnTo>
                  <a:lnTo>
                    <a:pt x="861" y="121"/>
                  </a:lnTo>
                  <a:lnTo>
                    <a:pt x="851" y="50"/>
                  </a:lnTo>
                  <a:lnTo>
                    <a:pt x="861" y="3"/>
                  </a:lnTo>
                  <a:lnTo>
                    <a:pt x="85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88</a:t>
              </a:r>
            </a:p>
          </p:txBody>
        </p:sp>
        <p:sp>
          <p:nvSpPr>
            <p:cNvPr id="96" name="FR-91">
              <a:extLst>
                <a:ext uri="{FF2B5EF4-FFF2-40B4-BE49-F238E27FC236}">
                  <a16:creationId xmlns:a16="http://schemas.microsoft.com/office/drawing/2014/main" id="{BCBFAB14-6581-426D-992F-5E27B8797B2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444997" y="4106565"/>
              <a:ext cx="149216" cy="160372"/>
            </a:xfrm>
            <a:custGeom>
              <a:avLst/>
              <a:gdLst>
                <a:gd name="T0" fmla="*/ 152 w 323"/>
                <a:gd name="T1" fmla="*/ 0 h 364"/>
                <a:gd name="T2" fmla="*/ 129 w 323"/>
                <a:gd name="T3" fmla="*/ 10 h 364"/>
                <a:gd name="T4" fmla="*/ 104 w 323"/>
                <a:gd name="T5" fmla="*/ 20 h 364"/>
                <a:gd name="T6" fmla="*/ 99 w 323"/>
                <a:gd name="T7" fmla="*/ 49 h 364"/>
                <a:gd name="T8" fmla="*/ 60 w 323"/>
                <a:gd name="T9" fmla="*/ 66 h 364"/>
                <a:gd name="T10" fmla="*/ 55 w 323"/>
                <a:gd name="T11" fmla="*/ 94 h 364"/>
                <a:gd name="T12" fmla="*/ 73 w 323"/>
                <a:gd name="T13" fmla="*/ 125 h 364"/>
                <a:gd name="T14" fmla="*/ 47 w 323"/>
                <a:gd name="T15" fmla="*/ 161 h 364"/>
                <a:gd name="T16" fmla="*/ 9 w 323"/>
                <a:gd name="T17" fmla="*/ 161 h 364"/>
                <a:gd name="T18" fmla="*/ 24 w 323"/>
                <a:gd name="T19" fmla="*/ 184 h 364"/>
                <a:gd name="T20" fmla="*/ 6 w 323"/>
                <a:gd name="T21" fmla="*/ 204 h 364"/>
                <a:gd name="T22" fmla="*/ 0 w 323"/>
                <a:gd name="T23" fmla="*/ 245 h 364"/>
                <a:gd name="T24" fmla="*/ 13 w 323"/>
                <a:gd name="T25" fmla="*/ 248 h 364"/>
                <a:gd name="T26" fmla="*/ 18 w 323"/>
                <a:gd name="T27" fmla="*/ 281 h 364"/>
                <a:gd name="T28" fmla="*/ 23 w 323"/>
                <a:gd name="T29" fmla="*/ 289 h 364"/>
                <a:gd name="T30" fmla="*/ 29 w 323"/>
                <a:gd name="T31" fmla="*/ 359 h 364"/>
                <a:gd name="T32" fmla="*/ 112 w 323"/>
                <a:gd name="T33" fmla="*/ 352 h 364"/>
                <a:gd name="T34" fmla="*/ 146 w 323"/>
                <a:gd name="T35" fmla="*/ 321 h 364"/>
                <a:gd name="T36" fmla="*/ 174 w 323"/>
                <a:gd name="T37" fmla="*/ 344 h 364"/>
                <a:gd name="T38" fmla="*/ 244 w 323"/>
                <a:gd name="T39" fmla="*/ 349 h 364"/>
                <a:gd name="T40" fmla="*/ 254 w 323"/>
                <a:gd name="T41" fmla="*/ 364 h 364"/>
                <a:gd name="T42" fmla="*/ 254 w 323"/>
                <a:gd name="T43" fmla="*/ 311 h 364"/>
                <a:gd name="T44" fmla="*/ 313 w 323"/>
                <a:gd name="T45" fmla="*/ 273 h 364"/>
                <a:gd name="T46" fmla="*/ 295 w 323"/>
                <a:gd name="T47" fmla="*/ 250 h 364"/>
                <a:gd name="T48" fmla="*/ 303 w 323"/>
                <a:gd name="T49" fmla="*/ 181 h 364"/>
                <a:gd name="T50" fmla="*/ 313 w 323"/>
                <a:gd name="T51" fmla="*/ 166 h 364"/>
                <a:gd name="T52" fmla="*/ 300 w 323"/>
                <a:gd name="T53" fmla="*/ 97 h 364"/>
                <a:gd name="T54" fmla="*/ 323 w 323"/>
                <a:gd name="T55" fmla="*/ 79 h 364"/>
                <a:gd name="T56" fmla="*/ 319 w 323"/>
                <a:gd name="T57" fmla="*/ 46 h 364"/>
                <a:gd name="T58" fmla="*/ 290 w 323"/>
                <a:gd name="T59" fmla="*/ 33 h 364"/>
                <a:gd name="T60" fmla="*/ 241 w 323"/>
                <a:gd name="T61" fmla="*/ 33 h 364"/>
                <a:gd name="T62" fmla="*/ 214 w 323"/>
                <a:gd name="T63" fmla="*/ 18 h 364"/>
                <a:gd name="T64" fmla="*/ 193 w 323"/>
                <a:gd name="T65" fmla="*/ 28 h 364"/>
                <a:gd name="T66" fmla="*/ 152 w 323"/>
                <a:gd name="T67" fmla="*/ 0 h 36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323"/>
                <a:gd name="T103" fmla="*/ 0 h 364"/>
                <a:gd name="T104" fmla="*/ 323 w 323"/>
                <a:gd name="T105" fmla="*/ 364 h 36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323" h="364">
                  <a:moveTo>
                    <a:pt x="152" y="0"/>
                  </a:moveTo>
                  <a:lnTo>
                    <a:pt x="129" y="10"/>
                  </a:lnTo>
                  <a:lnTo>
                    <a:pt x="104" y="20"/>
                  </a:lnTo>
                  <a:lnTo>
                    <a:pt x="99" y="49"/>
                  </a:lnTo>
                  <a:lnTo>
                    <a:pt x="60" y="66"/>
                  </a:lnTo>
                  <a:lnTo>
                    <a:pt x="55" y="94"/>
                  </a:lnTo>
                  <a:lnTo>
                    <a:pt x="73" y="125"/>
                  </a:lnTo>
                  <a:lnTo>
                    <a:pt x="47" y="161"/>
                  </a:lnTo>
                  <a:lnTo>
                    <a:pt x="9" y="161"/>
                  </a:lnTo>
                  <a:lnTo>
                    <a:pt x="24" y="184"/>
                  </a:lnTo>
                  <a:lnTo>
                    <a:pt x="6" y="204"/>
                  </a:lnTo>
                  <a:lnTo>
                    <a:pt x="0" y="245"/>
                  </a:lnTo>
                  <a:lnTo>
                    <a:pt x="13" y="248"/>
                  </a:lnTo>
                  <a:lnTo>
                    <a:pt x="18" y="281"/>
                  </a:lnTo>
                  <a:lnTo>
                    <a:pt x="23" y="289"/>
                  </a:lnTo>
                  <a:lnTo>
                    <a:pt x="29" y="359"/>
                  </a:lnTo>
                  <a:lnTo>
                    <a:pt x="112" y="352"/>
                  </a:lnTo>
                  <a:lnTo>
                    <a:pt x="146" y="321"/>
                  </a:lnTo>
                  <a:lnTo>
                    <a:pt x="174" y="344"/>
                  </a:lnTo>
                  <a:lnTo>
                    <a:pt x="244" y="349"/>
                  </a:lnTo>
                  <a:lnTo>
                    <a:pt x="254" y="364"/>
                  </a:lnTo>
                  <a:lnTo>
                    <a:pt x="254" y="311"/>
                  </a:lnTo>
                  <a:lnTo>
                    <a:pt x="313" y="273"/>
                  </a:lnTo>
                  <a:lnTo>
                    <a:pt x="295" y="250"/>
                  </a:lnTo>
                  <a:lnTo>
                    <a:pt x="303" y="181"/>
                  </a:lnTo>
                  <a:lnTo>
                    <a:pt x="313" y="166"/>
                  </a:lnTo>
                  <a:lnTo>
                    <a:pt x="300" y="97"/>
                  </a:lnTo>
                  <a:lnTo>
                    <a:pt x="323" y="79"/>
                  </a:lnTo>
                  <a:lnTo>
                    <a:pt x="319" y="46"/>
                  </a:lnTo>
                  <a:lnTo>
                    <a:pt x="290" y="33"/>
                  </a:lnTo>
                  <a:lnTo>
                    <a:pt x="241" y="33"/>
                  </a:lnTo>
                  <a:lnTo>
                    <a:pt x="214" y="18"/>
                  </a:lnTo>
                  <a:lnTo>
                    <a:pt x="193" y="28"/>
                  </a:lnTo>
                  <a:lnTo>
                    <a:pt x="152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91</a:t>
              </a:r>
            </a:p>
          </p:txBody>
        </p:sp>
        <p:sp>
          <p:nvSpPr>
            <p:cNvPr id="97" name="FR-78">
              <a:extLst>
                <a:ext uri="{FF2B5EF4-FFF2-40B4-BE49-F238E27FC236}">
                  <a16:creationId xmlns:a16="http://schemas.microsoft.com/office/drawing/2014/main" id="{B8451E34-98B7-435E-96F1-4AE0E0D3DBA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36434" y="3999063"/>
              <a:ext cx="181092" cy="215444"/>
            </a:xfrm>
            <a:custGeom>
              <a:avLst/>
              <a:gdLst>
                <a:gd name="T0" fmla="*/ 84 w 392"/>
                <a:gd name="T1" fmla="*/ 0 h 489"/>
                <a:gd name="T2" fmla="*/ 84 w 392"/>
                <a:gd name="T3" fmla="*/ 2 h 489"/>
                <a:gd name="T4" fmla="*/ 11 w 392"/>
                <a:gd name="T5" fmla="*/ 23 h 489"/>
                <a:gd name="T6" fmla="*/ 0 w 392"/>
                <a:gd name="T7" fmla="*/ 36 h 489"/>
                <a:gd name="T8" fmla="*/ 14 w 392"/>
                <a:gd name="T9" fmla="*/ 57 h 489"/>
                <a:gd name="T10" fmla="*/ 14 w 392"/>
                <a:gd name="T11" fmla="*/ 78 h 489"/>
                <a:gd name="T12" fmla="*/ 37 w 392"/>
                <a:gd name="T13" fmla="*/ 83 h 489"/>
                <a:gd name="T14" fmla="*/ 24 w 392"/>
                <a:gd name="T15" fmla="*/ 96 h 489"/>
                <a:gd name="T16" fmla="*/ 25 w 392"/>
                <a:gd name="T17" fmla="*/ 108 h 489"/>
                <a:gd name="T18" fmla="*/ 26 w 392"/>
                <a:gd name="T19" fmla="*/ 106 h 489"/>
                <a:gd name="T20" fmla="*/ 52 w 392"/>
                <a:gd name="T21" fmla="*/ 132 h 489"/>
                <a:gd name="T22" fmla="*/ 60 w 392"/>
                <a:gd name="T23" fmla="*/ 163 h 489"/>
                <a:gd name="T24" fmla="*/ 81 w 392"/>
                <a:gd name="T25" fmla="*/ 184 h 489"/>
                <a:gd name="T26" fmla="*/ 71 w 392"/>
                <a:gd name="T27" fmla="*/ 213 h 489"/>
                <a:gd name="T28" fmla="*/ 71 w 392"/>
                <a:gd name="T29" fmla="*/ 239 h 489"/>
                <a:gd name="T30" fmla="*/ 89 w 392"/>
                <a:gd name="T31" fmla="*/ 260 h 489"/>
                <a:gd name="T32" fmla="*/ 71 w 392"/>
                <a:gd name="T33" fmla="*/ 291 h 489"/>
                <a:gd name="T34" fmla="*/ 89 w 392"/>
                <a:gd name="T35" fmla="*/ 335 h 489"/>
                <a:gd name="T36" fmla="*/ 125 w 392"/>
                <a:gd name="T37" fmla="*/ 361 h 489"/>
                <a:gd name="T38" fmla="*/ 131 w 392"/>
                <a:gd name="T39" fmla="*/ 390 h 489"/>
                <a:gd name="T40" fmla="*/ 162 w 392"/>
                <a:gd name="T41" fmla="*/ 395 h 489"/>
                <a:gd name="T42" fmla="*/ 169 w 392"/>
                <a:gd name="T43" fmla="*/ 453 h 489"/>
                <a:gd name="T44" fmla="*/ 193 w 392"/>
                <a:gd name="T45" fmla="*/ 481 h 489"/>
                <a:gd name="T46" fmla="*/ 235 w 392"/>
                <a:gd name="T47" fmla="*/ 489 h 489"/>
                <a:gd name="T48" fmla="*/ 241 w 392"/>
                <a:gd name="T49" fmla="*/ 448 h 489"/>
                <a:gd name="T50" fmla="*/ 259 w 392"/>
                <a:gd name="T51" fmla="*/ 428 h 489"/>
                <a:gd name="T52" fmla="*/ 244 w 392"/>
                <a:gd name="T53" fmla="*/ 405 h 489"/>
                <a:gd name="T54" fmla="*/ 282 w 392"/>
                <a:gd name="T55" fmla="*/ 405 h 489"/>
                <a:gd name="T56" fmla="*/ 308 w 392"/>
                <a:gd name="T57" fmla="*/ 369 h 489"/>
                <a:gd name="T58" fmla="*/ 290 w 392"/>
                <a:gd name="T59" fmla="*/ 338 h 489"/>
                <a:gd name="T60" fmla="*/ 295 w 392"/>
                <a:gd name="T61" fmla="*/ 310 h 489"/>
                <a:gd name="T62" fmla="*/ 334 w 392"/>
                <a:gd name="T63" fmla="*/ 293 h 489"/>
                <a:gd name="T64" fmla="*/ 339 w 392"/>
                <a:gd name="T65" fmla="*/ 264 h 489"/>
                <a:gd name="T66" fmla="*/ 364 w 392"/>
                <a:gd name="T67" fmla="*/ 254 h 489"/>
                <a:gd name="T68" fmla="*/ 387 w 392"/>
                <a:gd name="T69" fmla="*/ 244 h 489"/>
                <a:gd name="T70" fmla="*/ 392 w 392"/>
                <a:gd name="T71" fmla="*/ 247 h 489"/>
                <a:gd name="T72" fmla="*/ 392 w 392"/>
                <a:gd name="T73" fmla="*/ 244 h 489"/>
                <a:gd name="T74" fmla="*/ 369 w 392"/>
                <a:gd name="T75" fmla="*/ 218 h 489"/>
                <a:gd name="T76" fmla="*/ 354 w 392"/>
                <a:gd name="T77" fmla="*/ 178 h 489"/>
                <a:gd name="T78" fmla="*/ 377 w 392"/>
                <a:gd name="T79" fmla="*/ 127 h 489"/>
                <a:gd name="T80" fmla="*/ 366 w 392"/>
                <a:gd name="T81" fmla="*/ 89 h 489"/>
                <a:gd name="T82" fmla="*/ 320 w 392"/>
                <a:gd name="T83" fmla="*/ 61 h 489"/>
                <a:gd name="T84" fmla="*/ 256 w 392"/>
                <a:gd name="T85" fmla="*/ 58 h 489"/>
                <a:gd name="T86" fmla="*/ 196 w 392"/>
                <a:gd name="T87" fmla="*/ 20 h 489"/>
                <a:gd name="T88" fmla="*/ 148 w 392"/>
                <a:gd name="T89" fmla="*/ 29 h 489"/>
                <a:gd name="T90" fmla="*/ 84 w 392"/>
                <a:gd name="T91" fmla="*/ 0 h 489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92"/>
                <a:gd name="T139" fmla="*/ 0 h 489"/>
                <a:gd name="T140" fmla="*/ 392 w 392"/>
                <a:gd name="T141" fmla="*/ 489 h 489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92" h="489">
                  <a:moveTo>
                    <a:pt x="84" y="0"/>
                  </a:moveTo>
                  <a:lnTo>
                    <a:pt x="84" y="2"/>
                  </a:lnTo>
                  <a:lnTo>
                    <a:pt x="11" y="23"/>
                  </a:lnTo>
                  <a:lnTo>
                    <a:pt x="0" y="36"/>
                  </a:lnTo>
                  <a:lnTo>
                    <a:pt x="14" y="57"/>
                  </a:lnTo>
                  <a:lnTo>
                    <a:pt x="14" y="78"/>
                  </a:lnTo>
                  <a:lnTo>
                    <a:pt x="37" y="83"/>
                  </a:lnTo>
                  <a:lnTo>
                    <a:pt x="24" y="96"/>
                  </a:lnTo>
                  <a:lnTo>
                    <a:pt x="25" y="108"/>
                  </a:lnTo>
                  <a:lnTo>
                    <a:pt x="26" y="106"/>
                  </a:lnTo>
                  <a:lnTo>
                    <a:pt x="52" y="132"/>
                  </a:lnTo>
                  <a:lnTo>
                    <a:pt x="60" y="163"/>
                  </a:lnTo>
                  <a:lnTo>
                    <a:pt x="81" y="184"/>
                  </a:lnTo>
                  <a:lnTo>
                    <a:pt x="71" y="213"/>
                  </a:lnTo>
                  <a:lnTo>
                    <a:pt x="71" y="239"/>
                  </a:lnTo>
                  <a:lnTo>
                    <a:pt x="89" y="260"/>
                  </a:lnTo>
                  <a:lnTo>
                    <a:pt x="71" y="291"/>
                  </a:lnTo>
                  <a:lnTo>
                    <a:pt x="89" y="335"/>
                  </a:lnTo>
                  <a:lnTo>
                    <a:pt x="125" y="361"/>
                  </a:lnTo>
                  <a:lnTo>
                    <a:pt x="131" y="390"/>
                  </a:lnTo>
                  <a:lnTo>
                    <a:pt x="162" y="395"/>
                  </a:lnTo>
                  <a:lnTo>
                    <a:pt x="169" y="453"/>
                  </a:lnTo>
                  <a:lnTo>
                    <a:pt x="193" y="481"/>
                  </a:lnTo>
                  <a:lnTo>
                    <a:pt x="235" y="489"/>
                  </a:lnTo>
                  <a:lnTo>
                    <a:pt x="241" y="448"/>
                  </a:lnTo>
                  <a:lnTo>
                    <a:pt x="259" y="428"/>
                  </a:lnTo>
                  <a:lnTo>
                    <a:pt x="244" y="405"/>
                  </a:lnTo>
                  <a:lnTo>
                    <a:pt x="282" y="405"/>
                  </a:lnTo>
                  <a:lnTo>
                    <a:pt x="308" y="369"/>
                  </a:lnTo>
                  <a:lnTo>
                    <a:pt x="290" y="338"/>
                  </a:lnTo>
                  <a:lnTo>
                    <a:pt x="295" y="310"/>
                  </a:lnTo>
                  <a:lnTo>
                    <a:pt x="334" y="293"/>
                  </a:lnTo>
                  <a:lnTo>
                    <a:pt x="339" y="264"/>
                  </a:lnTo>
                  <a:lnTo>
                    <a:pt x="364" y="254"/>
                  </a:lnTo>
                  <a:lnTo>
                    <a:pt x="387" y="244"/>
                  </a:lnTo>
                  <a:lnTo>
                    <a:pt x="392" y="247"/>
                  </a:lnTo>
                  <a:lnTo>
                    <a:pt x="392" y="244"/>
                  </a:lnTo>
                  <a:lnTo>
                    <a:pt x="369" y="218"/>
                  </a:lnTo>
                  <a:lnTo>
                    <a:pt x="354" y="178"/>
                  </a:lnTo>
                  <a:lnTo>
                    <a:pt x="377" y="127"/>
                  </a:lnTo>
                  <a:lnTo>
                    <a:pt x="366" y="89"/>
                  </a:lnTo>
                  <a:lnTo>
                    <a:pt x="320" y="61"/>
                  </a:lnTo>
                  <a:lnTo>
                    <a:pt x="256" y="58"/>
                  </a:lnTo>
                  <a:lnTo>
                    <a:pt x="196" y="20"/>
                  </a:lnTo>
                  <a:lnTo>
                    <a:pt x="148" y="29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rgbClr val="0063AC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400" dirty="0">
                  <a:solidFill>
                    <a:schemeClr val="bg1"/>
                  </a:solidFill>
                  <a:latin typeface="+mj-lt"/>
                </a:rPr>
                <a:t>78</a:t>
              </a:r>
            </a:p>
          </p:txBody>
        </p:sp>
        <p:sp>
          <p:nvSpPr>
            <p:cNvPr id="98" name="FR-95">
              <a:extLst>
                <a:ext uri="{FF2B5EF4-FFF2-40B4-BE49-F238E27FC236}">
                  <a16:creationId xmlns:a16="http://schemas.microsoft.com/office/drawing/2014/main" id="{4BC01AD4-005E-48EE-B74C-3C94AE5A6BB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5240" y="3949718"/>
              <a:ext cx="224055" cy="105740"/>
            </a:xfrm>
            <a:custGeom>
              <a:avLst/>
              <a:gdLst>
                <a:gd name="T0" fmla="*/ 55 w 485"/>
                <a:gd name="T1" fmla="*/ 0 h 240"/>
                <a:gd name="T2" fmla="*/ 34 w 485"/>
                <a:gd name="T3" fmla="*/ 25 h 240"/>
                <a:gd name="T4" fmla="*/ 18 w 485"/>
                <a:gd name="T5" fmla="*/ 83 h 240"/>
                <a:gd name="T6" fmla="*/ 0 w 485"/>
                <a:gd name="T7" fmla="*/ 112 h 240"/>
                <a:gd name="T8" fmla="*/ 64 w 485"/>
                <a:gd name="T9" fmla="*/ 141 h 240"/>
                <a:gd name="T10" fmla="*/ 112 w 485"/>
                <a:gd name="T11" fmla="*/ 132 h 240"/>
                <a:gd name="T12" fmla="*/ 172 w 485"/>
                <a:gd name="T13" fmla="*/ 170 h 240"/>
                <a:gd name="T14" fmla="*/ 236 w 485"/>
                <a:gd name="T15" fmla="*/ 173 h 240"/>
                <a:gd name="T16" fmla="*/ 282 w 485"/>
                <a:gd name="T17" fmla="*/ 201 h 240"/>
                <a:gd name="T18" fmla="*/ 293 w 485"/>
                <a:gd name="T19" fmla="*/ 239 h 240"/>
                <a:gd name="T20" fmla="*/ 293 w 485"/>
                <a:gd name="T21" fmla="*/ 240 h 240"/>
                <a:gd name="T22" fmla="*/ 298 w 485"/>
                <a:gd name="T23" fmla="*/ 239 h 240"/>
                <a:gd name="T24" fmla="*/ 345 w 485"/>
                <a:gd name="T25" fmla="*/ 214 h 240"/>
                <a:gd name="T26" fmla="*/ 415 w 485"/>
                <a:gd name="T27" fmla="*/ 210 h 240"/>
                <a:gd name="T28" fmla="*/ 453 w 485"/>
                <a:gd name="T29" fmla="*/ 192 h 240"/>
                <a:gd name="T30" fmla="*/ 477 w 485"/>
                <a:gd name="T31" fmla="*/ 175 h 240"/>
                <a:gd name="T32" fmla="*/ 485 w 485"/>
                <a:gd name="T33" fmla="*/ 123 h 240"/>
                <a:gd name="T34" fmla="*/ 468 w 485"/>
                <a:gd name="T35" fmla="*/ 106 h 240"/>
                <a:gd name="T36" fmla="*/ 411 w 485"/>
                <a:gd name="T37" fmla="*/ 72 h 240"/>
                <a:gd name="T38" fmla="*/ 356 w 485"/>
                <a:gd name="T39" fmla="*/ 44 h 240"/>
                <a:gd name="T40" fmla="*/ 328 w 485"/>
                <a:gd name="T41" fmla="*/ 57 h 240"/>
                <a:gd name="T42" fmla="*/ 297 w 485"/>
                <a:gd name="T43" fmla="*/ 65 h 240"/>
                <a:gd name="T44" fmla="*/ 276 w 485"/>
                <a:gd name="T45" fmla="*/ 49 h 240"/>
                <a:gd name="T46" fmla="*/ 234 w 485"/>
                <a:gd name="T47" fmla="*/ 23 h 240"/>
                <a:gd name="T48" fmla="*/ 200 w 485"/>
                <a:gd name="T49" fmla="*/ 49 h 240"/>
                <a:gd name="T50" fmla="*/ 151 w 485"/>
                <a:gd name="T51" fmla="*/ 54 h 240"/>
                <a:gd name="T52" fmla="*/ 80 w 485"/>
                <a:gd name="T53" fmla="*/ 49 h 240"/>
                <a:gd name="T54" fmla="*/ 65 w 485"/>
                <a:gd name="T55" fmla="*/ 23 h 240"/>
                <a:gd name="T56" fmla="*/ 55 w 485"/>
                <a:gd name="T57" fmla="*/ 0 h 24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485"/>
                <a:gd name="T88" fmla="*/ 0 h 240"/>
                <a:gd name="T89" fmla="*/ 485 w 485"/>
                <a:gd name="T90" fmla="*/ 240 h 240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485" h="240">
                  <a:moveTo>
                    <a:pt x="55" y="0"/>
                  </a:moveTo>
                  <a:lnTo>
                    <a:pt x="34" y="25"/>
                  </a:lnTo>
                  <a:lnTo>
                    <a:pt x="18" y="83"/>
                  </a:lnTo>
                  <a:lnTo>
                    <a:pt x="0" y="112"/>
                  </a:lnTo>
                  <a:lnTo>
                    <a:pt x="64" y="141"/>
                  </a:lnTo>
                  <a:lnTo>
                    <a:pt x="112" y="132"/>
                  </a:lnTo>
                  <a:lnTo>
                    <a:pt x="172" y="170"/>
                  </a:lnTo>
                  <a:lnTo>
                    <a:pt x="236" y="173"/>
                  </a:lnTo>
                  <a:lnTo>
                    <a:pt x="282" y="201"/>
                  </a:lnTo>
                  <a:lnTo>
                    <a:pt x="293" y="239"/>
                  </a:lnTo>
                  <a:lnTo>
                    <a:pt x="293" y="240"/>
                  </a:lnTo>
                  <a:lnTo>
                    <a:pt x="298" y="239"/>
                  </a:lnTo>
                  <a:lnTo>
                    <a:pt x="345" y="214"/>
                  </a:lnTo>
                  <a:lnTo>
                    <a:pt x="415" y="210"/>
                  </a:lnTo>
                  <a:lnTo>
                    <a:pt x="453" y="192"/>
                  </a:lnTo>
                  <a:lnTo>
                    <a:pt x="477" y="175"/>
                  </a:lnTo>
                  <a:lnTo>
                    <a:pt x="485" y="123"/>
                  </a:lnTo>
                  <a:lnTo>
                    <a:pt x="468" y="106"/>
                  </a:lnTo>
                  <a:lnTo>
                    <a:pt x="411" y="72"/>
                  </a:lnTo>
                  <a:lnTo>
                    <a:pt x="356" y="44"/>
                  </a:lnTo>
                  <a:lnTo>
                    <a:pt x="328" y="57"/>
                  </a:lnTo>
                  <a:lnTo>
                    <a:pt x="297" y="65"/>
                  </a:lnTo>
                  <a:lnTo>
                    <a:pt x="276" y="49"/>
                  </a:lnTo>
                  <a:lnTo>
                    <a:pt x="234" y="23"/>
                  </a:lnTo>
                  <a:lnTo>
                    <a:pt x="200" y="49"/>
                  </a:lnTo>
                  <a:lnTo>
                    <a:pt x="151" y="54"/>
                  </a:lnTo>
                  <a:lnTo>
                    <a:pt x="80" y="49"/>
                  </a:lnTo>
                  <a:lnTo>
                    <a:pt x="65" y="23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95</a:t>
              </a:r>
            </a:p>
          </p:txBody>
        </p:sp>
        <p:sp>
          <p:nvSpPr>
            <p:cNvPr id="99" name="FR-93">
              <a:extLst>
                <a:ext uri="{FF2B5EF4-FFF2-40B4-BE49-F238E27FC236}">
                  <a16:creationId xmlns:a16="http://schemas.microsoft.com/office/drawing/2014/main" id="{3011D767-D956-4B88-907C-F9F4DCC5236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534619" y="4026820"/>
              <a:ext cx="66986" cy="66087"/>
            </a:xfrm>
            <a:custGeom>
              <a:avLst/>
              <a:gdLst>
                <a:gd name="T0" fmla="*/ 132 w 145"/>
                <a:gd name="T1" fmla="*/ 0 h 150"/>
                <a:gd name="T2" fmla="*/ 108 w 145"/>
                <a:gd name="T3" fmla="*/ 17 h 150"/>
                <a:gd name="T4" fmla="*/ 70 w 145"/>
                <a:gd name="T5" fmla="*/ 35 h 150"/>
                <a:gd name="T6" fmla="*/ 0 w 145"/>
                <a:gd name="T7" fmla="*/ 39 h 150"/>
                <a:gd name="T8" fmla="*/ 2 w 145"/>
                <a:gd name="T9" fmla="*/ 49 h 150"/>
                <a:gd name="T10" fmla="*/ 7 w 145"/>
                <a:gd name="T11" fmla="*/ 50 h 150"/>
                <a:gd name="T12" fmla="*/ 13 w 145"/>
                <a:gd name="T13" fmla="*/ 58 h 150"/>
                <a:gd name="T14" fmla="*/ 7 w 145"/>
                <a:gd name="T15" fmla="*/ 70 h 150"/>
                <a:gd name="T16" fmla="*/ 0 w 145"/>
                <a:gd name="T17" fmla="*/ 71 h 150"/>
                <a:gd name="T18" fmla="*/ 5 w 145"/>
                <a:gd name="T19" fmla="*/ 83 h 150"/>
                <a:gd name="T20" fmla="*/ 39 w 145"/>
                <a:gd name="T21" fmla="*/ 83 h 150"/>
                <a:gd name="T22" fmla="*/ 50 w 145"/>
                <a:gd name="T23" fmla="*/ 100 h 150"/>
                <a:gd name="T24" fmla="*/ 52 w 145"/>
                <a:gd name="T25" fmla="*/ 123 h 150"/>
                <a:gd name="T26" fmla="*/ 64 w 145"/>
                <a:gd name="T27" fmla="*/ 121 h 150"/>
                <a:gd name="T28" fmla="*/ 75 w 145"/>
                <a:gd name="T29" fmla="*/ 112 h 150"/>
                <a:gd name="T30" fmla="*/ 91 w 145"/>
                <a:gd name="T31" fmla="*/ 113 h 150"/>
                <a:gd name="T32" fmla="*/ 111 w 145"/>
                <a:gd name="T33" fmla="*/ 125 h 150"/>
                <a:gd name="T34" fmla="*/ 123 w 145"/>
                <a:gd name="T35" fmla="*/ 138 h 150"/>
                <a:gd name="T36" fmla="*/ 128 w 145"/>
                <a:gd name="T37" fmla="*/ 140 h 150"/>
                <a:gd name="T38" fmla="*/ 132 w 145"/>
                <a:gd name="T39" fmla="*/ 147 h 150"/>
                <a:gd name="T40" fmla="*/ 145 w 145"/>
                <a:gd name="T41" fmla="*/ 150 h 150"/>
                <a:gd name="T42" fmla="*/ 145 w 145"/>
                <a:gd name="T43" fmla="*/ 112 h 150"/>
                <a:gd name="T44" fmla="*/ 129 w 145"/>
                <a:gd name="T45" fmla="*/ 20 h 150"/>
                <a:gd name="T46" fmla="*/ 132 w 145"/>
                <a:gd name="T47" fmla="*/ 0 h 15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45"/>
                <a:gd name="T73" fmla="*/ 0 h 150"/>
                <a:gd name="T74" fmla="*/ 145 w 145"/>
                <a:gd name="T75" fmla="*/ 150 h 150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45" h="150">
                  <a:moveTo>
                    <a:pt x="132" y="0"/>
                  </a:moveTo>
                  <a:lnTo>
                    <a:pt x="108" y="17"/>
                  </a:lnTo>
                  <a:lnTo>
                    <a:pt x="70" y="35"/>
                  </a:lnTo>
                  <a:lnTo>
                    <a:pt x="0" y="39"/>
                  </a:lnTo>
                  <a:lnTo>
                    <a:pt x="2" y="49"/>
                  </a:lnTo>
                  <a:lnTo>
                    <a:pt x="7" y="50"/>
                  </a:lnTo>
                  <a:lnTo>
                    <a:pt x="13" y="58"/>
                  </a:lnTo>
                  <a:lnTo>
                    <a:pt x="7" y="70"/>
                  </a:lnTo>
                  <a:lnTo>
                    <a:pt x="0" y="71"/>
                  </a:lnTo>
                  <a:lnTo>
                    <a:pt x="5" y="83"/>
                  </a:lnTo>
                  <a:lnTo>
                    <a:pt x="39" y="83"/>
                  </a:lnTo>
                  <a:lnTo>
                    <a:pt x="50" y="100"/>
                  </a:lnTo>
                  <a:lnTo>
                    <a:pt x="52" y="123"/>
                  </a:lnTo>
                  <a:lnTo>
                    <a:pt x="64" y="121"/>
                  </a:lnTo>
                  <a:lnTo>
                    <a:pt x="75" y="112"/>
                  </a:lnTo>
                  <a:lnTo>
                    <a:pt x="91" y="113"/>
                  </a:lnTo>
                  <a:lnTo>
                    <a:pt x="111" y="125"/>
                  </a:lnTo>
                  <a:lnTo>
                    <a:pt x="123" y="138"/>
                  </a:lnTo>
                  <a:lnTo>
                    <a:pt x="128" y="140"/>
                  </a:lnTo>
                  <a:lnTo>
                    <a:pt x="132" y="147"/>
                  </a:lnTo>
                  <a:lnTo>
                    <a:pt x="145" y="150"/>
                  </a:lnTo>
                  <a:lnTo>
                    <a:pt x="145" y="112"/>
                  </a:lnTo>
                  <a:lnTo>
                    <a:pt x="129" y="20"/>
                  </a:lnTo>
                  <a:lnTo>
                    <a:pt x="132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93</a:t>
              </a:r>
            </a:p>
          </p:txBody>
        </p:sp>
        <p:sp>
          <p:nvSpPr>
            <p:cNvPr id="100" name="FR-75">
              <a:extLst>
                <a:ext uri="{FF2B5EF4-FFF2-40B4-BE49-F238E27FC236}">
                  <a16:creationId xmlns:a16="http://schemas.microsoft.com/office/drawing/2014/main" id="{A58E2BA2-2A30-4ECF-B6B4-8FFD7FE9CD6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515216" y="4063388"/>
              <a:ext cx="55436" cy="29519"/>
            </a:xfrm>
            <a:custGeom>
              <a:avLst/>
              <a:gdLst>
                <a:gd name="T0" fmla="*/ 81 w 120"/>
                <a:gd name="T1" fmla="*/ 0 h 67"/>
                <a:gd name="T2" fmla="*/ 47 w 120"/>
                <a:gd name="T3" fmla="*/ 0 h 67"/>
                <a:gd name="T4" fmla="*/ 32 w 120"/>
                <a:gd name="T5" fmla="*/ 7 h 67"/>
                <a:gd name="T6" fmla="*/ 26 w 120"/>
                <a:gd name="T7" fmla="*/ 15 h 67"/>
                <a:gd name="T8" fmla="*/ 12 w 120"/>
                <a:gd name="T9" fmla="*/ 16 h 67"/>
                <a:gd name="T10" fmla="*/ 0 w 120"/>
                <a:gd name="T11" fmla="*/ 30 h 67"/>
                <a:gd name="T12" fmla="*/ 0 w 120"/>
                <a:gd name="T13" fmla="*/ 38 h 67"/>
                <a:gd name="T14" fmla="*/ 3 w 120"/>
                <a:gd name="T15" fmla="*/ 47 h 67"/>
                <a:gd name="T16" fmla="*/ 24 w 120"/>
                <a:gd name="T17" fmla="*/ 53 h 67"/>
                <a:gd name="T18" fmla="*/ 49 w 120"/>
                <a:gd name="T19" fmla="*/ 66 h 67"/>
                <a:gd name="T20" fmla="*/ 66 w 120"/>
                <a:gd name="T21" fmla="*/ 67 h 67"/>
                <a:gd name="T22" fmla="*/ 77 w 120"/>
                <a:gd name="T23" fmla="*/ 64 h 67"/>
                <a:gd name="T24" fmla="*/ 88 w 120"/>
                <a:gd name="T25" fmla="*/ 56 h 67"/>
                <a:gd name="T26" fmla="*/ 92 w 120"/>
                <a:gd name="T27" fmla="*/ 59 h 67"/>
                <a:gd name="T28" fmla="*/ 116 w 120"/>
                <a:gd name="T29" fmla="*/ 63 h 67"/>
                <a:gd name="T30" fmla="*/ 120 w 120"/>
                <a:gd name="T31" fmla="*/ 54 h 67"/>
                <a:gd name="T32" fmla="*/ 120 w 120"/>
                <a:gd name="T33" fmla="*/ 45 h 67"/>
                <a:gd name="T34" fmla="*/ 116 w 120"/>
                <a:gd name="T35" fmla="*/ 44 h 67"/>
                <a:gd name="T36" fmla="*/ 99 w 120"/>
                <a:gd name="T37" fmla="*/ 44 h 67"/>
                <a:gd name="T38" fmla="*/ 100 w 120"/>
                <a:gd name="T39" fmla="*/ 49 h 67"/>
                <a:gd name="T40" fmla="*/ 97 w 120"/>
                <a:gd name="T41" fmla="*/ 51 h 67"/>
                <a:gd name="T42" fmla="*/ 92 w 120"/>
                <a:gd name="T43" fmla="*/ 51 h 67"/>
                <a:gd name="T44" fmla="*/ 94 w 120"/>
                <a:gd name="T45" fmla="*/ 46 h 67"/>
                <a:gd name="T46" fmla="*/ 95 w 120"/>
                <a:gd name="T47" fmla="*/ 40 h 67"/>
                <a:gd name="T48" fmla="*/ 94 w 120"/>
                <a:gd name="T49" fmla="*/ 40 h 67"/>
                <a:gd name="T50" fmla="*/ 92 w 120"/>
                <a:gd name="T51" fmla="*/ 17 h 67"/>
                <a:gd name="T52" fmla="*/ 81 w 120"/>
                <a:gd name="T53" fmla="*/ 0 h 67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20"/>
                <a:gd name="T82" fmla="*/ 0 h 67"/>
                <a:gd name="T83" fmla="*/ 120 w 120"/>
                <a:gd name="T84" fmla="*/ 67 h 67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20" h="67">
                  <a:moveTo>
                    <a:pt x="81" y="0"/>
                  </a:moveTo>
                  <a:lnTo>
                    <a:pt x="47" y="0"/>
                  </a:lnTo>
                  <a:lnTo>
                    <a:pt x="32" y="7"/>
                  </a:lnTo>
                  <a:lnTo>
                    <a:pt x="26" y="15"/>
                  </a:lnTo>
                  <a:lnTo>
                    <a:pt x="12" y="16"/>
                  </a:lnTo>
                  <a:lnTo>
                    <a:pt x="0" y="30"/>
                  </a:lnTo>
                  <a:lnTo>
                    <a:pt x="0" y="38"/>
                  </a:lnTo>
                  <a:lnTo>
                    <a:pt x="3" y="47"/>
                  </a:lnTo>
                  <a:lnTo>
                    <a:pt x="24" y="53"/>
                  </a:lnTo>
                  <a:lnTo>
                    <a:pt x="49" y="66"/>
                  </a:lnTo>
                  <a:lnTo>
                    <a:pt x="66" y="67"/>
                  </a:lnTo>
                  <a:lnTo>
                    <a:pt x="77" y="64"/>
                  </a:lnTo>
                  <a:lnTo>
                    <a:pt x="88" y="56"/>
                  </a:lnTo>
                  <a:lnTo>
                    <a:pt x="92" y="59"/>
                  </a:lnTo>
                  <a:lnTo>
                    <a:pt x="116" y="63"/>
                  </a:lnTo>
                  <a:lnTo>
                    <a:pt x="120" y="54"/>
                  </a:lnTo>
                  <a:lnTo>
                    <a:pt x="120" y="45"/>
                  </a:lnTo>
                  <a:lnTo>
                    <a:pt x="116" y="44"/>
                  </a:lnTo>
                  <a:lnTo>
                    <a:pt x="99" y="44"/>
                  </a:lnTo>
                  <a:lnTo>
                    <a:pt x="100" y="49"/>
                  </a:lnTo>
                  <a:lnTo>
                    <a:pt x="97" y="51"/>
                  </a:lnTo>
                  <a:lnTo>
                    <a:pt x="92" y="51"/>
                  </a:lnTo>
                  <a:lnTo>
                    <a:pt x="94" y="46"/>
                  </a:lnTo>
                  <a:lnTo>
                    <a:pt x="95" y="40"/>
                  </a:lnTo>
                  <a:lnTo>
                    <a:pt x="94" y="40"/>
                  </a:lnTo>
                  <a:lnTo>
                    <a:pt x="92" y="17"/>
                  </a:lnTo>
                  <a:lnTo>
                    <a:pt x="81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75</a:t>
              </a:r>
            </a:p>
          </p:txBody>
        </p:sp>
        <p:sp>
          <p:nvSpPr>
            <p:cNvPr id="101" name="FR-92">
              <a:extLst>
                <a:ext uri="{FF2B5EF4-FFF2-40B4-BE49-F238E27FC236}">
                  <a16:creationId xmlns:a16="http://schemas.microsoft.com/office/drawing/2014/main" id="{0B7AC535-025A-423C-A420-C7C99A703EF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499972" y="4044003"/>
              <a:ext cx="40653" cy="74899"/>
            </a:xfrm>
            <a:custGeom>
              <a:avLst/>
              <a:gdLst>
                <a:gd name="T0" fmla="*/ 75 w 88"/>
                <a:gd name="T1" fmla="*/ 0 h 170"/>
                <a:gd name="T2" fmla="*/ 28 w 88"/>
                <a:gd name="T3" fmla="*/ 25 h 170"/>
                <a:gd name="T4" fmla="*/ 23 w 88"/>
                <a:gd name="T5" fmla="*/ 26 h 170"/>
                <a:gd name="T6" fmla="*/ 0 w 88"/>
                <a:gd name="T7" fmla="*/ 76 h 170"/>
                <a:gd name="T8" fmla="*/ 15 w 88"/>
                <a:gd name="T9" fmla="*/ 116 h 170"/>
                <a:gd name="T10" fmla="*/ 38 w 88"/>
                <a:gd name="T11" fmla="*/ 142 h 170"/>
                <a:gd name="T12" fmla="*/ 38 w 88"/>
                <a:gd name="T13" fmla="*/ 145 h 170"/>
                <a:gd name="T14" fmla="*/ 74 w 88"/>
                <a:gd name="T15" fmla="*/ 170 h 170"/>
                <a:gd name="T16" fmla="*/ 83 w 88"/>
                <a:gd name="T17" fmla="*/ 166 h 170"/>
                <a:gd name="T18" fmla="*/ 76 w 88"/>
                <a:gd name="T19" fmla="*/ 153 h 170"/>
                <a:gd name="T20" fmla="*/ 83 w 88"/>
                <a:gd name="T21" fmla="*/ 133 h 170"/>
                <a:gd name="T22" fmla="*/ 79 w 88"/>
                <a:gd name="T23" fmla="*/ 126 h 170"/>
                <a:gd name="T24" fmla="*/ 83 w 88"/>
                <a:gd name="T25" fmla="*/ 110 h 170"/>
                <a:gd name="T26" fmla="*/ 82 w 88"/>
                <a:gd name="T27" fmla="*/ 110 h 170"/>
                <a:gd name="T28" fmla="*/ 57 w 88"/>
                <a:gd name="T29" fmla="*/ 97 h 170"/>
                <a:gd name="T30" fmla="*/ 36 w 88"/>
                <a:gd name="T31" fmla="*/ 91 h 170"/>
                <a:gd name="T32" fmla="*/ 33 w 88"/>
                <a:gd name="T33" fmla="*/ 82 h 170"/>
                <a:gd name="T34" fmla="*/ 33 w 88"/>
                <a:gd name="T35" fmla="*/ 74 h 170"/>
                <a:gd name="T36" fmla="*/ 45 w 88"/>
                <a:gd name="T37" fmla="*/ 60 h 170"/>
                <a:gd name="T38" fmla="*/ 59 w 88"/>
                <a:gd name="T39" fmla="*/ 59 h 170"/>
                <a:gd name="T40" fmla="*/ 65 w 88"/>
                <a:gd name="T41" fmla="*/ 51 h 170"/>
                <a:gd name="T42" fmla="*/ 80 w 88"/>
                <a:gd name="T43" fmla="*/ 44 h 170"/>
                <a:gd name="T44" fmla="*/ 75 w 88"/>
                <a:gd name="T45" fmla="*/ 32 h 170"/>
                <a:gd name="T46" fmla="*/ 82 w 88"/>
                <a:gd name="T47" fmla="*/ 31 h 170"/>
                <a:gd name="T48" fmla="*/ 88 w 88"/>
                <a:gd name="T49" fmla="*/ 19 h 170"/>
                <a:gd name="T50" fmla="*/ 82 w 88"/>
                <a:gd name="T51" fmla="*/ 11 h 170"/>
                <a:gd name="T52" fmla="*/ 77 w 88"/>
                <a:gd name="T53" fmla="*/ 10 h 170"/>
                <a:gd name="T54" fmla="*/ 75 w 88"/>
                <a:gd name="T55" fmla="*/ 0 h 17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8"/>
                <a:gd name="T85" fmla="*/ 0 h 170"/>
                <a:gd name="T86" fmla="*/ 88 w 88"/>
                <a:gd name="T87" fmla="*/ 170 h 17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8" h="170">
                  <a:moveTo>
                    <a:pt x="75" y="0"/>
                  </a:moveTo>
                  <a:lnTo>
                    <a:pt x="28" y="25"/>
                  </a:lnTo>
                  <a:lnTo>
                    <a:pt x="23" y="26"/>
                  </a:lnTo>
                  <a:lnTo>
                    <a:pt x="0" y="76"/>
                  </a:lnTo>
                  <a:lnTo>
                    <a:pt x="15" y="116"/>
                  </a:lnTo>
                  <a:lnTo>
                    <a:pt x="38" y="142"/>
                  </a:lnTo>
                  <a:lnTo>
                    <a:pt x="38" y="145"/>
                  </a:lnTo>
                  <a:lnTo>
                    <a:pt x="74" y="170"/>
                  </a:lnTo>
                  <a:lnTo>
                    <a:pt x="83" y="166"/>
                  </a:lnTo>
                  <a:lnTo>
                    <a:pt x="76" y="153"/>
                  </a:lnTo>
                  <a:lnTo>
                    <a:pt x="83" y="133"/>
                  </a:lnTo>
                  <a:lnTo>
                    <a:pt x="79" y="126"/>
                  </a:lnTo>
                  <a:lnTo>
                    <a:pt x="83" y="110"/>
                  </a:lnTo>
                  <a:lnTo>
                    <a:pt x="82" y="110"/>
                  </a:lnTo>
                  <a:lnTo>
                    <a:pt x="57" y="97"/>
                  </a:lnTo>
                  <a:lnTo>
                    <a:pt x="36" y="91"/>
                  </a:lnTo>
                  <a:lnTo>
                    <a:pt x="33" y="82"/>
                  </a:lnTo>
                  <a:lnTo>
                    <a:pt x="33" y="74"/>
                  </a:lnTo>
                  <a:lnTo>
                    <a:pt x="45" y="60"/>
                  </a:lnTo>
                  <a:lnTo>
                    <a:pt x="59" y="59"/>
                  </a:lnTo>
                  <a:lnTo>
                    <a:pt x="65" y="51"/>
                  </a:lnTo>
                  <a:lnTo>
                    <a:pt x="80" y="44"/>
                  </a:lnTo>
                  <a:lnTo>
                    <a:pt x="75" y="32"/>
                  </a:lnTo>
                  <a:lnTo>
                    <a:pt x="82" y="31"/>
                  </a:lnTo>
                  <a:lnTo>
                    <a:pt x="88" y="19"/>
                  </a:lnTo>
                  <a:lnTo>
                    <a:pt x="82" y="11"/>
                  </a:lnTo>
                  <a:lnTo>
                    <a:pt x="77" y="10"/>
                  </a:lnTo>
                  <a:lnTo>
                    <a:pt x="75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92</a:t>
              </a:r>
            </a:p>
          </p:txBody>
        </p:sp>
        <p:sp>
          <p:nvSpPr>
            <p:cNvPr id="102" name="FR-94">
              <a:extLst>
                <a:ext uri="{FF2B5EF4-FFF2-40B4-BE49-F238E27FC236}">
                  <a16:creationId xmlns:a16="http://schemas.microsoft.com/office/drawing/2014/main" id="{101E3EF5-B451-4A12-8CB4-EAED2237104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535081" y="4076165"/>
              <a:ext cx="80844" cy="61575"/>
            </a:xfrm>
            <a:custGeom>
              <a:avLst/>
              <a:gdLst>
                <a:gd name="T0" fmla="*/ 74 w 144"/>
                <a:gd name="T1" fmla="*/ 0 h 115"/>
                <a:gd name="T2" fmla="*/ 63 w 144"/>
                <a:gd name="T3" fmla="*/ 9 h 115"/>
                <a:gd name="T4" fmla="*/ 52 w 144"/>
                <a:gd name="T5" fmla="*/ 11 h 115"/>
                <a:gd name="T6" fmla="*/ 51 w 144"/>
                <a:gd name="T7" fmla="*/ 17 h 115"/>
                <a:gd name="T8" fmla="*/ 49 w 144"/>
                <a:gd name="T9" fmla="*/ 22 h 115"/>
                <a:gd name="T10" fmla="*/ 54 w 144"/>
                <a:gd name="T11" fmla="*/ 22 h 115"/>
                <a:gd name="T12" fmla="*/ 57 w 144"/>
                <a:gd name="T13" fmla="*/ 20 h 115"/>
                <a:gd name="T14" fmla="*/ 56 w 144"/>
                <a:gd name="T15" fmla="*/ 15 h 115"/>
                <a:gd name="T16" fmla="*/ 73 w 144"/>
                <a:gd name="T17" fmla="*/ 15 h 115"/>
                <a:gd name="T18" fmla="*/ 77 w 144"/>
                <a:gd name="T19" fmla="*/ 16 h 115"/>
                <a:gd name="T20" fmla="*/ 77 w 144"/>
                <a:gd name="T21" fmla="*/ 25 h 115"/>
                <a:gd name="T22" fmla="*/ 73 w 144"/>
                <a:gd name="T23" fmla="*/ 34 h 115"/>
                <a:gd name="T24" fmla="*/ 49 w 144"/>
                <a:gd name="T25" fmla="*/ 30 h 115"/>
                <a:gd name="T26" fmla="*/ 45 w 144"/>
                <a:gd name="T27" fmla="*/ 27 h 115"/>
                <a:gd name="T28" fmla="*/ 34 w 144"/>
                <a:gd name="T29" fmla="*/ 35 h 115"/>
                <a:gd name="T30" fmla="*/ 23 w 144"/>
                <a:gd name="T31" fmla="*/ 38 h 115"/>
                <a:gd name="T32" fmla="*/ 7 w 144"/>
                <a:gd name="T33" fmla="*/ 37 h 115"/>
                <a:gd name="T34" fmla="*/ 3 w 144"/>
                <a:gd name="T35" fmla="*/ 53 h 115"/>
                <a:gd name="T36" fmla="*/ 7 w 144"/>
                <a:gd name="T37" fmla="*/ 60 h 115"/>
                <a:gd name="T38" fmla="*/ 0 w 144"/>
                <a:gd name="T39" fmla="*/ 80 h 115"/>
                <a:gd name="T40" fmla="*/ 7 w 144"/>
                <a:gd name="T41" fmla="*/ 93 h 115"/>
                <a:gd name="T42" fmla="*/ 19 w 144"/>
                <a:gd name="T43" fmla="*/ 87 h 115"/>
                <a:gd name="T44" fmla="*/ 46 w 144"/>
                <a:gd name="T45" fmla="*/ 102 h 115"/>
                <a:gd name="T46" fmla="*/ 95 w 144"/>
                <a:gd name="T47" fmla="*/ 102 h 115"/>
                <a:gd name="T48" fmla="*/ 124 w 144"/>
                <a:gd name="T49" fmla="*/ 115 h 115"/>
                <a:gd name="T50" fmla="*/ 123 w 144"/>
                <a:gd name="T51" fmla="*/ 113 h 115"/>
                <a:gd name="T52" fmla="*/ 144 w 144"/>
                <a:gd name="T53" fmla="*/ 61 h 115"/>
                <a:gd name="T54" fmla="*/ 144 w 144"/>
                <a:gd name="T55" fmla="*/ 38 h 115"/>
                <a:gd name="T56" fmla="*/ 131 w 144"/>
                <a:gd name="T57" fmla="*/ 35 h 115"/>
                <a:gd name="T58" fmla="*/ 127 w 144"/>
                <a:gd name="T59" fmla="*/ 28 h 115"/>
                <a:gd name="T60" fmla="*/ 122 w 144"/>
                <a:gd name="T61" fmla="*/ 26 h 115"/>
                <a:gd name="T62" fmla="*/ 110 w 144"/>
                <a:gd name="T63" fmla="*/ 13 h 115"/>
                <a:gd name="T64" fmla="*/ 90 w 144"/>
                <a:gd name="T65" fmla="*/ 1 h 115"/>
                <a:gd name="T66" fmla="*/ 74 w 144"/>
                <a:gd name="T67" fmla="*/ 0 h 11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44"/>
                <a:gd name="T103" fmla="*/ 0 h 115"/>
                <a:gd name="T104" fmla="*/ 144 w 144"/>
                <a:gd name="T105" fmla="*/ 115 h 11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44" h="115">
                  <a:moveTo>
                    <a:pt x="74" y="0"/>
                  </a:moveTo>
                  <a:lnTo>
                    <a:pt x="63" y="9"/>
                  </a:lnTo>
                  <a:lnTo>
                    <a:pt x="52" y="11"/>
                  </a:lnTo>
                  <a:lnTo>
                    <a:pt x="51" y="17"/>
                  </a:lnTo>
                  <a:lnTo>
                    <a:pt x="49" y="22"/>
                  </a:lnTo>
                  <a:lnTo>
                    <a:pt x="54" y="22"/>
                  </a:lnTo>
                  <a:lnTo>
                    <a:pt x="57" y="20"/>
                  </a:lnTo>
                  <a:lnTo>
                    <a:pt x="56" y="15"/>
                  </a:lnTo>
                  <a:lnTo>
                    <a:pt x="73" y="15"/>
                  </a:lnTo>
                  <a:lnTo>
                    <a:pt x="77" y="16"/>
                  </a:lnTo>
                  <a:lnTo>
                    <a:pt x="77" y="25"/>
                  </a:lnTo>
                  <a:lnTo>
                    <a:pt x="73" y="34"/>
                  </a:lnTo>
                  <a:lnTo>
                    <a:pt x="49" y="30"/>
                  </a:lnTo>
                  <a:lnTo>
                    <a:pt x="45" y="27"/>
                  </a:lnTo>
                  <a:lnTo>
                    <a:pt x="34" y="35"/>
                  </a:lnTo>
                  <a:lnTo>
                    <a:pt x="23" y="38"/>
                  </a:lnTo>
                  <a:lnTo>
                    <a:pt x="7" y="37"/>
                  </a:lnTo>
                  <a:lnTo>
                    <a:pt x="3" y="53"/>
                  </a:lnTo>
                  <a:lnTo>
                    <a:pt x="7" y="60"/>
                  </a:lnTo>
                  <a:lnTo>
                    <a:pt x="0" y="80"/>
                  </a:lnTo>
                  <a:lnTo>
                    <a:pt x="7" y="93"/>
                  </a:lnTo>
                  <a:lnTo>
                    <a:pt x="19" y="87"/>
                  </a:lnTo>
                  <a:lnTo>
                    <a:pt x="46" y="102"/>
                  </a:lnTo>
                  <a:lnTo>
                    <a:pt x="95" y="102"/>
                  </a:lnTo>
                  <a:lnTo>
                    <a:pt x="124" y="115"/>
                  </a:lnTo>
                  <a:lnTo>
                    <a:pt x="123" y="113"/>
                  </a:lnTo>
                  <a:lnTo>
                    <a:pt x="144" y="61"/>
                  </a:lnTo>
                  <a:lnTo>
                    <a:pt x="144" y="38"/>
                  </a:lnTo>
                  <a:lnTo>
                    <a:pt x="131" y="35"/>
                  </a:lnTo>
                  <a:lnTo>
                    <a:pt x="127" y="28"/>
                  </a:lnTo>
                  <a:lnTo>
                    <a:pt x="122" y="26"/>
                  </a:lnTo>
                  <a:lnTo>
                    <a:pt x="110" y="13"/>
                  </a:lnTo>
                  <a:lnTo>
                    <a:pt x="90" y="1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0063AC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lIns="0" rIns="0"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200" dirty="0">
                  <a:solidFill>
                    <a:schemeClr val="bg1"/>
                  </a:solidFill>
                  <a:latin typeface="+mj-lt"/>
                </a:rPr>
                <a:t>94</a:t>
              </a:r>
            </a:p>
          </p:txBody>
        </p:sp>
        <p:sp>
          <p:nvSpPr>
            <p:cNvPr id="103" name="FR-25">
              <a:extLst>
                <a:ext uri="{FF2B5EF4-FFF2-40B4-BE49-F238E27FC236}">
                  <a16:creationId xmlns:a16="http://schemas.microsoft.com/office/drawing/2014/main" id="{E7F75B5B-BA52-44D0-8A5B-CFAE3A1B473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348609" y="4478416"/>
              <a:ext cx="319683" cy="336605"/>
            </a:xfrm>
            <a:custGeom>
              <a:avLst/>
              <a:gdLst>
                <a:gd name="T0" fmla="*/ 505 w 692"/>
                <a:gd name="T1" fmla="*/ 0 h 764"/>
                <a:gd name="T2" fmla="*/ 503 w 692"/>
                <a:gd name="T3" fmla="*/ 3 h 764"/>
                <a:gd name="T4" fmla="*/ 473 w 692"/>
                <a:gd name="T5" fmla="*/ 3 h 764"/>
                <a:gd name="T6" fmla="*/ 458 w 692"/>
                <a:gd name="T7" fmla="*/ 24 h 764"/>
                <a:gd name="T8" fmla="*/ 438 w 692"/>
                <a:gd name="T9" fmla="*/ 35 h 764"/>
                <a:gd name="T10" fmla="*/ 438 w 692"/>
                <a:gd name="T11" fmla="*/ 62 h 764"/>
                <a:gd name="T12" fmla="*/ 389 w 692"/>
                <a:gd name="T13" fmla="*/ 67 h 764"/>
                <a:gd name="T14" fmla="*/ 363 w 692"/>
                <a:gd name="T15" fmla="*/ 49 h 764"/>
                <a:gd name="T16" fmla="*/ 328 w 692"/>
                <a:gd name="T17" fmla="*/ 54 h 764"/>
                <a:gd name="T18" fmla="*/ 294 w 692"/>
                <a:gd name="T19" fmla="*/ 80 h 764"/>
                <a:gd name="T20" fmla="*/ 270 w 692"/>
                <a:gd name="T21" fmla="*/ 122 h 764"/>
                <a:gd name="T22" fmla="*/ 245 w 692"/>
                <a:gd name="T23" fmla="*/ 129 h 764"/>
                <a:gd name="T24" fmla="*/ 234 w 692"/>
                <a:gd name="T25" fmla="*/ 157 h 764"/>
                <a:gd name="T26" fmla="*/ 204 w 692"/>
                <a:gd name="T27" fmla="*/ 162 h 764"/>
                <a:gd name="T28" fmla="*/ 163 w 692"/>
                <a:gd name="T29" fmla="*/ 196 h 764"/>
                <a:gd name="T30" fmla="*/ 109 w 692"/>
                <a:gd name="T31" fmla="*/ 195 h 764"/>
                <a:gd name="T32" fmla="*/ 92 w 692"/>
                <a:gd name="T33" fmla="*/ 207 h 764"/>
                <a:gd name="T34" fmla="*/ 77 w 692"/>
                <a:gd name="T35" fmla="*/ 207 h 764"/>
                <a:gd name="T36" fmla="*/ 25 w 692"/>
                <a:gd name="T37" fmla="*/ 250 h 764"/>
                <a:gd name="T38" fmla="*/ 1 w 692"/>
                <a:gd name="T39" fmla="*/ 250 h 764"/>
                <a:gd name="T40" fmla="*/ 0 w 692"/>
                <a:gd name="T41" fmla="*/ 265 h 764"/>
                <a:gd name="T42" fmla="*/ 4 w 692"/>
                <a:gd name="T43" fmla="*/ 293 h 764"/>
                <a:gd name="T44" fmla="*/ 38 w 692"/>
                <a:gd name="T45" fmla="*/ 316 h 764"/>
                <a:gd name="T46" fmla="*/ 57 w 692"/>
                <a:gd name="T47" fmla="*/ 340 h 764"/>
                <a:gd name="T48" fmla="*/ 51 w 692"/>
                <a:gd name="T49" fmla="*/ 366 h 764"/>
                <a:gd name="T50" fmla="*/ 34 w 692"/>
                <a:gd name="T51" fmla="*/ 406 h 764"/>
                <a:gd name="T52" fmla="*/ 23 w 692"/>
                <a:gd name="T53" fmla="*/ 432 h 764"/>
                <a:gd name="T54" fmla="*/ 96 w 692"/>
                <a:gd name="T55" fmla="*/ 456 h 764"/>
                <a:gd name="T56" fmla="*/ 143 w 692"/>
                <a:gd name="T57" fmla="*/ 452 h 764"/>
                <a:gd name="T58" fmla="*/ 146 w 692"/>
                <a:gd name="T59" fmla="*/ 492 h 764"/>
                <a:gd name="T60" fmla="*/ 146 w 692"/>
                <a:gd name="T61" fmla="*/ 544 h 764"/>
                <a:gd name="T62" fmla="*/ 204 w 692"/>
                <a:gd name="T63" fmla="*/ 563 h 764"/>
                <a:gd name="T64" fmla="*/ 230 w 692"/>
                <a:gd name="T65" fmla="*/ 570 h 764"/>
                <a:gd name="T66" fmla="*/ 268 w 692"/>
                <a:gd name="T67" fmla="*/ 606 h 764"/>
                <a:gd name="T68" fmla="*/ 264 w 692"/>
                <a:gd name="T69" fmla="*/ 636 h 764"/>
                <a:gd name="T70" fmla="*/ 247 w 692"/>
                <a:gd name="T71" fmla="*/ 660 h 764"/>
                <a:gd name="T72" fmla="*/ 200 w 692"/>
                <a:gd name="T73" fmla="*/ 675 h 764"/>
                <a:gd name="T74" fmla="*/ 212 w 692"/>
                <a:gd name="T75" fmla="*/ 701 h 764"/>
                <a:gd name="T76" fmla="*/ 217 w 692"/>
                <a:gd name="T77" fmla="*/ 722 h 764"/>
                <a:gd name="T78" fmla="*/ 197 w 692"/>
                <a:gd name="T79" fmla="*/ 742 h 764"/>
                <a:gd name="T80" fmla="*/ 199 w 692"/>
                <a:gd name="T81" fmla="*/ 761 h 764"/>
                <a:gd name="T82" fmla="*/ 230 w 692"/>
                <a:gd name="T83" fmla="*/ 764 h 764"/>
                <a:gd name="T84" fmla="*/ 231 w 692"/>
                <a:gd name="T85" fmla="*/ 761 h 764"/>
                <a:gd name="T86" fmla="*/ 392 w 692"/>
                <a:gd name="T87" fmla="*/ 610 h 764"/>
                <a:gd name="T88" fmla="*/ 387 w 692"/>
                <a:gd name="T89" fmla="*/ 485 h 764"/>
                <a:gd name="T90" fmla="*/ 444 w 692"/>
                <a:gd name="T91" fmla="*/ 457 h 764"/>
                <a:gd name="T92" fmla="*/ 483 w 692"/>
                <a:gd name="T93" fmla="*/ 438 h 764"/>
                <a:gd name="T94" fmla="*/ 520 w 692"/>
                <a:gd name="T95" fmla="*/ 405 h 764"/>
                <a:gd name="T96" fmla="*/ 523 w 692"/>
                <a:gd name="T97" fmla="*/ 355 h 764"/>
                <a:gd name="T98" fmla="*/ 559 w 692"/>
                <a:gd name="T99" fmla="*/ 337 h 764"/>
                <a:gd name="T100" fmla="*/ 642 w 692"/>
                <a:gd name="T101" fmla="*/ 240 h 764"/>
                <a:gd name="T102" fmla="*/ 629 w 692"/>
                <a:gd name="T103" fmla="*/ 209 h 764"/>
                <a:gd name="T104" fmla="*/ 658 w 692"/>
                <a:gd name="T105" fmla="*/ 196 h 764"/>
                <a:gd name="T106" fmla="*/ 692 w 692"/>
                <a:gd name="T107" fmla="*/ 155 h 764"/>
                <a:gd name="T108" fmla="*/ 673 w 692"/>
                <a:gd name="T109" fmla="*/ 136 h 764"/>
                <a:gd name="T110" fmla="*/ 611 w 692"/>
                <a:gd name="T111" fmla="*/ 149 h 764"/>
                <a:gd name="T112" fmla="*/ 608 w 692"/>
                <a:gd name="T113" fmla="*/ 139 h 764"/>
                <a:gd name="T114" fmla="*/ 666 w 692"/>
                <a:gd name="T115" fmla="*/ 72 h 764"/>
                <a:gd name="T116" fmla="*/ 505 w 692"/>
                <a:gd name="T117" fmla="*/ 0 h 7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92"/>
                <a:gd name="T178" fmla="*/ 0 h 764"/>
                <a:gd name="T179" fmla="*/ 692 w 692"/>
                <a:gd name="T180" fmla="*/ 764 h 7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92" h="764">
                  <a:moveTo>
                    <a:pt x="505" y="0"/>
                  </a:moveTo>
                  <a:lnTo>
                    <a:pt x="503" y="3"/>
                  </a:lnTo>
                  <a:lnTo>
                    <a:pt x="473" y="3"/>
                  </a:lnTo>
                  <a:lnTo>
                    <a:pt x="458" y="24"/>
                  </a:lnTo>
                  <a:lnTo>
                    <a:pt x="438" y="35"/>
                  </a:lnTo>
                  <a:lnTo>
                    <a:pt x="438" y="62"/>
                  </a:lnTo>
                  <a:lnTo>
                    <a:pt x="389" y="67"/>
                  </a:lnTo>
                  <a:lnTo>
                    <a:pt x="363" y="49"/>
                  </a:lnTo>
                  <a:lnTo>
                    <a:pt x="328" y="54"/>
                  </a:lnTo>
                  <a:lnTo>
                    <a:pt x="294" y="80"/>
                  </a:lnTo>
                  <a:lnTo>
                    <a:pt x="270" y="122"/>
                  </a:lnTo>
                  <a:lnTo>
                    <a:pt x="245" y="129"/>
                  </a:lnTo>
                  <a:lnTo>
                    <a:pt x="234" y="157"/>
                  </a:lnTo>
                  <a:lnTo>
                    <a:pt x="204" y="162"/>
                  </a:lnTo>
                  <a:lnTo>
                    <a:pt x="163" y="196"/>
                  </a:lnTo>
                  <a:lnTo>
                    <a:pt x="109" y="195"/>
                  </a:lnTo>
                  <a:lnTo>
                    <a:pt x="92" y="207"/>
                  </a:lnTo>
                  <a:lnTo>
                    <a:pt x="77" y="207"/>
                  </a:lnTo>
                  <a:lnTo>
                    <a:pt x="25" y="250"/>
                  </a:lnTo>
                  <a:lnTo>
                    <a:pt x="1" y="250"/>
                  </a:lnTo>
                  <a:lnTo>
                    <a:pt x="0" y="265"/>
                  </a:lnTo>
                  <a:lnTo>
                    <a:pt x="4" y="293"/>
                  </a:lnTo>
                  <a:lnTo>
                    <a:pt x="38" y="316"/>
                  </a:lnTo>
                  <a:lnTo>
                    <a:pt x="57" y="340"/>
                  </a:lnTo>
                  <a:lnTo>
                    <a:pt x="51" y="366"/>
                  </a:lnTo>
                  <a:lnTo>
                    <a:pt x="34" y="406"/>
                  </a:lnTo>
                  <a:lnTo>
                    <a:pt x="23" y="432"/>
                  </a:lnTo>
                  <a:lnTo>
                    <a:pt x="96" y="456"/>
                  </a:lnTo>
                  <a:lnTo>
                    <a:pt x="143" y="452"/>
                  </a:lnTo>
                  <a:lnTo>
                    <a:pt x="146" y="492"/>
                  </a:lnTo>
                  <a:lnTo>
                    <a:pt x="146" y="544"/>
                  </a:lnTo>
                  <a:lnTo>
                    <a:pt x="204" y="563"/>
                  </a:lnTo>
                  <a:lnTo>
                    <a:pt x="230" y="570"/>
                  </a:lnTo>
                  <a:lnTo>
                    <a:pt x="268" y="606"/>
                  </a:lnTo>
                  <a:lnTo>
                    <a:pt x="264" y="636"/>
                  </a:lnTo>
                  <a:lnTo>
                    <a:pt x="247" y="660"/>
                  </a:lnTo>
                  <a:lnTo>
                    <a:pt x="200" y="675"/>
                  </a:lnTo>
                  <a:lnTo>
                    <a:pt x="212" y="701"/>
                  </a:lnTo>
                  <a:lnTo>
                    <a:pt x="217" y="722"/>
                  </a:lnTo>
                  <a:lnTo>
                    <a:pt x="197" y="742"/>
                  </a:lnTo>
                  <a:lnTo>
                    <a:pt x="199" y="761"/>
                  </a:lnTo>
                  <a:lnTo>
                    <a:pt x="230" y="764"/>
                  </a:lnTo>
                  <a:lnTo>
                    <a:pt x="231" y="761"/>
                  </a:lnTo>
                  <a:lnTo>
                    <a:pt x="392" y="610"/>
                  </a:lnTo>
                  <a:lnTo>
                    <a:pt x="387" y="485"/>
                  </a:lnTo>
                  <a:lnTo>
                    <a:pt x="444" y="457"/>
                  </a:lnTo>
                  <a:lnTo>
                    <a:pt x="483" y="438"/>
                  </a:lnTo>
                  <a:lnTo>
                    <a:pt x="520" y="405"/>
                  </a:lnTo>
                  <a:lnTo>
                    <a:pt x="523" y="355"/>
                  </a:lnTo>
                  <a:lnTo>
                    <a:pt x="559" y="337"/>
                  </a:lnTo>
                  <a:lnTo>
                    <a:pt x="642" y="240"/>
                  </a:lnTo>
                  <a:lnTo>
                    <a:pt x="629" y="209"/>
                  </a:lnTo>
                  <a:lnTo>
                    <a:pt x="658" y="196"/>
                  </a:lnTo>
                  <a:lnTo>
                    <a:pt x="692" y="155"/>
                  </a:lnTo>
                  <a:lnTo>
                    <a:pt x="673" y="136"/>
                  </a:lnTo>
                  <a:lnTo>
                    <a:pt x="611" y="149"/>
                  </a:lnTo>
                  <a:lnTo>
                    <a:pt x="608" y="139"/>
                  </a:lnTo>
                  <a:lnTo>
                    <a:pt x="666" y="72"/>
                  </a:lnTo>
                  <a:lnTo>
                    <a:pt x="505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25</a:t>
              </a:r>
            </a:p>
          </p:txBody>
        </p:sp>
        <p:sp>
          <p:nvSpPr>
            <p:cNvPr id="104" name="FR-90">
              <a:extLst>
                <a:ext uri="{FF2B5EF4-FFF2-40B4-BE49-F238E27FC236}">
                  <a16:creationId xmlns:a16="http://schemas.microsoft.com/office/drawing/2014/main" id="{E017BBB5-5837-4D50-AF2B-34201717558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581903" y="4397790"/>
              <a:ext cx="94704" cy="112349"/>
            </a:xfrm>
            <a:custGeom>
              <a:avLst/>
              <a:gdLst>
                <a:gd name="T0" fmla="*/ 54 w 205"/>
                <a:gd name="T1" fmla="*/ 0 h 255"/>
                <a:gd name="T2" fmla="*/ 30 w 205"/>
                <a:gd name="T3" fmla="*/ 13 h 255"/>
                <a:gd name="T4" fmla="*/ 10 w 205"/>
                <a:gd name="T5" fmla="*/ 28 h 255"/>
                <a:gd name="T6" fmla="*/ 10 w 205"/>
                <a:gd name="T7" fmla="*/ 61 h 255"/>
                <a:gd name="T8" fmla="*/ 21 w 205"/>
                <a:gd name="T9" fmla="*/ 101 h 255"/>
                <a:gd name="T10" fmla="*/ 21 w 205"/>
                <a:gd name="T11" fmla="*/ 127 h 255"/>
                <a:gd name="T12" fmla="*/ 15 w 205"/>
                <a:gd name="T13" fmla="*/ 168 h 255"/>
                <a:gd name="T14" fmla="*/ 0 w 205"/>
                <a:gd name="T15" fmla="*/ 183 h 255"/>
                <a:gd name="T16" fmla="*/ 161 w 205"/>
                <a:gd name="T17" fmla="*/ 255 h 255"/>
                <a:gd name="T18" fmla="*/ 171 w 205"/>
                <a:gd name="T19" fmla="*/ 244 h 255"/>
                <a:gd name="T20" fmla="*/ 205 w 205"/>
                <a:gd name="T21" fmla="*/ 238 h 255"/>
                <a:gd name="T22" fmla="*/ 193 w 205"/>
                <a:gd name="T23" fmla="*/ 183 h 255"/>
                <a:gd name="T24" fmla="*/ 185 w 205"/>
                <a:gd name="T25" fmla="*/ 154 h 255"/>
                <a:gd name="T26" fmla="*/ 148 w 205"/>
                <a:gd name="T27" fmla="*/ 160 h 255"/>
                <a:gd name="T28" fmla="*/ 143 w 205"/>
                <a:gd name="T29" fmla="*/ 128 h 255"/>
                <a:gd name="T30" fmla="*/ 156 w 205"/>
                <a:gd name="T31" fmla="*/ 105 h 255"/>
                <a:gd name="T32" fmla="*/ 158 w 205"/>
                <a:gd name="T33" fmla="*/ 73 h 255"/>
                <a:gd name="T34" fmla="*/ 151 w 205"/>
                <a:gd name="T35" fmla="*/ 55 h 255"/>
                <a:gd name="T36" fmla="*/ 104 w 205"/>
                <a:gd name="T37" fmla="*/ 19 h 255"/>
                <a:gd name="T38" fmla="*/ 62 w 205"/>
                <a:gd name="T39" fmla="*/ 16 h 255"/>
                <a:gd name="T40" fmla="*/ 54 w 205"/>
                <a:gd name="T41" fmla="*/ 0 h 25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05"/>
                <a:gd name="T64" fmla="*/ 0 h 255"/>
                <a:gd name="T65" fmla="*/ 205 w 205"/>
                <a:gd name="T66" fmla="*/ 255 h 255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05" h="255">
                  <a:moveTo>
                    <a:pt x="54" y="0"/>
                  </a:moveTo>
                  <a:lnTo>
                    <a:pt x="30" y="13"/>
                  </a:lnTo>
                  <a:lnTo>
                    <a:pt x="10" y="28"/>
                  </a:lnTo>
                  <a:lnTo>
                    <a:pt x="10" y="61"/>
                  </a:lnTo>
                  <a:lnTo>
                    <a:pt x="21" y="101"/>
                  </a:lnTo>
                  <a:lnTo>
                    <a:pt x="21" y="127"/>
                  </a:lnTo>
                  <a:lnTo>
                    <a:pt x="15" y="168"/>
                  </a:lnTo>
                  <a:lnTo>
                    <a:pt x="0" y="183"/>
                  </a:lnTo>
                  <a:lnTo>
                    <a:pt x="161" y="255"/>
                  </a:lnTo>
                  <a:lnTo>
                    <a:pt x="171" y="244"/>
                  </a:lnTo>
                  <a:lnTo>
                    <a:pt x="205" y="238"/>
                  </a:lnTo>
                  <a:lnTo>
                    <a:pt x="193" y="183"/>
                  </a:lnTo>
                  <a:lnTo>
                    <a:pt x="185" y="154"/>
                  </a:lnTo>
                  <a:lnTo>
                    <a:pt x="148" y="160"/>
                  </a:lnTo>
                  <a:lnTo>
                    <a:pt x="143" y="128"/>
                  </a:lnTo>
                  <a:lnTo>
                    <a:pt x="156" y="105"/>
                  </a:lnTo>
                  <a:lnTo>
                    <a:pt x="158" y="73"/>
                  </a:lnTo>
                  <a:lnTo>
                    <a:pt x="151" y="55"/>
                  </a:lnTo>
                  <a:lnTo>
                    <a:pt x="104" y="19"/>
                  </a:lnTo>
                  <a:lnTo>
                    <a:pt x="62" y="16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90</a:t>
              </a:r>
            </a:p>
          </p:txBody>
        </p:sp>
      </p:grpSp>
      <p:grpSp>
        <p:nvGrpSpPr>
          <p:cNvPr id="105" name="Groupe 219">
            <a:extLst>
              <a:ext uri="{FF2B5EF4-FFF2-40B4-BE49-F238E27FC236}">
                <a16:creationId xmlns:a16="http://schemas.microsoft.com/office/drawing/2014/main" id="{18BAE96A-5B7A-47A4-B95C-27CE092A9E0A}"/>
              </a:ext>
            </a:extLst>
          </p:cNvPr>
          <p:cNvGrpSpPr>
            <a:grpSpLocks noChangeAspect="1"/>
          </p:cNvGrpSpPr>
          <p:nvPr/>
        </p:nvGrpSpPr>
        <p:grpSpPr>
          <a:xfrm>
            <a:off x="9428491" y="4038911"/>
            <a:ext cx="2001405" cy="1868528"/>
            <a:chOff x="0" y="0"/>
            <a:chExt cx="6774246" cy="6462745"/>
          </a:xfrm>
          <a:solidFill>
            <a:srgbClr val="0063AC"/>
          </a:solidFill>
        </p:grpSpPr>
        <p:sp>
          <p:nvSpPr>
            <p:cNvPr id="106" name="FR-2A">
              <a:extLst>
                <a:ext uri="{FF2B5EF4-FFF2-40B4-BE49-F238E27FC236}">
                  <a16:creationId xmlns:a16="http://schemas.microsoft.com/office/drawing/2014/main" id="{92853859-28A1-4E3B-8748-92E6CDFFAD4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212675" y="5757339"/>
              <a:ext cx="511050" cy="705406"/>
            </a:xfrm>
            <a:custGeom>
              <a:avLst/>
              <a:gdLst>
                <a:gd name="T0" fmla="*/ 0 w 526"/>
                <a:gd name="T1" fmla="*/ 29 h 745"/>
                <a:gd name="T2" fmla="*/ 70 w 526"/>
                <a:gd name="T3" fmla="*/ 73 h 745"/>
                <a:gd name="T4" fmla="*/ 47 w 526"/>
                <a:gd name="T5" fmla="*/ 102 h 745"/>
                <a:gd name="T6" fmla="*/ 5 w 526"/>
                <a:gd name="T7" fmla="*/ 128 h 745"/>
                <a:gd name="T8" fmla="*/ 23 w 526"/>
                <a:gd name="T9" fmla="*/ 196 h 745"/>
                <a:gd name="T10" fmla="*/ 101 w 526"/>
                <a:gd name="T11" fmla="*/ 219 h 745"/>
                <a:gd name="T12" fmla="*/ 107 w 526"/>
                <a:gd name="T13" fmla="*/ 266 h 745"/>
                <a:gd name="T14" fmla="*/ 70 w 526"/>
                <a:gd name="T15" fmla="*/ 302 h 745"/>
                <a:gd name="T16" fmla="*/ 62 w 526"/>
                <a:gd name="T17" fmla="*/ 367 h 745"/>
                <a:gd name="T18" fmla="*/ 112 w 526"/>
                <a:gd name="T19" fmla="*/ 373 h 745"/>
                <a:gd name="T20" fmla="*/ 159 w 526"/>
                <a:gd name="T21" fmla="*/ 365 h 745"/>
                <a:gd name="T22" fmla="*/ 159 w 526"/>
                <a:gd name="T23" fmla="*/ 422 h 745"/>
                <a:gd name="T24" fmla="*/ 107 w 526"/>
                <a:gd name="T25" fmla="*/ 492 h 745"/>
                <a:gd name="T26" fmla="*/ 245 w 526"/>
                <a:gd name="T27" fmla="*/ 513 h 745"/>
                <a:gd name="T28" fmla="*/ 188 w 526"/>
                <a:gd name="T29" fmla="*/ 549 h 745"/>
                <a:gd name="T30" fmla="*/ 187 w 526"/>
                <a:gd name="T31" fmla="*/ 550 h 745"/>
                <a:gd name="T32" fmla="*/ 186 w 526"/>
                <a:gd name="T33" fmla="*/ 551 h 745"/>
                <a:gd name="T34" fmla="*/ 185 w 526"/>
                <a:gd name="T35" fmla="*/ 552 h 745"/>
                <a:gd name="T36" fmla="*/ 185 w 526"/>
                <a:gd name="T37" fmla="*/ 553 h 745"/>
                <a:gd name="T38" fmla="*/ 185 w 526"/>
                <a:gd name="T39" fmla="*/ 555 h 745"/>
                <a:gd name="T40" fmla="*/ 192 w 526"/>
                <a:gd name="T41" fmla="*/ 628 h 745"/>
                <a:gd name="T42" fmla="*/ 328 w 526"/>
                <a:gd name="T43" fmla="*/ 680 h 745"/>
                <a:gd name="T44" fmla="*/ 377 w 526"/>
                <a:gd name="T45" fmla="*/ 701 h 745"/>
                <a:gd name="T46" fmla="*/ 403 w 526"/>
                <a:gd name="T47" fmla="*/ 727 h 745"/>
                <a:gd name="T48" fmla="*/ 453 w 526"/>
                <a:gd name="T49" fmla="*/ 745 h 745"/>
                <a:gd name="T50" fmla="*/ 437 w 526"/>
                <a:gd name="T51" fmla="*/ 690 h 745"/>
                <a:gd name="T52" fmla="*/ 461 w 526"/>
                <a:gd name="T53" fmla="*/ 638 h 745"/>
                <a:gd name="T54" fmla="*/ 510 w 526"/>
                <a:gd name="T55" fmla="*/ 589 h 745"/>
                <a:gd name="T56" fmla="*/ 482 w 526"/>
                <a:gd name="T57" fmla="*/ 558 h 745"/>
                <a:gd name="T58" fmla="*/ 461 w 526"/>
                <a:gd name="T59" fmla="*/ 550 h 745"/>
                <a:gd name="T60" fmla="*/ 515 w 526"/>
                <a:gd name="T61" fmla="*/ 516 h 745"/>
                <a:gd name="T62" fmla="*/ 518 w 526"/>
                <a:gd name="T63" fmla="*/ 386 h 745"/>
                <a:gd name="T64" fmla="*/ 472 w 526"/>
                <a:gd name="T65" fmla="*/ 378 h 745"/>
                <a:gd name="T66" fmla="*/ 413 w 526"/>
                <a:gd name="T67" fmla="*/ 343 h 745"/>
                <a:gd name="T68" fmla="*/ 403 w 526"/>
                <a:gd name="T69" fmla="*/ 321 h 745"/>
                <a:gd name="T70" fmla="*/ 392 w 526"/>
                <a:gd name="T71" fmla="*/ 246 h 745"/>
                <a:gd name="T72" fmla="*/ 349 w 526"/>
                <a:gd name="T73" fmla="*/ 234 h 745"/>
                <a:gd name="T74" fmla="*/ 330 w 526"/>
                <a:gd name="T75" fmla="*/ 178 h 745"/>
                <a:gd name="T76" fmla="*/ 288 w 526"/>
                <a:gd name="T77" fmla="*/ 135 h 745"/>
                <a:gd name="T78" fmla="*/ 255 w 526"/>
                <a:gd name="T79" fmla="*/ 114 h 745"/>
                <a:gd name="T80" fmla="*/ 193 w 526"/>
                <a:gd name="T81" fmla="*/ 78 h 745"/>
                <a:gd name="T82" fmla="*/ 175 w 526"/>
                <a:gd name="T83" fmla="*/ 31 h 745"/>
                <a:gd name="T84" fmla="*/ 120 w 526"/>
                <a:gd name="T85" fmla="*/ 29 h 745"/>
                <a:gd name="T86" fmla="*/ 55 w 526"/>
                <a:gd name="T87" fmla="*/ 20 h 745"/>
                <a:gd name="T88" fmla="*/ 20 w 526"/>
                <a:gd name="T89" fmla="*/ 0 h 745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526"/>
                <a:gd name="T136" fmla="*/ 0 h 745"/>
                <a:gd name="T137" fmla="*/ 526 w 526"/>
                <a:gd name="T138" fmla="*/ 745 h 745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526" h="745">
                  <a:moveTo>
                    <a:pt x="0" y="0"/>
                  </a:moveTo>
                  <a:lnTo>
                    <a:pt x="0" y="29"/>
                  </a:lnTo>
                  <a:lnTo>
                    <a:pt x="26" y="47"/>
                  </a:lnTo>
                  <a:lnTo>
                    <a:pt x="70" y="73"/>
                  </a:lnTo>
                  <a:lnTo>
                    <a:pt x="73" y="94"/>
                  </a:lnTo>
                  <a:lnTo>
                    <a:pt x="47" y="102"/>
                  </a:lnTo>
                  <a:lnTo>
                    <a:pt x="5" y="110"/>
                  </a:lnTo>
                  <a:lnTo>
                    <a:pt x="5" y="128"/>
                  </a:lnTo>
                  <a:lnTo>
                    <a:pt x="20" y="143"/>
                  </a:lnTo>
                  <a:lnTo>
                    <a:pt x="23" y="196"/>
                  </a:lnTo>
                  <a:lnTo>
                    <a:pt x="80" y="214"/>
                  </a:lnTo>
                  <a:lnTo>
                    <a:pt x="101" y="219"/>
                  </a:lnTo>
                  <a:lnTo>
                    <a:pt x="120" y="248"/>
                  </a:lnTo>
                  <a:lnTo>
                    <a:pt x="107" y="266"/>
                  </a:lnTo>
                  <a:lnTo>
                    <a:pt x="86" y="273"/>
                  </a:lnTo>
                  <a:lnTo>
                    <a:pt x="70" y="302"/>
                  </a:lnTo>
                  <a:lnTo>
                    <a:pt x="55" y="321"/>
                  </a:lnTo>
                  <a:lnTo>
                    <a:pt x="62" y="367"/>
                  </a:lnTo>
                  <a:lnTo>
                    <a:pt x="101" y="365"/>
                  </a:lnTo>
                  <a:lnTo>
                    <a:pt x="112" y="373"/>
                  </a:lnTo>
                  <a:lnTo>
                    <a:pt x="148" y="354"/>
                  </a:lnTo>
                  <a:lnTo>
                    <a:pt x="159" y="365"/>
                  </a:lnTo>
                  <a:lnTo>
                    <a:pt x="140" y="404"/>
                  </a:lnTo>
                  <a:lnTo>
                    <a:pt x="159" y="422"/>
                  </a:lnTo>
                  <a:lnTo>
                    <a:pt x="127" y="446"/>
                  </a:lnTo>
                  <a:lnTo>
                    <a:pt x="107" y="492"/>
                  </a:lnTo>
                  <a:lnTo>
                    <a:pt x="164" y="506"/>
                  </a:lnTo>
                  <a:lnTo>
                    <a:pt x="245" y="513"/>
                  </a:lnTo>
                  <a:lnTo>
                    <a:pt x="211" y="552"/>
                  </a:lnTo>
                  <a:cubicBezTo>
                    <a:pt x="211" y="552"/>
                    <a:pt x="195" y="546"/>
                    <a:pt x="188" y="549"/>
                  </a:cubicBezTo>
                  <a:lnTo>
                    <a:pt x="187" y="550"/>
                  </a:lnTo>
                  <a:cubicBezTo>
                    <a:pt x="187" y="550"/>
                    <a:pt x="186" y="550"/>
                    <a:pt x="186" y="551"/>
                  </a:cubicBezTo>
                  <a:lnTo>
                    <a:pt x="185" y="551"/>
                  </a:lnTo>
                  <a:lnTo>
                    <a:pt x="185" y="552"/>
                  </a:lnTo>
                  <a:cubicBezTo>
                    <a:pt x="185" y="552"/>
                    <a:pt x="185" y="552"/>
                    <a:pt x="185" y="553"/>
                  </a:cubicBezTo>
                  <a:lnTo>
                    <a:pt x="185" y="554"/>
                  </a:lnTo>
                  <a:cubicBezTo>
                    <a:pt x="184" y="554"/>
                    <a:pt x="185" y="555"/>
                    <a:pt x="185" y="555"/>
                  </a:cubicBezTo>
                  <a:cubicBezTo>
                    <a:pt x="185" y="568"/>
                    <a:pt x="166" y="587"/>
                    <a:pt x="167" y="599"/>
                  </a:cubicBezTo>
                  <a:lnTo>
                    <a:pt x="192" y="628"/>
                  </a:lnTo>
                  <a:lnTo>
                    <a:pt x="240" y="656"/>
                  </a:lnTo>
                  <a:lnTo>
                    <a:pt x="328" y="680"/>
                  </a:lnTo>
                  <a:lnTo>
                    <a:pt x="354" y="690"/>
                  </a:lnTo>
                  <a:lnTo>
                    <a:pt x="377" y="701"/>
                  </a:lnTo>
                  <a:lnTo>
                    <a:pt x="362" y="729"/>
                  </a:lnTo>
                  <a:lnTo>
                    <a:pt x="403" y="727"/>
                  </a:lnTo>
                  <a:lnTo>
                    <a:pt x="411" y="745"/>
                  </a:lnTo>
                  <a:lnTo>
                    <a:pt x="453" y="745"/>
                  </a:lnTo>
                  <a:lnTo>
                    <a:pt x="463" y="696"/>
                  </a:lnTo>
                  <a:lnTo>
                    <a:pt x="437" y="690"/>
                  </a:lnTo>
                  <a:lnTo>
                    <a:pt x="474" y="651"/>
                  </a:lnTo>
                  <a:lnTo>
                    <a:pt x="461" y="638"/>
                  </a:lnTo>
                  <a:lnTo>
                    <a:pt x="463" y="615"/>
                  </a:lnTo>
                  <a:lnTo>
                    <a:pt x="510" y="589"/>
                  </a:lnTo>
                  <a:lnTo>
                    <a:pt x="513" y="560"/>
                  </a:lnTo>
                  <a:lnTo>
                    <a:pt x="482" y="558"/>
                  </a:lnTo>
                  <a:lnTo>
                    <a:pt x="461" y="576"/>
                  </a:lnTo>
                  <a:lnTo>
                    <a:pt x="461" y="550"/>
                  </a:lnTo>
                  <a:lnTo>
                    <a:pt x="502" y="547"/>
                  </a:lnTo>
                  <a:lnTo>
                    <a:pt x="515" y="516"/>
                  </a:lnTo>
                  <a:lnTo>
                    <a:pt x="526" y="425"/>
                  </a:lnTo>
                  <a:lnTo>
                    <a:pt x="518" y="386"/>
                  </a:lnTo>
                  <a:lnTo>
                    <a:pt x="517" y="348"/>
                  </a:lnTo>
                  <a:lnTo>
                    <a:pt x="472" y="378"/>
                  </a:lnTo>
                  <a:lnTo>
                    <a:pt x="417" y="380"/>
                  </a:lnTo>
                  <a:lnTo>
                    <a:pt x="413" y="343"/>
                  </a:lnTo>
                  <a:lnTo>
                    <a:pt x="420" y="333"/>
                  </a:lnTo>
                  <a:lnTo>
                    <a:pt x="403" y="321"/>
                  </a:lnTo>
                  <a:lnTo>
                    <a:pt x="399" y="258"/>
                  </a:lnTo>
                  <a:lnTo>
                    <a:pt x="392" y="246"/>
                  </a:lnTo>
                  <a:lnTo>
                    <a:pt x="363" y="246"/>
                  </a:lnTo>
                  <a:lnTo>
                    <a:pt x="349" y="234"/>
                  </a:lnTo>
                  <a:lnTo>
                    <a:pt x="349" y="189"/>
                  </a:lnTo>
                  <a:lnTo>
                    <a:pt x="330" y="178"/>
                  </a:lnTo>
                  <a:lnTo>
                    <a:pt x="316" y="171"/>
                  </a:lnTo>
                  <a:lnTo>
                    <a:pt x="288" y="135"/>
                  </a:lnTo>
                  <a:lnTo>
                    <a:pt x="290" y="114"/>
                  </a:lnTo>
                  <a:lnTo>
                    <a:pt x="255" y="114"/>
                  </a:lnTo>
                  <a:lnTo>
                    <a:pt x="243" y="78"/>
                  </a:lnTo>
                  <a:lnTo>
                    <a:pt x="193" y="78"/>
                  </a:lnTo>
                  <a:lnTo>
                    <a:pt x="167" y="43"/>
                  </a:lnTo>
                  <a:lnTo>
                    <a:pt x="175" y="31"/>
                  </a:lnTo>
                  <a:lnTo>
                    <a:pt x="158" y="22"/>
                  </a:lnTo>
                  <a:lnTo>
                    <a:pt x="120" y="29"/>
                  </a:lnTo>
                  <a:lnTo>
                    <a:pt x="106" y="20"/>
                  </a:lnTo>
                  <a:lnTo>
                    <a:pt x="55" y="20"/>
                  </a:lnTo>
                  <a:lnTo>
                    <a:pt x="50" y="6"/>
                  </a:lnTo>
                  <a:lnTo>
                    <a:pt x="2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2A</a:t>
              </a:r>
            </a:p>
          </p:txBody>
        </p:sp>
        <p:sp>
          <p:nvSpPr>
            <p:cNvPr id="107" name="FR-2B">
              <a:extLst>
                <a:ext uri="{FF2B5EF4-FFF2-40B4-BE49-F238E27FC236}">
                  <a16:creationId xmlns:a16="http://schemas.microsoft.com/office/drawing/2014/main" id="{1214A866-E24F-4924-86C5-9E19B035E6F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232105" y="5273553"/>
              <a:ext cx="542141" cy="853115"/>
            </a:xfrm>
            <a:custGeom>
              <a:avLst/>
              <a:gdLst>
                <a:gd name="T0" fmla="*/ 375 w 558"/>
                <a:gd name="T1" fmla="*/ 27 h 901"/>
                <a:gd name="T2" fmla="*/ 402 w 558"/>
                <a:gd name="T3" fmla="*/ 79 h 901"/>
                <a:gd name="T4" fmla="*/ 389 w 558"/>
                <a:gd name="T5" fmla="*/ 117 h 901"/>
                <a:gd name="T6" fmla="*/ 373 w 558"/>
                <a:gd name="T7" fmla="*/ 159 h 901"/>
                <a:gd name="T8" fmla="*/ 399 w 558"/>
                <a:gd name="T9" fmla="*/ 219 h 901"/>
                <a:gd name="T10" fmla="*/ 365 w 558"/>
                <a:gd name="T11" fmla="*/ 261 h 901"/>
                <a:gd name="T12" fmla="*/ 308 w 558"/>
                <a:gd name="T13" fmla="*/ 235 h 901"/>
                <a:gd name="T14" fmla="*/ 269 w 558"/>
                <a:gd name="T15" fmla="*/ 229 h 901"/>
                <a:gd name="T16" fmla="*/ 230 w 558"/>
                <a:gd name="T17" fmla="*/ 300 h 901"/>
                <a:gd name="T18" fmla="*/ 110 w 558"/>
                <a:gd name="T19" fmla="*/ 357 h 901"/>
                <a:gd name="T20" fmla="*/ 74 w 558"/>
                <a:gd name="T21" fmla="*/ 383 h 901"/>
                <a:gd name="T22" fmla="*/ 53 w 558"/>
                <a:gd name="T23" fmla="*/ 412 h 901"/>
                <a:gd name="T24" fmla="*/ 29 w 558"/>
                <a:gd name="T25" fmla="*/ 461 h 901"/>
                <a:gd name="T26" fmla="*/ 8 w 558"/>
                <a:gd name="T27" fmla="*/ 500 h 901"/>
                <a:gd name="T28" fmla="*/ 30 w 558"/>
                <a:gd name="T29" fmla="*/ 527 h 901"/>
                <a:gd name="T30" fmla="*/ 86 w 558"/>
                <a:gd name="T31" fmla="*/ 541 h 901"/>
                <a:gd name="T32" fmla="*/ 138 w 558"/>
                <a:gd name="T33" fmla="*/ 543 h 901"/>
                <a:gd name="T34" fmla="*/ 147 w 558"/>
                <a:gd name="T35" fmla="*/ 564 h 901"/>
                <a:gd name="T36" fmla="*/ 223 w 558"/>
                <a:gd name="T37" fmla="*/ 599 h 901"/>
                <a:gd name="T38" fmla="*/ 270 w 558"/>
                <a:gd name="T39" fmla="*/ 635 h 901"/>
                <a:gd name="T40" fmla="*/ 296 w 558"/>
                <a:gd name="T41" fmla="*/ 692 h 901"/>
                <a:gd name="T42" fmla="*/ 329 w 558"/>
                <a:gd name="T43" fmla="*/ 710 h 901"/>
                <a:gd name="T44" fmla="*/ 343 w 558"/>
                <a:gd name="T45" fmla="*/ 767 h 901"/>
                <a:gd name="T46" fmla="*/ 379 w 558"/>
                <a:gd name="T47" fmla="*/ 779 h 901"/>
                <a:gd name="T48" fmla="*/ 400 w 558"/>
                <a:gd name="T49" fmla="*/ 854 h 901"/>
                <a:gd name="T50" fmla="*/ 397 w 558"/>
                <a:gd name="T51" fmla="*/ 901 h 901"/>
                <a:gd name="T52" fmla="*/ 497 w 558"/>
                <a:gd name="T53" fmla="*/ 869 h 901"/>
                <a:gd name="T54" fmla="*/ 558 w 558"/>
                <a:gd name="T55" fmla="*/ 704 h 901"/>
                <a:gd name="T56" fmla="*/ 532 w 558"/>
                <a:gd name="T57" fmla="*/ 508 h 901"/>
                <a:gd name="T58" fmla="*/ 506 w 558"/>
                <a:gd name="T59" fmla="*/ 323 h 901"/>
                <a:gd name="T60" fmla="*/ 467 w 558"/>
                <a:gd name="T61" fmla="*/ 201 h 901"/>
                <a:gd name="T62" fmla="*/ 462 w 558"/>
                <a:gd name="T63" fmla="*/ 86 h 901"/>
                <a:gd name="T64" fmla="*/ 438 w 558"/>
                <a:gd name="T65" fmla="*/ 13 h 90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558"/>
                <a:gd name="T100" fmla="*/ 0 h 901"/>
                <a:gd name="T101" fmla="*/ 558 w 558"/>
                <a:gd name="T102" fmla="*/ 901 h 90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558" h="901">
                  <a:moveTo>
                    <a:pt x="415" y="0"/>
                  </a:moveTo>
                  <a:lnTo>
                    <a:pt x="375" y="27"/>
                  </a:lnTo>
                  <a:lnTo>
                    <a:pt x="381" y="52"/>
                  </a:lnTo>
                  <a:lnTo>
                    <a:pt x="402" y="79"/>
                  </a:lnTo>
                  <a:lnTo>
                    <a:pt x="378" y="97"/>
                  </a:lnTo>
                  <a:lnTo>
                    <a:pt x="389" y="117"/>
                  </a:lnTo>
                  <a:lnTo>
                    <a:pt x="373" y="136"/>
                  </a:lnTo>
                  <a:lnTo>
                    <a:pt x="373" y="159"/>
                  </a:lnTo>
                  <a:lnTo>
                    <a:pt x="399" y="183"/>
                  </a:lnTo>
                  <a:lnTo>
                    <a:pt x="399" y="219"/>
                  </a:lnTo>
                  <a:lnTo>
                    <a:pt x="383" y="253"/>
                  </a:lnTo>
                  <a:lnTo>
                    <a:pt x="365" y="261"/>
                  </a:lnTo>
                  <a:lnTo>
                    <a:pt x="345" y="232"/>
                  </a:lnTo>
                  <a:lnTo>
                    <a:pt x="308" y="235"/>
                  </a:lnTo>
                  <a:lnTo>
                    <a:pt x="300" y="229"/>
                  </a:lnTo>
                  <a:lnTo>
                    <a:pt x="269" y="229"/>
                  </a:lnTo>
                  <a:lnTo>
                    <a:pt x="240" y="256"/>
                  </a:lnTo>
                  <a:lnTo>
                    <a:pt x="230" y="300"/>
                  </a:lnTo>
                  <a:lnTo>
                    <a:pt x="162" y="313"/>
                  </a:lnTo>
                  <a:lnTo>
                    <a:pt x="110" y="357"/>
                  </a:lnTo>
                  <a:lnTo>
                    <a:pt x="100" y="386"/>
                  </a:lnTo>
                  <a:lnTo>
                    <a:pt x="74" y="383"/>
                  </a:lnTo>
                  <a:lnTo>
                    <a:pt x="60" y="367"/>
                  </a:lnTo>
                  <a:lnTo>
                    <a:pt x="53" y="412"/>
                  </a:lnTo>
                  <a:lnTo>
                    <a:pt x="35" y="419"/>
                  </a:lnTo>
                  <a:lnTo>
                    <a:pt x="29" y="461"/>
                  </a:lnTo>
                  <a:lnTo>
                    <a:pt x="37" y="479"/>
                  </a:lnTo>
                  <a:lnTo>
                    <a:pt x="8" y="500"/>
                  </a:lnTo>
                  <a:lnTo>
                    <a:pt x="0" y="521"/>
                  </a:lnTo>
                  <a:lnTo>
                    <a:pt x="30" y="527"/>
                  </a:lnTo>
                  <a:lnTo>
                    <a:pt x="35" y="541"/>
                  </a:lnTo>
                  <a:lnTo>
                    <a:pt x="86" y="541"/>
                  </a:lnTo>
                  <a:lnTo>
                    <a:pt x="100" y="550"/>
                  </a:lnTo>
                  <a:lnTo>
                    <a:pt x="138" y="543"/>
                  </a:lnTo>
                  <a:lnTo>
                    <a:pt x="155" y="552"/>
                  </a:lnTo>
                  <a:lnTo>
                    <a:pt x="147" y="564"/>
                  </a:lnTo>
                  <a:lnTo>
                    <a:pt x="173" y="599"/>
                  </a:lnTo>
                  <a:lnTo>
                    <a:pt x="223" y="599"/>
                  </a:lnTo>
                  <a:lnTo>
                    <a:pt x="235" y="635"/>
                  </a:lnTo>
                  <a:lnTo>
                    <a:pt x="270" y="635"/>
                  </a:lnTo>
                  <a:lnTo>
                    <a:pt x="268" y="656"/>
                  </a:lnTo>
                  <a:lnTo>
                    <a:pt x="296" y="692"/>
                  </a:lnTo>
                  <a:lnTo>
                    <a:pt x="310" y="699"/>
                  </a:lnTo>
                  <a:lnTo>
                    <a:pt x="329" y="710"/>
                  </a:lnTo>
                  <a:lnTo>
                    <a:pt x="329" y="755"/>
                  </a:lnTo>
                  <a:lnTo>
                    <a:pt x="343" y="767"/>
                  </a:lnTo>
                  <a:lnTo>
                    <a:pt x="372" y="767"/>
                  </a:lnTo>
                  <a:lnTo>
                    <a:pt x="379" y="779"/>
                  </a:lnTo>
                  <a:lnTo>
                    <a:pt x="383" y="842"/>
                  </a:lnTo>
                  <a:lnTo>
                    <a:pt x="400" y="854"/>
                  </a:lnTo>
                  <a:lnTo>
                    <a:pt x="393" y="864"/>
                  </a:lnTo>
                  <a:lnTo>
                    <a:pt x="397" y="901"/>
                  </a:lnTo>
                  <a:lnTo>
                    <a:pt x="452" y="899"/>
                  </a:lnTo>
                  <a:lnTo>
                    <a:pt x="497" y="869"/>
                  </a:lnTo>
                  <a:lnTo>
                    <a:pt x="495" y="792"/>
                  </a:lnTo>
                  <a:lnTo>
                    <a:pt x="558" y="704"/>
                  </a:lnTo>
                  <a:lnTo>
                    <a:pt x="558" y="558"/>
                  </a:lnTo>
                  <a:lnTo>
                    <a:pt x="532" y="508"/>
                  </a:lnTo>
                  <a:lnTo>
                    <a:pt x="524" y="352"/>
                  </a:lnTo>
                  <a:lnTo>
                    <a:pt x="506" y="323"/>
                  </a:lnTo>
                  <a:lnTo>
                    <a:pt x="472" y="297"/>
                  </a:lnTo>
                  <a:lnTo>
                    <a:pt x="467" y="201"/>
                  </a:lnTo>
                  <a:lnTo>
                    <a:pt x="482" y="157"/>
                  </a:lnTo>
                  <a:lnTo>
                    <a:pt x="462" y="86"/>
                  </a:lnTo>
                  <a:lnTo>
                    <a:pt x="449" y="29"/>
                  </a:lnTo>
                  <a:lnTo>
                    <a:pt x="438" y="13"/>
                  </a:lnTo>
                  <a:lnTo>
                    <a:pt x="415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2B</a:t>
              </a:r>
            </a:p>
          </p:txBody>
        </p:sp>
        <p:sp>
          <p:nvSpPr>
            <p:cNvPr id="108" name="FR-13">
              <a:extLst>
                <a:ext uri="{FF2B5EF4-FFF2-40B4-BE49-F238E27FC236}">
                  <a16:creationId xmlns:a16="http://schemas.microsoft.com/office/drawing/2014/main" id="{AB5671C8-0BB7-4D96-A9F1-8A9D2F3C784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537272" y="5123425"/>
              <a:ext cx="825842" cy="538760"/>
            </a:xfrm>
            <a:custGeom>
              <a:avLst/>
              <a:gdLst>
                <a:gd name="T0" fmla="*/ 280 w 850"/>
                <a:gd name="T1" fmla="*/ 0 h 569"/>
                <a:gd name="T2" fmla="*/ 207 w 850"/>
                <a:gd name="T3" fmla="*/ 42 h 569"/>
                <a:gd name="T4" fmla="*/ 188 w 850"/>
                <a:gd name="T5" fmla="*/ 182 h 569"/>
                <a:gd name="T6" fmla="*/ 111 w 850"/>
                <a:gd name="T7" fmla="*/ 171 h 569"/>
                <a:gd name="T8" fmla="*/ 89 w 850"/>
                <a:gd name="T9" fmla="*/ 230 h 569"/>
                <a:gd name="T10" fmla="*/ 107 w 850"/>
                <a:gd name="T11" fmla="*/ 256 h 569"/>
                <a:gd name="T12" fmla="*/ 23 w 850"/>
                <a:gd name="T13" fmla="*/ 308 h 569"/>
                <a:gd name="T14" fmla="*/ 0 w 850"/>
                <a:gd name="T15" fmla="*/ 362 h 569"/>
                <a:gd name="T16" fmla="*/ 82 w 850"/>
                <a:gd name="T17" fmla="*/ 365 h 569"/>
                <a:gd name="T18" fmla="*/ 192 w 850"/>
                <a:gd name="T19" fmla="*/ 373 h 569"/>
                <a:gd name="T20" fmla="*/ 212 w 850"/>
                <a:gd name="T21" fmla="*/ 394 h 569"/>
                <a:gd name="T22" fmla="*/ 173 w 850"/>
                <a:gd name="T23" fmla="*/ 394 h 569"/>
                <a:gd name="T24" fmla="*/ 147 w 850"/>
                <a:gd name="T25" fmla="*/ 438 h 569"/>
                <a:gd name="T26" fmla="*/ 259 w 850"/>
                <a:gd name="T27" fmla="*/ 462 h 569"/>
                <a:gd name="T28" fmla="*/ 348 w 850"/>
                <a:gd name="T29" fmla="*/ 446 h 569"/>
                <a:gd name="T30" fmla="*/ 301 w 850"/>
                <a:gd name="T31" fmla="*/ 402 h 569"/>
                <a:gd name="T32" fmla="*/ 332 w 850"/>
                <a:gd name="T33" fmla="*/ 376 h 569"/>
                <a:gd name="T34" fmla="*/ 382 w 850"/>
                <a:gd name="T35" fmla="*/ 397 h 569"/>
                <a:gd name="T36" fmla="*/ 405 w 850"/>
                <a:gd name="T37" fmla="*/ 446 h 569"/>
                <a:gd name="T38" fmla="*/ 554 w 850"/>
                <a:gd name="T39" fmla="*/ 449 h 569"/>
                <a:gd name="T40" fmla="*/ 592 w 850"/>
                <a:gd name="T41" fmla="*/ 433 h 569"/>
                <a:gd name="T42" fmla="*/ 600 w 850"/>
                <a:gd name="T43" fmla="*/ 457 h 569"/>
                <a:gd name="T44" fmla="*/ 559 w 850"/>
                <a:gd name="T45" fmla="*/ 493 h 569"/>
                <a:gd name="T46" fmla="*/ 616 w 850"/>
                <a:gd name="T47" fmla="*/ 495 h 569"/>
                <a:gd name="T48" fmla="*/ 606 w 850"/>
                <a:gd name="T49" fmla="*/ 522 h 569"/>
                <a:gd name="T50" fmla="*/ 590 w 850"/>
                <a:gd name="T51" fmla="*/ 540 h 569"/>
                <a:gd name="T52" fmla="*/ 717 w 850"/>
                <a:gd name="T53" fmla="*/ 540 h 569"/>
                <a:gd name="T54" fmla="*/ 780 w 850"/>
                <a:gd name="T55" fmla="*/ 561 h 569"/>
                <a:gd name="T56" fmla="*/ 786 w 850"/>
                <a:gd name="T57" fmla="*/ 569 h 569"/>
                <a:gd name="T58" fmla="*/ 789 w 850"/>
                <a:gd name="T59" fmla="*/ 518 h 569"/>
                <a:gd name="T60" fmla="*/ 807 w 850"/>
                <a:gd name="T61" fmla="*/ 496 h 569"/>
                <a:gd name="T62" fmla="*/ 831 w 850"/>
                <a:gd name="T63" fmla="*/ 482 h 569"/>
                <a:gd name="T64" fmla="*/ 829 w 850"/>
                <a:gd name="T65" fmla="*/ 468 h 569"/>
                <a:gd name="T66" fmla="*/ 810 w 850"/>
                <a:gd name="T67" fmla="*/ 449 h 569"/>
                <a:gd name="T68" fmla="*/ 791 w 850"/>
                <a:gd name="T69" fmla="*/ 449 h 569"/>
                <a:gd name="T70" fmla="*/ 779 w 850"/>
                <a:gd name="T71" fmla="*/ 435 h 569"/>
                <a:gd name="T72" fmla="*/ 800 w 850"/>
                <a:gd name="T73" fmla="*/ 416 h 569"/>
                <a:gd name="T74" fmla="*/ 800 w 850"/>
                <a:gd name="T75" fmla="*/ 409 h 569"/>
                <a:gd name="T76" fmla="*/ 777 w 850"/>
                <a:gd name="T77" fmla="*/ 397 h 569"/>
                <a:gd name="T78" fmla="*/ 777 w 850"/>
                <a:gd name="T79" fmla="*/ 378 h 569"/>
                <a:gd name="T80" fmla="*/ 829 w 850"/>
                <a:gd name="T81" fmla="*/ 381 h 569"/>
                <a:gd name="T82" fmla="*/ 841 w 850"/>
                <a:gd name="T83" fmla="*/ 371 h 569"/>
                <a:gd name="T84" fmla="*/ 796 w 850"/>
                <a:gd name="T85" fmla="*/ 329 h 569"/>
                <a:gd name="T86" fmla="*/ 798 w 850"/>
                <a:gd name="T87" fmla="*/ 279 h 569"/>
                <a:gd name="T88" fmla="*/ 770 w 850"/>
                <a:gd name="T89" fmla="*/ 256 h 569"/>
                <a:gd name="T90" fmla="*/ 793 w 850"/>
                <a:gd name="T91" fmla="*/ 209 h 569"/>
                <a:gd name="T92" fmla="*/ 850 w 850"/>
                <a:gd name="T93" fmla="*/ 171 h 569"/>
                <a:gd name="T94" fmla="*/ 807 w 850"/>
                <a:gd name="T95" fmla="*/ 143 h 569"/>
                <a:gd name="T96" fmla="*/ 777 w 850"/>
                <a:gd name="T97" fmla="*/ 166 h 569"/>
                <a:gd name="T98" fmla="*/ 706 w 850"/>
                <a:gd name="T99" fmla="*/ 183 h 569"/>
                <a:gd name="T100" fmla="*/ 650 w 850"/>
                <a:gd name="T101" fmla="*/ 175 h 569"/>
                <a:gd name="T102" fmla="*/ 548 w 850"/>
                <a:gd name="T103" fmla="*/ 133 h 569"/>
                <a:gd name="T104" fmla="*/ 487 w 850"/>
                <a:gd name="T105" fmla="*/ 135 h 569"/>
                <a:gd name="T106" fmla="*/ 435 w 850"/>
                <a:gd name="T107" fmla="*/ 112 h 569"/>
                <a:gd name="T108" fmla="*/ 416 w 850"/>
                <a:gd name="T109" fmla="*/ 86 h 569"/>
                <a:gd name="T110" fmla="*/ 376 w 850"/>
                <a:gd name="T111" fmla="*/ 41 h 569"/>
                <a:gd name="T112" fmla="*/ 282 w 850"/>
                <a:gd name="T113" fmla="*/ 1 h 569"/>
                <a:gd name="T114" fmla="*/ 280 w 850"/>
                <a:gd name="T115" fmla="*/ 0 h 56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50"/>
                <a:gd name="T175" fmla="*/ 0 h 569"/>
                <a:gd name="T176" fmla="*/ 850 w 850"/>
                <a:gd name="T177" fmla="*/ 569 h 569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50" h="569">
                  <a:moveTo>
                    <a:pt x="280" y="0"/>
                  </a:moveTo>
                  <a:lnTo>
                    <a:pt x="207" y="42"/>
                  </a:lnTo>
                  <a:lnTo>
                    <a:pt x="188" y="182"/>
                  </a:lnTo>
                  <a:lnTo>
                    <a:pt x="111" y="171"/>
                  </a:lnTo>
                  <a:lnTo>
                    <a:pt x="89" y="230"/>
                  </a:lnTo>
                  <a:lnTo>
                    <a:pt x="107" y="256"/>
                  </a:lnTo>
                  <a:lnTo>
                    <a:pt x="23" y="308"/>
                  </a:lnTo>
                  <a:lnTo>
                    <a:pt x="0" y="362"/>
                  </a:lnTo>
                  <a:lnTo>
                    <a:pt x="82" y="365"/>
                  </a:lnTo>
                  <a:lnTo>
                    <a:pt x="192" y="373"/>
                  </a:lnTo>
                  <a:lnTo>
                    <a:pt x="212" y="394"/>
                  </a:lnTo>
                  <a:lnTo>
                    <a:pt x="173" y="394"/>
                  </a:lnTo>
                  <a:lnTo>
                    <a:pt x="147" y="438"/>
                  </a:lnTo>
                  <a:lnTo>
                    <a:pt x="259" y="462"/>
                  </a:lnTo>
                  <a:lnTo>
                    <a:pt x="348" y="446"/>
                  </a:lnTo>
                  <a:lnTo>
                    <a:pt x="301" y="402"/>
                  </a:lnTo>
                  <a:lnTo>
                    <a:pt x="332" y="376"/>
                  </a:lnTo>
                  <a:lnTo>
                    <a:pt x="382" y="397"/>
                  </a:lnTo>
                  <a:lnTo>
                    <a:pt x="405" y="446"/>
                  </a:lnTo>
                  <a:lnTo>
                    <a:pt x="554" y="449"/>
                  </a:lnTo>
                  <a:lnTo>
                    <a:pt x="592" y="433"/>
                  </a:lnTo>
                  <a:lnTo>
                    <a:pt x="600" y="457"/>
                  </a:lnTo>
                  <a:lnTo>
                    <a:pt x="559" y="493"/>
                  </a:lnTo>
                  <a:lnTo>
                    <a:pt x="616" y="495"/>
                  </a:lnTo>
                  <a:lnTo>
                    <a:pt x="606" y="522"/>
                  </a:lnTo>
                  <a:lnTo>
                    <a:pt x="590" y="540"/>
                  </a:lnTo>
                  <a:lnTo>
                    <a:pt x="717" y="540"/>
                  </a:lnTo>
                  <a:lnTo>
                    <a:pt x="780" y="561"/>
                  </a:lnTo>
                  <a:lnTo>
                    <a:pt x="786" y="569"/>
                  </a:lnTo>
                  <a:lnTo>
                    <a:pt x="789" y="518"/>
                  </a:lnTo>
                  <a:lnTo>
                    <a:pt x="807" y="496"/>
                  </a:lnTo>
                  <a:lnTo>
                    <a:pt x="831" y="482"/>
                  </a:lnTo>
                  <a:lnTo>
                    <a:pt x="829" y="468"/>
                  </a:lnTo>
                  <a:lnTo>
                    <a:pt x="810" y="449"/>
                  </a:lnTo>
                  <a:lnTo>
                    <a:pt x="791" y="449"/>
                  </a:lnTo>
                  <a:lnTo>
                    <a:pt x="779" y="435"/>
                  </a:lnTo>
                  <a:lnTo>
                    <a:pt x="800" y="416"/>
                  </a:lnTo>
                  <a:lnTo>
                    <a:pt x="800" y="409"/>
                  </a:lnTo>
                  <a:lnTo>
                    <a:pt x="777" y="397"/>
                  </a:lnTo>
                  <a:lnTo>
                    <a:pt x="777" y="378"/>
                  </a:lnTo>
                  <a:lnTo>
                    <a:pt x="829" y="381"/>
                  </a:lnTo>
                  <a:lnTo>
                    <a:pt x="841" y="371"/>
                  </a:lnTo>
                  <a:lnTo>
                    <a:pt x="796" y="329"/>
                  </a:lnTo>
                  <a:lnTo>
                    <a:pt x="798" y="279"/>
                  </a:lnTo>
                  <a:lnTo>
                    <a:pt x="770" y="256"/>
                  </a:lnTo>
                  <a:lnTo>
                    <a:pt x="793" y="209"/>
                  </a:lnTo>
                  <a:lnTo>
                    <a:pt x="850" y="171"/>
                  </a:lnTo>
                  <a:lnTo>
                    <a:pt x="807" y="143"/>
                  </a:lnTo>
                  <a:lnTo>
                    <a:pt x="777" y="166"/>
                  </a:lnTo>
                  <a:lnTo>
                    <a:pt x="706" y="183"/>
                  </a:lnTo>
                  <a:lnTo>
                    <a:pt x="650" y="175"/>
                  </a:lnTo>
                  <a:lnTo>
                    <a:pt x="548" y="133"/>
                  </a:lnTo>
                  <a:lnTo>
                    <a:pt x="487" y="135"/>
                  </a:lnTo>
                  <a:lnTo>
                    <a:pt x="435" y="112"/>
                  </a:lnTo>
                  <a:lnTo>
                    <a:pt x="416" y="86"/>
                  </a:lnTo>
                  <a:lnTo>
                    <a:pt x="376" y="41"/>
                  </a:lnTo>
                  <a:lnTo>
                    <a:pt x="282" y="1"/>
                  </a:lnTo>
                  <a:lnTo>
                    <a:pt x="280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13</a:t>
              </a:r>
            </a:p>
          </p:txBody>
        </p:sp>
        <p:sp>
          <p:nvSpPr>
            <p:cNvPr id="109" name="FR-84">
              <a:extLst>
                <a:ext uri="{FF2B5EF4-FFF2-40B4-BE49-F238E27FC236}">
                  <a16:creationId xmlns:a16="http://schemas.microsoft.com/office/drawing/2014/main" id="{B5A4DC8E-B486-4B16-8D69-978B5FAAC38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713128" y="4763621"/>
              <a:ext cx="611123" cy="533079"/>
            </a:xfrm>
            <a:custGeom>
              <a:avLst/>
              <a:gdLst>
                <a:gd name="T0" fmla="*/ 196 w 629"/>
                <a:gd name="T1" fmla="*/ 0 h 563"/>
                <a:gd name="T2" fmla="*/ 159 w 629"/>
                <a:gd name="T3" fmla="*/ 3 h 563"/>
                <a:gd name="T4" fmla="*/ 131 w 629"/>
                <a:gd name="T5" fmla="*/ 47 h 563"/>
                <a:gd name="T6" fmla="*/ 139 w 629"/>
                <a:gd name="T7" fmla="*/ 93 h 563"/>
                <a:gd name="T8" fmla="*/ 183 w 629"/>
                <a:gd name="T9" fmla="*/ 99 h 563"/>
                <a:gd name="T10" fmla="*/ 175 w 629"/>
                <a:gd name="T11" fmla="*/ 120 h 563"/>
                <a:gd name="T12" fmla="*/ 141 w 629"/>
                <a:gd name="T13" fmla="*/ 122 h 563"/>
                <a:gd name="T14" fmla="*/ 102 w 629"/>
                <a:gd name="T15" fmla="*/ 161 h 563"/>
                <a:gd name="T16" fmla="*/ 92 w 629"/>
                <a:gd name="T17" fmla="*/ 148 h 563"/>
                <a:gd name="T18" fmla="*/ 99 w 629"/>
                <a:gd name="T19" fmla="*/ 96 h 563"/>
                <a:gd name="T20" fmla="*/ 84 w 629"/>
                <a:gd name="T21" fmla="*/ 78 h 563"/>
                <a:gd name="T22" fmla="*/ 14 w 629"/>
                <a:gd name="T23" fmla="*/ 88 h 563"/>
                <a:gd name="T24" fmla="*/ 0 w 629"/>
                <a:gd name="T25" fmla="*/ 116 h 563"/>
                <a:gd name="T26" fmla="*/ 7 w 629"/>
                <a:gd name="T27" fmla="*/ 120 h 563"/>
                <a:gd name="T28" fmla="*/ 51 w 629"/>
                <a:gd name="T29" fmla="*/ 194 h 563"/>
                <a:gd name="T30" fmla="*/ 51 w 629"/>
                <a:gd name="T31" fmla="*/ 253 h 563"/>
                <a:gd name="T32" fmla="*/ 129 w 629"/>
                <a:gd name="T33" fmla="*/ 330 h 563"/>
                <a:gd name="T34" fmla="*/ 129 w 629"/>
                <a:gd name="T35" fmla="*/ 363 h 563"/>
                <a:gd name="T36" fmla="*/ 99 w 629"/>
                <a:gd name="T37" fmla="*/ 380 h 563"/>
                <a:gd name="T38" fmla="*/ 101 w 629"/>
                <a:gd name="T39" fmla="*/ 381 h 563"/>
                <a:gd name="T40" fmla="*/ 195 w 629"/>
                <a:gd name="T41" fmla="*/ 421 h 563"/>
                <a:gd name="T42" fmla="*/ 235 w 629"/>
                <a:gd name="T43" fmla="*/ 466 h 563"/>
                <a:gd name="T44" fmla="*/ 254 w 629"/>
                <a:gd name="T45" fmla="*/ 492 h 563"/>
                <a:gd name="T46" fmla="*/ 306 w 629"/>
                <a:gd name="T47" fmla="*/ 515 h 563"/>
                <a:gd name="T48" fmla="*/ 367 w 629"/>
                <a:gd name="T49" fmla="*/ 513 h 563"/>
                <a:gd name="T50" fmla="*/ 469 w 629"/>
                <a:gd name="T51" fmla="*/ 555 h 563"/>
                <a:gd name="T52" fmla="*/ 525 w 629"/>
                <a:gd name="T53" fmla="*/ 563 h 563"/>
                <a:gd name="T54" fmla="*/ 596 w 629"/>
                <a:gd name="T55" fmla="*/ 546 h 563"/>
                <a:gd name="T56" fmla="*/ 625 w 629"/>
                <a:gd name="T57" fmla="*/ 523 h 563"/>
                <a:gd name="T58" fmla="*/ 629 w 629"/>
                <a:gd name="T59" fmla="*/ 504 h 563"/>
                <a:gd name="T60" fmla="*/ 575 w 629"/>
                <a:gd name="T61" fmla="*/ 443 h 563"/>
                <a:gd name="T62" fmla="*/ 516 w 629"/>
                <a:gd name="T63" fmla="*/ 443 h 563"/>
                <a:gd name="T64" fmla="*/ 516 w 629"/>
                <a:gd name="T65" fmla="*/ 421 h 563"/>
                <a:gd name="T66" fmla="*/ 537 w 629"/>
                <a:gd name="T67" fmla="*/ 398 h 563"/>
                <a:gd name="T68" fmla="*/ 537 w 629"/>
                <a:gd name="T69" fmla="*/ 372 h 563"/>
                <a:gd name="T70" fmla="*/ 490 w 629"/>
                <a:gd name="T71" fmla="*/ 348 h 563"/>
                <a:gd name="T72" fmla="*/ 485 w 629"/>
                <a:gd name="T73" fmla="*/ 310 h 563"/>
                <a:gd name="T74" fmla="*/ 511 w 629"/>
                <a:gd name="T75" fmla="*/ 299 h 563"/>
                <a:gd name="T76" fmla="*/ 511 w 629"/>
                <a:gd name="T77" fmla="*/ 266 h 563"/>
                <a:gd name="T78" fmla="*/ 483 w 629"/>
                <a:gd name="T79" fmla="*/ 261 h 563"/>
                <a:gd name="T80" fmla="*/ 481 w 629"/>
                <a:gd name="T81" fmla="*/ 225 h 563"/>
                <a:gd name="T82" fmla="*/ 480 w 629"/>
                <a:gd name="T83" fmla="*/ 223 h 563"/>
                <a:gd name="T84" fmla="*/ 456 w 629"/>
                <a:gd name="T85" fmla="*/ 221 h 563"/>
                <a:gd name="T86" fmla="*/ 417 w 629"/>
                <a:gd name="T87" fmla="*/ 193 h 563"/>
                <a:gd name="T88" fmla="*/ 407 w 629"/>
                <a:gd name="T89" fmla="*/ 159 h 563"/>
                <a:gd name="T90" fmla="*/ 334 w 629"/>
                <a:gd name="T91" fmla="*/ 153 h 563"/>
                <a:gd name="T92" fmla="*/ 279 w 629"/>
                <a:gd name="T93" fmla="*/ 148 h 563"/>
                <a:gd name="T94" fmla="*/ 274 w 629"/>
                <a:gd name="T95" fmla="*/ 117 h 563"/>
                <a:gd name="T96" fmla="*/ 292 w 629"/>
                <a:gd name="T97" fmla="*/ 78 h 563"/>
                <a:gd name="T98" fmla="*/ 259 w 629"/>
                <a:gd name="T99" fmla="*/ 107 h 563"/>
                <a:gd name="T100" fmla="*/ 206 w 629"/>
                <a:gd name="T101" fmla="*/ 101 h 563"/>
                <a:gd name="T102" fmla="*/ 196 w 629"/>
                <a:gd name="T103" fmla="*/ 83 h 563"/>
                <a:gd name="T104" fmla="*/ 232 w 629"/>
                <a:gd name="T105" fmla="*/ 34 h 563"/>
                <a:gd name="T106" fmla="*/ 196 w 629"/>
                <a:gd name="T107" fmla="*/ 0 h 563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9"/>
                <a:gd name="T163" fmla="*/ 0 h 563"/>
                <a:gd name="T164" fmla="*/ 629 w 629"/>
                <a:gd name="T165" fmla="*/ 563 h 563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9" h="563">
                  <a:moveTo>
                    <a:pt x="196" y="0"/>
                  </a:moveTo>
                  <a:lnTo>
                    <a:pt x="159" y="3"/>
                  </a:lnTo>
                  <a:lnTo>
                    <a:pt x="131" y="47"/>
                  </a:lnTo>
                  <a:lnTo>
                    <a:pt x="139" y="93"/>
                  </a:lnTo>
                  <a:lnTo>
                    <a:pt x="183" y="99"/>
                  </a:lnTo>
                  <a:lnTo>
                    <a:pt x="175" y="120"/>
                  </a:lnTo>
                  <a:lnTo>
                    <a:pt x="141" y="122"/>
                  </a:lnTo>
                  <a:lnTo>
                    <a:pt x="102" y="161"/>
                  </a:lnTo>
                  <a:lnTo>
                    <a:pt x="92" y="148"/>
                  </a:lnTo>
                  <a:lnTo>
                    <a:pt x="99" y="96"/>
                  </a:lnTo>
                  <a:lnTo>
                    <a:pt x="84" y="78"/>
                  </a:lnTo>
                  <a:lnTo>
                    <a:pt x="14" y="88"/>
                  </a:lnTo>
                  <a:lnTo>
                    <a:pt x="0" y="116"/>
                  </a:lnTo>
                  <a:lnTo>
                    <a:pt x="7" y="120"/>
                  </a:lnTo>
                  <a:lnTo>
                    <a:pt x="51" y="194"/>
                  </a:lnTo>
                  <a:lnTo>
                    <a:pt x="51" y="253"/>
                  </a:lnTo>
                  <a:lnTo>
                    <a:pt x="129" y="330"/>
                  </a:lnTo>
                  <a:lnTo>
                    <a:pt x="129" y="363"/>
                  </a:lnTo>
                  <a:lnTo>
                    <a:pt x="99" y="380"/>
                  </a:lnTo>
                  <a:lnTo>
                    <a:pt x="101" y="381"/>
                  </a:lnTo>
                  <a:lnTo>
                    <a:pt x="195" y="421"/>
                  </a:lnTo>
                  <a:lnTo>
                    <a:pt x="235" y="466"/>
                  </a:lnTo>
                  <a:lnTo>
                    <a:pt x="254" y="492"/>
                  </a:lnTo>
                  <a:lnTo>
                    <a:pt x="306" y="515"/>
                  </a:lnTo>
                  <a:lnTo>
                    <a:pt x="367" y="513"/>
                  </a:lnTo>
                  <a:lnTo>
                    <a:pt x="469" y="555"/>
                  </a:lnTo>
                  <a:lnTo>
                    <a:pt x="525" y="563"/>
                  </a:lnTo>
                  <a:lnTo>
                    <a:pt x="596" y="546"/>
                  </a:lnTo>
                  <a:lnTo>
                    <a:pt x="625" y="523"/>
                  </a:lnTo>
                  <a:lnTo>
                    <a:pt x="629" y="504"/>
                  </a:lnTo>
                  <a:lnTo>
                    <a:pt x="575" y="443"/>
                  </a:lnTo>
                  <a:lnTo>
                    <a:pt x="516" y="443"/>
                  </a:lnTo>
                  <a:lnTo>
                    <a:pt x="516" y="421"/>
                  </a:lnTo>
                  <a:lnTo>
                    <a:pt x="537" y="398"/>
                  </a:lnTo>
                  <a:lnTo>
                    <a:pt x="537" y="372"/>
                  </a:lnTo>
                  <a:lnTo>
                    <a:pt x="490" y="348"/>
                  </a:lnTo>
                  <a:lnTo>
                    <a:pt x="485" y="310"/>
                  </a:lnTo>
                  <a:lnTo>
                    <a:pt x="511" y="299"/>
                  </a:lnTo>
                  <a:lnTo>
                    <a:pt x="511" y="266"/>
                  </a:lnTo>
                  <a:lnTo>
                    <a:pt x="483" y="261"/>
                  </a:lnTo>
                  <a:lnTo>
                    <a:pt x="481" y="225"/>
                  </a:lnTo>
                  <a:lnTo>
                    <a:pt x="480" y="223"/>
                  </a:lnTo>
                  <a:lnTo>
                    <a:pt x="456" y="221"/>
                  </a:lnTo>
                  <a:lnTo>
                    <a:pt x="417" y="193"/>
                  </a:lnTo>
                  <a:lnTo>
                    <a:pt x="407" y="159"/>
                  </a:lnTo>
                  <a:lnTo>
                    <a:pt x="334" y="153"/>
                  </a:lnTo>
                  <a:lnTo>
                    <a:pt x="279" y="148"/>
                  </a:lnTo>
                  <a:lnTo>
                    <a:pt x="274" y="117"/>
                  </a:lnTo>
                  <a:lnTo>
                    <a:pt x="292" y="78"/>
                  </a:lnTo>
                  <a:lnTo>
                    <a:pt x="259" y="107"/>
                  </a:lnTo>
                  <a:lnTo>
                    <a:pt x="206" y="101"/>
                  </a:lnTo>
                  <a:lnTo>
                    <a:pt x="196" y="83"/>
                  </a:lnTo>
                  <a:lnTo>
                    <a:pt x="232" y="34"/>
                  </a:lnTo>
                  <a:lnTo>
                    <a:pt x="196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84</a:t>
              </a:r>
            </a:p>
          </p:txBody>
        </p:sp>
        <p:sp>
          <p:nvSpPr>
            <p:cNvPr id="110" name="FR-83">
              <a:extLst>
                <a:ext uri="{FF2B5EF4-FFF2-40B4-BE49-F238E27FC236}">
                  <a16:creationId xmlns:a16="http://schemas.microsoft.com/office/drawing/2014/main" id="{5D9FBD87-C371-41FE-B5F4-B6BCFA49A6C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285388" y="5165086"/>
              <a:ext cx="683020" cy="580421"/>
            </a:xfrm>
            <a:custGeom>
              <a:avLst/>
              <a:gdLst>
                <a:gd name="T0" fmla="*/ 511 w 703"/>
                <a:gd name="T1" fmla="*/ 2 h 613"/>
                <a:gd name="T2" fmla="*/ 422 w 703"/>
                <a:gd name="T3" fmla="*/ 19 h 613"/>
                <a:gd name="T4" fmla="*/ 318 w 703"/>
                <a:gd name="T5" fmla="*/ 35 h 613"/>
                <a:gd name="T6" fmla="*/ 240 w 703"/>
                <a:gd name="T7" fmla="*/ 80 h 613"/>
                <a:gd name="T8" fmla="*/ 108 w 703"/>
                <a:gd name="T9" fmla="*/ 59 h 613"/>
                <a:gd name="T10" fmla="*/ 36 w 703"/>
                <a:gd name="T11" fmla="*/ 99 h 613"/>
                <a:gd name="T12" fmla="*/ 80 w 703"/>
                <a:gd name="T13" fmla="*/ 127 h 613"/>
                <a:gd name="T14" fmla="*/ 0 w 703"/>
                <a:gd name="T15" fmla="*/ 212 h 613"/>
                <a:gd name="T16" fmla="*/ 26 w 703"/>
                <a:gd name="T17" fmla="*/ 285 h 613"/>
                <a:gd name="T18" fmla="*/ 59 w 703"/>
                <a:gd name="T19" fmla="*/ 337 h 613"/>
                <a:gd name="T20" fmla="*/ 7 w 703"/>
                <a:gd name="T21" fmla="*/ 353 h 613"/>
                <a:gd name="T22" fmla="*/ 30 w 703"/>
                <a:gd name="T23" fmla="*/ 372 h 613"/>
                <a:gd name="T24" fmla="*/ 21 w 703"/>
                <a:gd name="T25" fmla="*/ 405 h 613"/>
                <a:gd name="T26" fmla="*/ 59 w 703"/>
                <a:gd name="T27" fmla="*/ 424 h 613"/>
                <a:gd name="T28" fmla="*/ 37 w 703"/>
                <a:gd name="T29" fmla="*/ 452 h 613"/>
                <a:gd name="T30" fmla="*/ 16 w 703"/>
                <a:gd name="T31" fmla="*/ 525 h 613"/>
                <a:gd name="T32" fmla="*/ 70 w 703"/>
                <a:gd name="T33" fmla="*/ 556 h 613"/>
                <a:gd name="T34" fmla="*/ 112 w 703"/>
                <a:gd name="T35" fmla="*/ 613 h 613"/>
                <a:gd name="T36" fmla="*/ 185 w 703"/>
                <a:gd name="T37" fmla="*/ 566 h 613"/>
                <a:gd name="T38" fmla="*/ 263 w 703"/>
                <a:gd name="T39" fmla="*/ 595 h 613"/>
                <a:gd name="T40" fmla="*/ 299 w 703"/>
                <a:gd name="T41" fmla="*/ 611 h 613"/>
                <a:gd name="T42" fmla="*/ 278 w 703"/>
                <a:gd name="T43" fmla="*/ 561 h 613"/>
                <a:gd name="T44" fmla="*/ 351 w 703"/>
                <a:gd name="T45" fmla="*/ 551 h 613"/>
                <a:gd name="T46" fmla="*/ 380 w 703"/>
                <a:gd name="T47" fmla="*/ 571 h 613"/>
                <a:gd name="T48" fmla="*/ 403 w 703"/>
                <a:gd name="T49" fmla="*/ 524 h 613"/>
                <a:gd name="T50" fmla="*/ 479 w 703"/>
                <a:gd name="T51" fmla="*/ 506 h 613"/>
                <a:gd name="T52" fmla="*/ 531 w 703"/>
                <a:gd name="T53" fmla="*/ 493 h 613"/>
                <a:gd name="T54" fmla="*/ 572 w 703"/>
                <a:gd name="T55" fmla="*/ 407 h 613"/>
                <a:gd name="T56" fmla="*/ 560 w 703"/>
                <a:gd name="T57" fmla="*/ 384 h 613"/>
                <a:gd name="T58" fmla="*/ 586 w 703"/>
                <a:gd name="T59" fmla="*/ 314 h 613"/>
                <a:gd name="T60" fmla="*/ 703 w 703"/>
                <a:gd name="T61" fmla="*/ 256 h 613"/>
                <a:gd name="T62" fmla="*/ 674 w 703"/>
                <a:gd name="T63" fmla="*/ 209 h 613"/>
                <a:gd name="T64" fmla="*/ 679 w 703"/>
                <a:gd name="T65" fmla="*/ 179 h 613"/>
                <a:gd name="T66" fmla="*/ 643 w 703"/>
                <a:gd name="T67" fmla="*/ 141 h 613"/>
                <a:gd name="T68" fmla="*/ 599 w 703"/>
                <a:gd name="T69" fmla="*/ 113 h 613"/>
                <a:gd name="T70" fmla="*/ 563 w 703"/>
                <a:gd name="T71" fmla="*/ 49 h 613"/>
                <a:gd name="T72" fmla="*/ 521 w 703"/>
                <a:gd name="T73" fmla="*/ 19 h 613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703"/>
                <a:gd name="T112" fmla="*/ 0 h 613"/>
                <a:gd name="T113" fmla="*/ 703 w 703"/>
                <a:gd name="T114" fmla="*/ 613 h 613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703" h="613">
                  <a:moveTo>
                    <a:pt x="551" y="0"/>
                  </a:moveTo>
                  <a:lnTo>
                    <a:pt x="511" y="2"/>
                  </a:lnTo>
                  <a:lnTo>
                    <a:pt x="492" y="21"/>
                  </a:lnTo>
                  <a:lnTo>
                    <a:pt x="422" y="19"/>
                  </a:lnTo>
                  <a:lnTo>
                    <a:pt x="360" y="63"/>
                  </a:lnTo>
                  <a:lnTo>
                    <a:pt x="318" y="35"/>
                  </a:lnTo>
                  <a:lnTo>
                    <a:pt x="252" y="56"/>
                  </a:lnTo>
                  <a:lnTo>
                    <a:pt x="240" y="80"/>
                  </a:lnTo>
                  <a:lnTo>
                    <a:pt x="193" y="115"/>
                  </a:lnTo>
                  <a:lnTo>
                    <a:pt x="108" y="59"/>
                  </a:lnTo>
                  <a:lnTo>
                    <a:pt x="40" y="81"/>
                  </a:lnTo>
                  <a:lnTo>
                    <a:pt x="36" y="99"/>
                  </a:lnTo>
                  <a:lnTo>
                    <a:pt x="37" y="99"/>
                  </a:lnTo>
                  <a:lnTo>
                    <a:pt x="80" y="127"/>
                  </a:lnTo>
                  <a:lnTo>
                    <a:pt x="23" y="165"/>
                  </a:lnTo>
                  <a:lnTo>
                    <a:pt x="0" y="212"/>
                  </a:lnTo>
                  <a:lnTo>
                    <a:pt x="28" y="235"/>
                  </a:lnTo>
                  <a:lnTo>
                    <a:pt x="26" y="285"/>
                  </a:lnTo>
                  <a:lnTo>
                    <a:pt x="71" y="327"/>
                  </a:lnTo>
                  <a:lnTo>
                    <a:pt x="59" y="337"/>
                  </a:lnTo>
                  <a:lnTo>
                    <a:pt x="7" y="334"/>
                  </a:lnTo>
                  <a:lnTo>
                    <a:pt x="7" y="353"/>
                  </a:lnTo>
                  <a:lnTo>
                    <a:pt x="30" y="365"/>
                  </a:lnTo>
                  <a:lnTo>
                    <a:pt x="30" y="372"/>
                  </a:lnTo>
                  <a:lnTo>
                    <a:pt x="9" y="391"/>
                  </a:lnTo>
                  <a:lnTo>
                    <a:pt x="21" y="405"/>
                  </a:lnTo>
                  <a:lnTo>
                    <a:pt x="40" y="405"/>
                  </a:lnTo>
                  <a:lnTo>
                    <a:pt x="59" y="424"/>
                  </a:lnTo>
                  <a:lnTo>
                    <a:pt x="61" y="438"/>
                  </a:lnTo>
                  <a:lnTo>
                    <a:pt x="37" y="452"/>
                  </a:lnTo>
                  <a:lnTo>
                    <a:pt x="19" y="474"/>
                  </a:lnTo>
                  <a:lnTo>
                    <a:pt x="16" y="525"/>
                  </a:lnTo>
                  <a:lnTo>
                    <a:pt x="23" y="535"/>
                  </a:lnTo>
                  <a:lnTo>
                    <a:pt x="70" y="556"/>
                  </a:lnTo>
                  <a:lnTo>
                    <a:pt x="83" y="608"/>
                  </a:lnTo>
                  <a:lnTo>
                    <a:pt x="112" y="613"/>
                  </a:lnTo>
                  <a:lnTo>
                    <a:pt x="138" y="595"/>
                  </a:lnTo>
                  <a:lnTo>
                    <a:pt x="185" y="566"/>
                  </a:lnTo>
                  <a:lnTo>
                    <a:pt x="265" y="574"/>
                  </a:lnTo>
                  <a:lnTo>
                    <a:pt x="263" y="595"/>
                  </a:lnTo>
                  <a:lnTo>
                    <a:pt x="237" y="608"/>
                  </a:lnTo>
                  <a:lnTo>
                    <a:pt x="299" y="611"/>
                  </a:lnTo>
                  <a:lnTo>
                    <a:pt x="284" y="595"/>
                  </a:lnTo>
                  <a:lnTo>
                    <a:pt x="278" y="561"/>
                  </a:lnTo>
                  <a:lnTo>
                    <a:pt x="312" y="538"/>
                  </a:lnTo>
                  <a:lnTo>
                    <a:pt x="351" y="551"/>
                  </a:lnTo>
                  <a:lnTo>
                    <a:pt x="367" y="556"/>
                  </a:lnTo>
                  <a:lnTo>
                    <a:pt x="380" y="571"/>
                  </a:lnTo>
                  <a:lnTo>
                    <a:pt x="398" y="559"/>
                  </a:lnTo>
                  <a:lnTo>
                    <a:pt x="403" y="524"/>
                  </a:lnTo>
                  <a:lnTo>
                    <a:pt x="424" y="506"/>
                  </a:lnTo>
                  <a:lnTo>
                    <a:pt x="479" y="506"/>
                  </a:lnTo>
                  <a:lnTo>
                    <a:pt x="495" y="483"/>
                  </a:lnTo>
                  <a:lnTo>
                    <a:pt x="531" y="493"/>
                  </a:lnTo>
                  <a:lnTo>
                    <a:pt x="572" y="475"/>
                  </a:lnTo>
                  <a:lnTo>
                    <a:pt x="572" y="407"/>
                  </a:lnTo>
                  <a:lnTo>
                    <a:pt x="518" y="410"/>
                  </a:lnTo>
                  <a:lnTo>
                    <a:pt x="560" y="384"/>
                  </a:lnTo>
                  <a:lnTo>
                    <a:pt x="580" y="355"/>
                  </a:lnTo>
                  <a:lnTo>
                    <a:pt x="586" y="314"/>
                  </a:lnTo>
                  <a:lnTo>
                    <a:pt x="661" y="303"/>
                  </a:lnTo>
                  <a:lnTo>
                    <a:pt x="703" y="256"/>
                  </a:lnTo>
                  <a:lnTo>
                    <a:pt x="674" y="226"/>
                  </a:lnTo>
                  <a:lnTo>
                    <a:pt x="674" y="209"/>
                  </a:lnTo>
                  <a:lnTo>
                    <a:pt x="660" y="195"/>
                  </a:lnTo>
                  <a:lnTo>
                    <a:pt x="679" y="179"/>
                  </a:lnTo>
                  <a:lnTo>
                    <a:pt x="674" y="153"/>
                  </a:lnTo>
                  <a:lnTo>
                    <a:pt x="643" y="141"/>
                  </a:lnTo>
                  <a:lnTo>
                    <a:pt x="627" y="141"/>
                  </a:lnTo>
                  <a:lnTo>
                    <a:pt x="599" y="113"/>
                  </a:lnTo>
                  <a:lnTo>
                    <a:pt x="594" y="63"/>
                  </a:lnTo>
                  <a:lnTo>
                    <a:pt x="563" y="49"/>
                  </a:lnTo>
                  <a:lnTo>
                    <a:pt x="532" y="47"/>
                  </a:lnTo>
                  <a:lnTo>
                    <a:pt x="521" y="19"/>
                  </a:lnTo>
                  <a:lnTo>
                    <a:pt x="551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83</a:t>
              </a:r>
            </a:p>
          </p:txBody>
        </p:sp>
        <p:sp>
          <p:nvSpPr>
            <p:cNvPr id="111" name="FR-04">
              <a:extLst>
                <a:ext uri="{FF2B5EF4-FFF2-40B4-BE49-F238E27FC236}">
                  <a16:creationId xmlns:a16="http://schemas.microsoft.com/office/drawing/2014/main" id="{99DD0D10-B392-4323-9307-686ED8EC52B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179486" y="4548685"/>
              <a:ext cx="765604" cy="725290"/>
            </a:xfrm>
            <a:custGeom>
              <a:avLst/>
              <a:gdLst>
                <a:gd name="T0" fmla="*/ 712 w 788"/>
                <a:gd name="T1" fmla="*/ 42 h 766"/>
                <a:gd name="T2" fmla="*/ 658 w 788"/>
                <a:gd name="T3" fmla="*/ 95 h 766"/>
                <a:gd name="T4" fmla="*/ 623 w 788"/>
                <a:gd name="T5" fmla="*/ 122 h 766"/>
                <a:gd name="T6" fmla="*/ 599 w 788"/>
                <a:gd name="T7" fmla="*/ 172 h 766"/>
                <a:gd name="T8" fmla="*/ 474 w 788"/>
                <a:gd name="T9" fmla="*/ 149 h 766"/>
                <a:gd name="T10" fmla="*/ 399 w 788"/>
                <a:gd name="T11" fmla="*/ 165 h 766"/>
                <a:gd name="T12" fmla="*/ 399 w 788"/>
                <a:gd name="T13" fmla="*/ 182 h 766"/>
                <a:gd name="T14" fmla="*/ 394 w 788"/>
                <a:gd name="T15" fmla="*/ 231 h 766"/>
                <a:gd name="T16" fmla="*/ 349 w 788"/>
                <a:gd name="T17" fmla="*/ 186 h 766"/>
                <a:gd name="T18" fmla="*/ 309 w 788"/>
                <a:gd name="T19" fmla="*/ 165 h 766"/>
                <a:gd name="T20" fmla="*/ 288 w 788"/>
                <a:gd name="T21" fmla="*/ 193 h 766"/>
                <a:gd name="T22" fmla="*/ 215 w 788"/>
                <a:gd name="T23" fmla="*/ 267 h 766"/>
                <a:gd name="T24" fmla="*/ 224 w 788"/>
                <a:gd name="T25" fmla="*/ 295 h 766"/>
                <a:gd name="T26" fmla="*/ 210 w 788"/>
                <a:gd name="T27" fmla="*/ 332 h 766"/>
                <a:gd name="T28" fmla="*/ 170 w 788"/>
                <a:gd name="T29" fmla="*/ 311 h 766"/>
                <a:gd name="T30" fmla="*/ 217 w 788"/>
                <a:gd name="T31" fmla="*/ 377 h 766"/>
                <a:gd name="T32" fmla="*/ 173 w 788"/>
                <a:gd name="T33" fmla="*/ 375 h 766"/>
                <a:gd name="T34" fmla="*/ 85 w 788"/>
                <a:gd name="T35" fmla="*/ 412 h 766"/>
                <a:gd name="T36" fmla="*/ 83 w 788"/>
                <a:gd name="T37" fmla="*/ 427 h 766"/>
                <a:gd name="T38" fmla="*/ 47 w 788"/>
                <a:gd name="T39" fmla="*/ 391 h 766"/>
                <a:gd name="T40" fmla="*/ 10 w 788"/>
                <a:gd name="T41" fmla="*/ 451 h 766"/>
                <a:gd name="T42" fmla="*/ 1 w 788"/>
                <a:gd name="T43" fmla="*/ 452 h 766"/>
                <a:gd name="T44" fmla="*/ 31 w 788"/>
                <a:gd name="T45" fmla="*/ 493 h 766"/>
                <a:gd name="T46" fmla="*/ 5 w 788"/>
                <a:gd name="T47" fmla="*/ 537 h 766"/>
                <a:gd name="T48" fmla="*/ 57 w 788"/>
                <a:gd name="T49" fmla="*/ 599 h 766"/>
                <a:gd name="T50" fmla="*/ 36 w 788"/>
                <a:gd name="T51" fmla="*/ 648 h 766"/>
                <a:gd name="T52" fmla="*/ 95 w 788"/>
                <a:gd name="T53" fmla="*/ 670 h 766"/>
                <a:gd name="T54" fmla="*/ 149 w 788"/>
                <a:gd name="T55" fmla="*/ 732 h 766"/>
                <a:gd name="T56" fmla="*/ 302 w 788"/>
                <a:gd name="T57" fmla="*/ 766 h 766"/>
                <a:gd name="T58" fmla="*/ 361 w 788"/>
                <a:gd name="T59" fmla="*/ 707 h 766"/>
                <a:gd name="T60" fmla="*/ 469 w 788"/>
                <a:gd name="T61" fmla="*/ 714 h 766"/>
                <a:gd name="T62" fmla="*/ 601 w 788"/>
                <a:gd name="T63" fmla="*/ 672 h 766"/>
                <a:gd name="T64" fmla="*/ 660 w 788"/>
                <a:gd name="T65" fmla="*/ 651 h 766"/>
                <a:gd name="T66" fmla="*/ 651 w 788"/>
                <a:gd name="T67" fmla="*/ 627 h 766"/>
                <a:gd name="T68" fmla="*/ 658 w 788"/>
                <a:gd name="T69" fmla="*/ 594 h 766"/>
                <a:gd name="T70" fmla="*/ 705 w 788"/>
                <a:gd name="T71" fmla="*/ 582 h 766"/>
                <a:gd name="T72" fmla="*/ 769 w 788"/>
                <a:gd name="T73" fmla="*/ 582 h 766"/>
                <a:gd name="T74" fmla="*/ 743 w 788"/>
                <a:gd name="T75" fmla="*/ 530 h 766"/>
                <a:gd name="T76" fmla="*/ 679 w 788"/>
                <a:gd name="T77" fmla="*/ 481 h 766"/>
                <a:gd name="T78" fmla="*/ 649 w 788"/>
                <a:gd name="T79" fmla="*/ 403 h 766"/>
                <a:gd name="T80" fmla="*/ 672 w 788"/>
                <a:gd name="T81" fmla="*/ 309 h 766"/>
                <a:gd name="T82" fmla="*/ 701 w 788"/>
                <a:gd name="T83" fmla="*/ 255 h 766"/>
                <a:gd name="T84" fmla="*/ 741 w 788"/>
                <a:gd name="T85" fmla="*/ 234 h 766"/>
                <a:gd name="T86" fmla="*/ 778 w 788"/>
                <a:gd name="T87" fmla="*/ 178 h 766"/>
                <a:gd name="T88" fmla="*/ 731 w 788"/>
                <a:gd name="T89" fmla="*/ 152 h 766"/>
                <a:gd name="T90" fmla="*/ 729 w 788"/>
                <a:gd name="T91" fmla="*/ 95 h 766"/>
                <a:gd name="T92" fmla="*/ 768 w 788"/>
                <a:gd name="T93" fmla="*/ 9 h 766"/>
                <a:gd name="T94" fmla="*/ 741 w 788"/>
                <a:gd name="T95" fmla="*/ 0 h 76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88"/>
                <a:gd name="T145" fmla="*/ 0 h 766"/>
                <a:gd name="T146" fmla="*/ 788 w 788"/>
                <a:gd name="T147" fmla="*/ 766 h 76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88" h="766">
                  <a:moveTo>
                    <a:pt x="741" y="0"/>
                  </a:moveTo>
                  <a:lnTo>
                    <a:pt x="712" y="42"/>
                  </a:lnTo>
                  <a:lnTo>
                    <a:pt x="672" y="66"/>
                  </a:lnTo>
                  <a:lnTo>
                    <a:pt x="658" y="95"/>
                  </a:lnTo>
                  <a:lnTo>
                    <a:pt x="623" y="97"/>
                  </a:lnTo>
                  <a:lnTo>
                    <a:pt x="623" y="122"/>
                  </a:lnTo>
                  <a:lnTo>
                    <a:pt x="613" y="137"/>
                  </a:lnTo>
                  <a:lnTo>
                    <a:pt x="599" y="172"/>
                  </a:lnTo>
                  <a:lnTo>
                    <a:pt x="514" y="170"/>
                  </a:lnTo>
                  <a:lnTo>
                    <a:pt x="474" y="149"/>
                  </a:lnTo>
                  <a:lnTo>
                    <a:pt x="448" y="167"/>
                  </a:lnTo>
                  <a:lnTo>
                    <a:pt x="399" y="165"/>
                  </a:lnTo>
                  <a:lnTo>
                    <a:pt x="387" y="182"/>
                  </a:lnTo>
                  <a:lnTo>
                    <a:pt x="399" y="182"/>
                  </a:lnTo>
                  <a:lnTo>
                    <a:pt x="406" y="226"/>
                  </a:lnTo>
                  <a:lnTo>
                    <a:pt x="394" y="231"/>
                  </a:lnTo>
                  <a:lnTo>
                    <a:pt x="349" y="203"/>
                  </a:lnTo>
                  <a:lnTo>
                    <a:pt x="349" y="186"/>
                  </a:lnTo>
                  <a:lnTo>
                    <a:pt x="324" y="165"/>
                  </a:lnTo>
                  <a:lnTo>
                    <a:pt x="309" y="165"/>
                  </a:lnTo>
                  <a:lnTo>
                    <a:pt x="309" y="189"/>
                  </a:lnTo>
                  <a:lnTo>
                    <a:pt x="288" y="193"/>
                  </a:lnTo>
                  <a:lnTo>
                    <a:pt x="243" y="219"/>
                  </a:lnTo>
                  <a:lnTo>
                    <a:pt x="215" y="267"/>
                  </a:lnTo>
                  <a:lnTo>
                    <a:pt x="208" y="290"/>
                  </a:lnTo>
                  <a:lnTo>
                    <a:pt x="224" y="295"/>
                  </a:lnTo>
                  <a:lnTo>
                    <a:pt x="227" y="332"/>
                  </a:lnTo>
                  <a:lnTo>
                    <a:pt x="210" y="332"/>
                  </a:lnTo>
                  <a:lnTo>
                    <a:pt x="184" y="309"/>
                  </a:lnTo>
                  <a:lnTo>
                    <a:pt x="170" y="311"/>
                  </a:lnTo>
                  <a:lnTo>
                    <a:pt x="177" y="332"/>
                  </a:lnTo>
                  <a:lnTo>
                    <a:pt x="217" y="377"/>
                  </a:lnTo>
                  <a:lnTo>
                    <a:pt x="191" y="387"/>
                  </a:lnTo>
                  <a:lnTo>
                    <a:pt x="173" y="375"/>
                  </a:lnTo>
                  <a:lnTo>
                    <a:pt x="125" y="375"/>
                  </a:lnTo>
                  <a:lnTo>
                    <a:pt x="85" y="412"/>
                  </a:lnTo>
                  <a:lnTo>
                    <a:pt x="83" y="427"/>
                  </a:lnTo>
                  <a:lnTo>
                    <a:pt x="68" y="409"/>
                  </a:lnTo>
                  <a:lnTo>
                    <a:pt x="47" y="391"/>
                  </a:lnTo>
                  <a:lnTo>
                    <a:pt x="34" y="430"/>
                  </a:lnTo>
                  <a:lnTo>
                    <a:pt x="10" y="451"/>
                  </a:lnTo>
                  <a:lnTo>
                    <a:pt x="0" y="450"/>
                  </a:lnTo>
                  <a:lnTo>
                    <a:pt x="1" y="452"/>
                  </a:lnTo>
                  <a:lnTo>
                    <a:pt x="3" y="488"/>
                  </a:lnTo>
                  <a:lnTo>
                    <a:pt x="31" y="493"/>
                  </a:lnTo>
                  <a:lnTo>
                    <a:pt x="31" y="526"/>
                  </a:lnTo>
                  <a:lnTo>
                    <a:pt x="5" y="537"/>
                  </a:lnTo>
                  <a:lnTo>
                    <a:pt x="10" y="575"/>
                  </a:lnTo>
                  <a:lnTo>
                    <a:pt x="57" y="599"/>
                  </a:lnTo>
                  <a:lnTo>
                    <a:pt x="57" y="625"/>
                  </a:lnTo>
                  <a:lnTo>
                    <a:pt x="36" y="648"/>
                  </a:lnTo>
                  <a:lnTo>
                    <a:pt x="36" y="670"/>
                  </a:lnTo>
                  <a:lnTo>
                    <a:pt x="95" y="670"/>
                  </a:lnTo>
                  <a:lnTo>
                    <a:pt x="149" y="731"/>
                  </a:lnTo>
                  <a:lnTo>
                    <a:pt x="149" y="732"/>
                  </a:lnTo>
                  <a:lnTo>
                    <a:pt x="217" y="710"/>
                  </a:lnTo>
                  <a:lnTo>
                    <a:pt x="302" y="766"/>
                  </a:lnTo>
                  <a:lnTo>
                    <a:pt x="349" y="731"/>
                  </a:lnTo>
                  <a:lnTo>
                    <a:pt x="361" y="707"/>
                  </a:lnTo>
                  <a:lnTo>
                    <a:pt x="427" y="686"/>
                  </a:lnTo>
                  <a:lnTo>
                    <a:pt x="469" y="714"/>
                  </a:lnTo>
                  <a:lnTo>
                    <a:pt x="531" y="670"/>
                  </a:lnTo>
                  <a:lnTo>
                    <a:pt x="601" y="672"/>
                  </a:lnTo>
                  <a:lnTo>
                    <a:pt x="620" y="653"/>
                  </a:lnTo>
                  <a:lnTo>
                    <a:pt x="660" y="651"/>
                  </a:lnTo>
                  <a:lnTo>
                    <a:pt x="661" y="651"/>
                  </a:lnTo>
                  <a:lnTo>
                    <a:pt x="651" y="627"/>
                  </a:lnTo>
                  <a:lnTo>
                    <a:pt x="663" y="613"/>
                  </a:lnTo>
                  <a:lnTo>
                    <a:pt x="658" y="594"/>
                  </a:lnTo>
                  <a:lnTo>
                    <a:pt x="696" y="594"/>
                  </a:lnTo>
                  <a:lnTo>
                    <a:pt x="705" y="582"/>
                  </a:lnTo>
                  <a:lnTo>
                    <a:pt x="741" y="563"/>
                  </a:lnTo>
                  <a:lnTo>
                    <a:pt x="769" y="582"/>
                  </a:lnTo>
                  <a:lnTo>
                    <a:pt x="788" y="570"/>
                  </a:lnTo>
                  <a:lnTo>
                    <a:pt x="743" y="530"/>
                  </a:lnTo>
                  <a:lnTo>
                    <a:pt x="696" y="486"/>
                  </a:lnTo>
                  <a:lnTo>
                    <a:pt x="679" y="481"/>
                  </a:lnTo>
                  <a:lnTo>
                    <a:pt x="677" y="445"/>
                  </a:lnTo>
                  <a:lnTo>
                    <a:pt x="649" y="403"/>
                  </a:lnTo>
                  <a:lnTo>
                    <a:pt x="658" y="342"/>
                  </a:lnTo>
                  <a:lnTo>
                    <a:pt x="672" y="309"/>
                  </a:lnTo>
                  <a:lnTo>
                    <a:pt x="698" y="287"/>
                  </a:lnTo>
                  <a:lnTo>
                    <a:pt x="701" y="255"/>
                  </a:lnTo>
                  <a:lnTo>
                    <a:pt x="736" y="236"/>
                  </a:lnTo>
                  <a:lnTo>
                    <a:pt x="741" y="234"/>
                  </a:lnTo>
                  <a:lnTo>
                    <a:pt x="741" y="183"/>
                  </a:lnTo>
                  <a:lnTo>
                    <a:pt x="778" y="178"/>
                  </a:lnTo>
                  <a:lnTo>
                    <a:pt x="757" y="160"/>
                  </a:lnTo>
                  <a:lnTo>
                    <a:pt x="731" y="152"/>
                  </a:lnTo>
                  <a:lnTo>
                    <a:pt x="718" y="118"/>
                  </a:lnTo>
                  <a:lnTo>
                    <a:pt x="729" y="95"/>
                  </a:lnTo>
                  <a:lnTo>
                    <a:pt x="775" y="45"/>
                  </a:lnTo>
                  <a:lnTo>
                    <a:pt x="768" y="9"/>
                  </a:lnTo>
                  <a:lnTo>
                    <a:pt x="774" y="2"/>
                  </a:lnTo>
                  <a:lnTo>
                    <a:pt x="741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04</a:t>
              </a:r>
            </a:p>
          </p:txBody>
        </p:sp>
        <p:sp>
          <p:nvSpPr>
            <p:cNvPr id="112" name="FR-06">
              <a:extLst>
                <a:ext uri="{FF2B5EF4-FFF2-40B4-BE49-F238E27FC236}">
                  <a16:creationId xmlns:a16="http://schemas.microsoft.com/office/drawing/2014/main" id="{9F264500-3F7B-47E7-9913-99F174046E2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791580" y="4770249"/>
              <a:ext cx="555743" cy="637232"/>
            </a:xfrm>
            <a:custGeom>
              <a:avLst/>
              <a:gdLst>
                <a:gd name="T0" fmla="*/ 111 w 572"/>
                <a:gd name="T1" fmla="*/ 0 h 673"/>
                <a:gd name="T2" fmla="*/ 106 w 572"/>
                <a:gd name="T3" fmla="*/ 2 h 673"/>
                <a:gd name="T4" fmla="*/ 71 w 572"/>
                <a:gd name="T5" fmla="*/ 21 h 673"/>
                <a:gd name="T6" fmla="*/ 68 w 572"/>
                <a:gd name="T7" fmla="*/ 53 h 673"/>
                <a:gd name="T8" fmla="*/ 42 w 572"/>
                <a:gd name="T9" fmla="*/ 75 h 673"/>
                <a:gd name="T10" fmla="*/ 28 w 572"/>
                <a:gd name="T11" fmla="*/ 108 h 673"/>
                <a:gd name="T12" fmla="*/ 19 w 572"/>
                <a:gd name="T13" fmla="*/ 169 h 673"/>
                <a:gd name="T14" fmla="*/ 47 w 572"/>
                <a:gd name="T15" fmla="*/ 211 h 673"/>
                <a:gd name="T16" fmla="*/ 49 w 572"/>
                <a:gd name="T17" fmla="*/ 247 h 673"/>
                <a:gd name="T18" fmla="*/ 66 w 572"/>
                <a:gd name="T19" fmla="*/ 252 h 673"/>
                <a:gd name="T20" fmla="*/ 113 w 572"/>
                <a:gd name="T21" fmla="*/ 296 h 673"/>
                <a:gd name="T22" fmla="*/ 158 w 572"/>
                <a:gd name="T23" fmla="*/ 336 h 673"/>
                <a:gd name="T24" fmla="*/ 139 w 572"/>
                <a:gd name="T25" fmla="*/ 348 h 673"/>
                <a:gd name="T26" fmla="*/ 111 w 572"/>
                <a:gd name="T27" fmla="*/ 329 h 673"/>
                <a:gd name="T28" fmla="*/ 75 w 572"/>
                <a:gd name="T29" fmla="*/ 348 h 673"/>
                <a:gd name="T30" fmla="*/ 66 w 572"/>
                <a:gd name="T31" fmla="*/ 360 h 673"/>
                <a:gd name="T32" fmla="*/ 28 w 572"/>
                <a:gd name="T33" fmla="*/ 360 h 673"/>
                <a:gd name="T34" fmla="*/ 33 w 572"/>
                <a:gd name="T35" fmla="*/ 379 h 673"/>
                <a:gd name="T36" fmla="*/ 21 w 572"/>
                <a:gd name="T37" fmla="*/ 393 h 673"/>
                <a:gd name="T38" fmla="*/ 31 w 572"/>
                <a:gd name="T39" fmla="*/ 417 h 673"/>
                <a:gd name="T40" fmla="*/ 0 w 572"/>
                <a:gd name="T41" fmla="*/ 436 h 673"/>
                <a:gd name="T42" fmla="*/ 11 w 572"/>
                <a:gd name="T43" fmla="*/ 464 h 673"/>
                <a:gd name="T44" fmla="*/ 42 w 572"/>
                <a:gd name="T45" fmla="*/ 466 h 673"/>
                <a:gd name="T46" fmla="*/ 73 w 572"/>
                <a:gd name="T47" fmla="*/ 480 h 673"/>
                <a:gd name="T48" fmla="*/ 78 w 572"/>
                <a:gd name="T49" fmla="*/ 530 h 673"/>
                <a:gd name="T50" fmla="*/ 106 w 572"/>
                <a:gd name="T51" fmla="*/ 558 h 673"/>
                <a:gd name="T52" fmla="*/ 122 w 572"/>
                <a:gd name="T53" fmla="*/ 558 h 673"/>
                <a:gd name="T54" fmla="*/ 153 w 572"/>
                <a:gd name="T55" fmla="*/ 570 h 673"/>
                <a:gd name="T56" fmla="*/ 158 w 572"/>
                <a:gd name="T57" fmla="*/ 596 h 673"/>
                <a:gd name="T58" fmla="*/ 139 w 572"/>
                <a:gd name="T59" fmla="*/ 612 h 673"/>
                <a:gd name="T60" fmla="*/ 153 w 572"/>
                <a:gd name="T61" fmla="*/ 626 h 673"/>
                <a:gd name="T62" fmla="*/ 153 w 572"/>
                <a:gd name="T63" fmla="*/ 643 h 673"/>
                <a:gd name="T64" fmla="*/ 182 w 572"/>
                <a:gd name="T65" fmla="*/ 673 h 673"/>
                <a:gd name="T66" fmla="*/ 184 w 572"/>
                <a:gd name="T67" fmla="*/ 671 h 673"/>
                <a:gd name="T68" fmla="*/ 187 w 572"/>
                <a:gd name="T69" fmla="*/ 611 h 673"/>
                <a:gd name="T70" fmla="*/ 239 w 572"/>
                <a:gd name="T71" fmla="*/ 621 h 673"/>
                <a:gd name="T72" fmla="*/ 257 w 572"/>
                <a:gd name="T73" fmla="*/ 598 h 673"/>
                <a:gd name="T74" fmla="*/ 284 w 572"/>
                <a:gd name="T75" fmla="*/ 603 h 673"/>
                <a:gd name="T76" fmla="*/ 286 w 572"/>
                <a:gd name="T77" fmla="*/ 522 h 673"/>
                <a:gd name="T78" fmla="*/ 346 w 572"/>
                <a:gd name="T79" fmla="*/ 517 h 673"/>
                <a:gd name="T80" fmla="*/ 398 w 572"/>
                <a:gd name="T81" fmla="*/ 470 h 673"/>
                <a:gd name="T82" fmla="*/ 445 w 572"/>
                <a:gd name="T83" fmla="*/ 470 h 673"/>
                <a:gd name="T84" fmla="*/ 447 w 572"/>
                <a:gd name="T85" fmla="*/ 441 h 673"/>
                <a:gd name="T86" fmla="*/ 494 w 572"/>
                <a:gd name="T87" fmla="*/ 413 h 673"/>
                <a:gd name="T88" fmla="*/ 468 w 572"/>
                <a:gd name="T89" fmla="*/ 353 h 673"/>
                <a:gd name="T90" fmla="*/ 507 w 572"/>
                <a:gd name="T91" fmla="*/ 319 h 673"/>
                <a:gd name="T92" fmla="*/ 499 w 572"/>
                <a:gd name="T93" fmla="*/ 280 h 673"/>
                <a:gd name="T94" fmla="*/ 557 w 572"/>
                <a:gd name="T95" fmla="*/ 262 h 673"/>
                <a:gd name="T96" fmla="*/ 572 w 572"/>
                <a:gd name="T97" fmla="*/ 205 h 673"/>
                <a:gd name="T98" fmla="*/ 565 w 572"/>
                <a:gd name="T99" fmla="*/ 166 h 673"/>
                <a:gd name="T100" fmla="*/ 551 w 572"/>
                <a:gd name="T101" fmla="*/ 142 h 673"/>
                <a:gd name="T102" fmla="*/ 541 w 572"/>
                <a:gd name="T103" fmla="*/ 108 h 673"/>
                <a:gd name="T104" fmla="*/ 502 w 572"/>
                <a:gd name="T105" fmla="*/ 111 h 673"/>
                <a:gd name="T106" fmla="*/ 380 w 572"/>
                <a:gd name="T107" fmla="*/ 155 h 673"/>
                <a:gd name="T108" fmla="*/ 341 w 572"/>
                <a:gd name="T109" fmla="*/ 155 h 673"/>
                <a:gd name="T110" fmla="*/ 273 w 572"/>
                <a:gd name="T111" fmla="*/ 101 h 673"/>
                <a:gd name="T112" fmla="*/ 205 w 572"/>
                <a:gd name="T113" fmla="*/ 82 h 673"/>
                <a:gd name="T114" fmla="*/ 166 w 572"/>
                <a:gd name="T115" fmla="*/ 82 h 673"/>
                <a:gd name="T116" fmla="*/ 166 w 572"/>
                <a:gd name="T117" fmla="*/ 35 h 673"/>
                <a:gd name="T118" fmla="*/ 111 w 572"/>
                <a:gd name="T119" fmla="*/ 0 h 67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72"/>
                <a:gd name="T181" fmla="*/ 0 h 673"/>
                <a:gd name="T182" fmla="*/ 572 w 572"/>
                <a:gd name="T183" fmla="*/ 673 h 673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72" h="673">
                  <a:moveTo>
                    <a:pt x="111" y="0"/>
                  </a:moveTo>
                  <a:lnTo>
                    <a:pt x="106" y="2"/>
                  </a:lnTo>
                  <a:lnTo>
                    <a:pt x="71" y="21"/>
                  </a:lnTo>
                  <a:lnTo>
                    <a:pt x="68" y="53"/>
                  </a:lnTo>
                  <a:lnTo>
                    <a:pt x="42" y="75"/>
                  </a:lnTo>
                  <a:lnTo>
                    <a:pt x="28" y="108"/>
                  </a:lnTo>
                  <a:lnTo>
                    <a:pt x="19" y="169"/>
                  </a:lnTo>
                  <a:lnTo>
                    <a:pt x="47" y="211"/>
                  </a:lnTo>
                  <a:lnTo>
                    <a:pt x="49" y="247"/>
                  </a:lnTo>
                  <a:lnTo>
                    <a:pt x="66" y="252"/>
                  </a:lnTo>
                  <a:lnTo>
                    <a:pt x="113" y="296"/>
                  </a:lnTo>
                  <a:lnTo>
                    <a:pt x="158" y="336"/>
                  </a:lnTo>
                  <a:lnTo>
                    <a:pt x="139" y="348"/>
                  </a:lnTo>
                  <a:lnTo>
                    <a:pt x="111" y="329"/>
                  </a:lnTo>
                  <a:lnTo>
                    <a:pt x="75" y="348"/>
                  </a:lnTo>
                  <a:lnTo>
                    <a:pt x="66" y="360"/>
                  </a:lnTo>
                  <a:lnTo>
                    <a:pt x="28" y="360"/>
                  </a:lnTo>
                  <a:lnTo>
                    <a:pt x="33" y="379"/>
                  </a:lnTo>
                  <a:lnTo>
                    <a:pt x="21" y="393"/>
                  </a:lnTo>
                  <a:lnTo>
                    <a:pt x="31" y="417"/>
                  </a:lnTo>
                  <a:lnTo>
                    <a:pt x="0" y="436"/>
                  </a:lnTo>
                  <a:lnTo>
                    <a:pt x="11" y="464"/>
                  </a:lnTo>
                  <a:lnTo>
                    <a:pt x="42" y="466"/>
                  </a:lnTo>
                  <a:lnTo>
                    <a:pt x="73" y="480"/>
                  </a:lnTo>
                  <a:lnTo>
                    <a:pt x="78" y="530"/>
                  </a:lnTo>
                  <a:lnTo>
                    <a:pt x="106" y="558"/>
                  </a:lnTo>
                  <a:lnTo>
                    <a:pt x="122" y="558"/>
                  </a:lnTo>
                  <a:lnTo>
                    <a:pt x="153" y="570"/>
                  </a:lnTo>
                  <a:lnTo>
                    <a:pt x="158" y="596"/>
                  </a:lnTo>
                  <a:lnTo>
                    <a:pt x="139" y="612"/>
                  </a:lnTo>
                  <a:lnTo>
                    <a:pt x="153" y="626"/>
                  </a:lnTo>
                  <a:lnTo>
                    <a:pt x="153" y="643"/>
                  </a:lnTo>
                  <a:lnTo>
                    <a:pt x="182" y="673"/>
                  </a:lnTo>
                  <a:lnTo>
                    <a:pt x="184" y="671"/>
                  </a:lnTo>
                  <a:lnTo>
                    <a:pt x="187" y="611"/>
                  </a:lnTo>
                  <a:lnTo>
                    <a:pt x="239" y="621"/>
                  </a:lnTo>
                  <a:lnTo>
                    <a:pt x="257" y="598"/>
                  </a:lnTo>
                  <a:lnTo>
                    <a:pt x="284" y="603"/>
                  </a:lnTo>
                  <a:lnTo>
                    <a:pt x="286" y="522"/>
                  </a:lnTo>
                  <a:lnTo>
                    <a:pt x="346" y="517"/>
                  </a:lnTo>
                  <a:lnTo>
                    <a:pt x="398" y="470"/>
                  </a:lnTo>
                  <a:lnTo>
                    <a:pt x="445" y="470"/>
                  </a:lnTo>
                  <a:lnTo>
                    <a:pt x="447" y="441"/>
                  </a:lnTo>
                  <a:lnTo>
                    <a:pt x="494" y="413"/>
                  </a:lnTo>
                  <a:lnTo>
                    <a:pt x="468" y="353"/>
                  </a:lnTo>
                  <a:lnTo>
                    <a:pt x="507" y="319"/>
                  </a:lnTo>
                  <a:lnTo>
                    <a:pt x="499" y="280"/>
                  </a:lnTo>
                  <a:lnTo>
                    <a:pt x="557" y="262"/>
                  </a:lnTo>
                  <a:lnTo>
                    <a:pt x="572" y="205"/>
                  </a:lnTo>
                  <a:lnTo>
                    <a:pt x="565" y="166"/>
                  </a:lnTo>
                  <a:lnTo>
                    <a:pt x="551" y="142"/>
                  </a:lnTo>
                  <a:lnTo>
                    <a:pt x="541" y="108"/>
                  </a:lnTo>
                  <a:lnTo>
                    <a:pt x="502" y="111"/>
                  </a:lnTo>
                  <a:lnTo>
                    <a:pt x="380" y="155"/>
                  </a:lnTo>
                  <a:lnTo>
                    <a:pt x="341" y="155"/>
                  </a:lnTo>
                  <a:lnTo>
                    <a:pt x="273" y="101"/>
                  </a:lnTo>
                  <a:lnTo>
                    <a:pt x="205" y="82"/>
                  </a:lnTo>
                  <a:lnTo>
                    <a:pt x="166" y="82"/>
                  </a:lnTo>
                  <a:lnTo>
                    <a:pt x="166" y="35"/>
                  </a:lnTo>
                  <a:lnTo>
                    <a:pt x="111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06</a:t>
              </a:r>
            </a:p>
          </p:txBody>
        </p:sp>
        <p:sp>
          <p:nvSpPr>
            <p:cNvPr id="113" name="FR-05">
              <a:extLst>
                <a:ext uri="{FF2B5EF4-FFF2-40B4-BE49-F238E27FC236}">
                  <a16:creationId xmlns:a16="http://schemas.microsoft.com/office/drawing/2014/main" id="{62EFF6B5-B79E-4A0C-89EE-891D8574EA7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133822" y="4230542"/>
              <a:ext cx="849160" cy="708247"/>
            </a:xfrm>
            <a:custGeom>
              <a:avLst/>
              <a:gdLst>
                <a:gd name="T0" fmla="*/ 544 w 874"/>
                <a:gd name="T1" fmla="*/ 11 h 748"/>
                <a:gd name="T2" fmla="*/ 492 w 874"/>
                <a:gd name="T3" fmla="*/ 55 h 748"/>
                <a:gd name="T4" fmla="*/ 469 w 874"/>
                <a:gd name="T5" fmla="*/ 3 h 748"/>
                <a:gd name="T6" fmla="*/ 403 w 874"/>
                <a:gd name="T7" fmla="*/ 24 h 748"/>
                <a:gd name="T8" fmla="*/ 401 w 874"/>
                <a:gd name="T9" fmla="*/ 91 h 748"/>
                <a:gd name="T10" fmla="*/ 466 w 874"/>
                <a:gd name="T11" fmla="*/ 131 h 748"/>
                <a:gd name="T12" fmla="*/ 487 w 874"/>
                <a:gd name="T13" fmla="*/ 198 h 748"/>
                <a:gd name="T14" fmla="*/ 416 w 874"/>
                <a:gd name="T15" fmla="*/ 219 h 748"/>
                <a:gd name="T16" fmla="*/ 323 w 874"/>
                <a:gd name="T17" fmla="*/ 237 h 748"/>
                <a:gd name="T18" fmla="*/ 266 w 874"/>
                <a:gd name="T19" fmla="*/ 253 h 748"/>
                <a:gd name="T20" fmla="*/ 258 w 874"/>
                <a:gd name="T21" fmla="*/ 297 h 748"/>
                <a:gd name="T22" fmla="*/ 193 w 874"/>
                <a:gd name="T23" fmla="*/ 328 h 748"/>
                <a:gd name="T24" fmla="*/ 206 w 874"/>
                <a:gd name="T25" fmla="*/ 357 h 748"/>
                <a:gd name="T26" fmla="*/ 107 w 874"/>
                <a:gd name="T27" fmla="*/ 381 h 748"/>
                <a:gd name="T28" fmla="*/ 88 w 874"/>
                <a:gd name="T29" fmla="*/ 461 h 748"/>
                <a:gd name="T30" fmla="*/ 88 w 874"/>
                <a:gd name="T31" fmla="*/ 518 h 748"/>
                <a:gd name="T32" fmla="*/ 11 w 874"/>
                <a:gd name="T33" fmla="*/ 498 h 748"/>
                <a:gd name="T34" fmla="*/ 31 w 874"/>
                <a:gd name="T35" fmla="*/ 539 h 748"/>
                <a:gd name="T36" fmla="*/ 11 w 874"/>
                <a:gd name="T37" fmla="*/ 604 h 748"/>
                <a:gd name="T38" fmla="*/ 115 w 874"/>
                <a:gd name="T39" fmla="*/ 662 h 748"/>
                <a:gd name="T40" fmla="*/ 132 w 874"/>
                <a:gd name="T41" fmla="*/ 748 h 748"/>
                <a:gd name="T42" fmla="*/ 172 w 874"/>
                <a:gd name="T43" fmla="*/ 711 h 748"/>
                <a:gd name="T44" fmla="*/ 238 w 874"/>
                <a:gd name="T45" fmla="*/ 723 h 748"/>
                <a:gd name="T46" fmla="*/ 224 w 874"/>
                <a:gd name="T47" fmla="*/ 668 h 748"/>
                <a:gd name="T48" fmla="*/ 231 w 874"/>
                <a:gd name="T49" fmla="*/ 645 h 748"/>
                <a:gd name="T50" fmla="*/ 274 w 874"/>
                <a:gd name="T51" fmla="*/ 668 h 748"/>
                <a:gd name="T52" fmla="*/ 255 w 874"/>
                <a:gd name="T53" fmla="*/ 626 h 748"/>
                <a:gd name="T54" fmla="*/ 290 w 874"/>
                <a:gd name="T55" fmla="*/ 555 h 748"/>
                <a:gd name="T56" fmla="*/ 356 w 874"/>
                <a:gd name="T57" fmla="*/ 525 h 748"/>
                <a:gd name="T58" fmla="*/ 371 w 874"/>
                <a:gd name="T59" fmla="*/ 501 h 748"/>
                <a:gd name="T60" fmla="*/ 396 w 874"/>
                <a:gd name="T61" fmla="*/ 539 h 748"/>
                <a:gd name="T62" fmla="*/ 453 w 874"/>
                <a:gd name="T63" fmla="*/ 562 h 748"/>
                <a:gd name="T64" fmla="*/ 434 w 874"/>
                <a:gd name="T65" fmla="*/ 518 h 748"/>
                <a:gd name="T66" fmla="*/ 495 w 874"/>
                <a:gd name="T67" fmla="*/ 503 h 748"/>
                <a:gd name="T68" fmla="*/ 561 w 874"/>
                <a:gd name="T69" fmla="*/ 506 h 748"/>
                <a:gd name="T70" fmla="*/ 660 w 874"/>
                <a:gd name="T71" fmla="*/ 473 h 748"/>
                <a:gd name="T72" fmla="*/ 670 w 874"/>
                <a:gd name="T73" fmla="*/ 433 h 748"/>
                <a:gd name="T74" fmla="*/ 719 w 874"/>
                <a:gd name="T75" fmla="*/ 402 h 748"/>
                <a:gd name="T76" fmla="*/ 788 w 874"/>
                <a:gd name="T77" fmla="*/ 336 h 748"/>
                <a:gd name="T78" fmla="*/ 846 w 874"/>
                <a:gd name="T79" fmla="*/ 311 h 748"/>
                <a:gd name="T80" fmla="*/ 874 w 874"/>
                <a:gd name="T81" fmla="*/ 290 h 748"/>
                <a:gd name="T82" fmla="*/ 830 w 874"/>
                <a:gd name="T83" fmla="*/ 196 h 748"/>
                <a:gd name="T84" fmla="*/ 765 w 874"/>
                <a:gd name="T85" fmla="*/ 191 h 748"/>
                <a:gd name="T86" fmla="*/ 687 w 874"/>
                <a:gd name="T87" fmla="*/ 79 h 748"/>
                <a:gd name="T88" fmla="*/ 635 w 874"/>
                <a:gd name="T89" fmla="*/ 40 h 748"/>
                <a:gd name="T90" fmla="*/ 568 w 874"/>
                <a:gd name="T91" fmla="*/ 0 h 74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874"/>
                <a:gd name="T139" fmla="*/ 0 h 748"/>
                <a:gd name="T140" fmla="*/ 874 w 874"/>
                <a:gd name="T141" fmla="*/ 748 h 748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874" h="748">
                  <a:moveTo>
                    <a:pt x="568" y="0"/>
                  </a:moveTo>
                  <a:lnTo>
                    <a:pt x="544" y="11"/>
                  </a:lnTo>
                  <a:lnTo>
                    <a:pt x="539" y="50"/>
                  </a:lnTo>
                  <a:lnTo>
                    <a:pt x="492" y="55"/>
                  </a:lnTo>
                  <a:lnTo>
                    <a:pt x="484" y="18"/>
                  </a:lnTo>
                  <a:lnTo>
                    <a:pt x="469" y="3"/>
                  </a:lnTo>
                  <a:lnTo>
                    <a:pt x="422" y="8"/>
                  </a:lnTo>
                  <a:lnTo>
                    <a:pt x="403" y="24"/>
                  </a:lnTo>
                  <a:lnTo>
                    <a:pt x="393" y="78"/>
                  </a:lnTo>
                  <a:lnTo>
                    <a:pt x="401" y="91"/>
                  </a:lnTo>
                  <a:lnTo>
                    <a:pt x="456" y="97"/>
                  </a:lnTo>
                  <a:lnTo>
                    <a:pt x="466" y="131"/>
                  </a:lnTo>
                  <a:lnTo>
                    <a:pt x="487" y="141"/>
                  </a:lnTo>
                  <a:lnTo>
                    <a:pt x="487" y="198"/>
                  </a:lnTo>
                  <a:lnTo>
                    <a:pt x="437" y="196"/>
                  </a:lnTo>
                  <a:lnTo>
                    <a:pt x="416" y="219"/>
                  </a:lnTo>
                  <a:lnTo>
                    <a:pt x="357" y="208"/>
                  </a:lnTo>
                  <a:lnTo>
                    <a:pt x="323" y="237"/>
                  </a:lnTo>
                  <a:lnTo>
                    <a:pt x="299" y="227"/>
                  </a:lnTo>
                  <a:lnTo>
                    <a:pt x="266" y="253"/>
                  </a:lnTo>
                  <a:lnTo>
                    <a:pt x="278" y="276"/>
                  </a:lnTo>
                  <a:lnTo>
                    <a:pt x="258" y="297"/>
                  </a:lnTo>
                  <a:lnTo>
                    <a:pt x="193" y="297"/>
                  </a:lnTo>
                  <a:lnTo>
                    <a:pt x="193" y="328"/>
                  </a:lnTo>
                  <a:lnTo>
                    <a:pt x="213" y="339"/>
                  </a:lnTo>
                  <a:lnTo>
                    <a:pt x="206" y="357"/>
                  </a:lnTo>
                  <a:lnTo>
                    <a:pt x="161" y="375"/>
                  </a:lnTo>
                  <a:lnTo>
                    <a:pt x="107" y="381"/>
                  </a:lnTo>
                  <a:lnTo>
                    <a:pt x="91" y="430"/>
                  </a:lnTo>
                  <a:lnTo>
                    <a:pt x="88" y="461"/>
                  </a:lnTo>
                  <a:lnTo>
                    <a:pt x="117" y="485"/>
                  </a:lnTo>
                  <a:lnTo>
                    <a:pt x="88" y="518"/>
                  </a:lnTo>
                  <a:lnTo>
                    <a:pt x="52" y="500"/>
                  </a:lnTo>
                  <a:lnTo>
                    <a:pt x="11" y="498"/>
                  </a:lnTo>
                  <a:lnTo>
                    <a:pt x="5" y="521"/>
                  </a:lnTo>
                  <a:lnTo>
                    <a:pt x="31" y="539"/>
                  </a:lnTo>
                  <a:lnTo>
                    <a:pt x="0" y="560"/>
                  </a:lnTo>
                  <a:lnTo>
                    <a:pt x="11" y="604"/>
                  </a:lnTo>
                  <a:lnTo>
                    <a:pt x="99" y="628"/>
                  </a:lnTo>
                  <a:lnTo>
                    <a:pt x="115" y="662"/>
                  </a:lnTo>
                  <a:lnTo>
                    <a:pt x="141" y="667"/>
                  </a:lnTo>
                  <a:lnTo>
                    <a:pt x="132" y="748"/>
                  </a:lnTo>
                  <a:lnTo>
                    <a:pt x="172" y="711"/>
                  </a:lnTo>
                  <a:lnTo>
                    <a:pt x="220" y="711"/>
                  </a:lnTo>
                  <a:lnTo>
                    <a:pt x="238" y="723"/>
                  </a:lnTo>
                  <a:lnTo>
                    <a:pt x="264" y="713"/>
                  </a:lnTo>
                  <a:lnTo>
                    <a:pt x="224" y="668"/>
                  </a:lnTo>
                  <a:lnTo>
                    <a:pt x="217" y="647"/>
                  </a:lnTo>
                  <a:lnTo>
                    <a:pt x="231" y="645"/>
                  </a:lnTo>
                  <a:lnTo>
                    <a:pt x="257" y="668"/>
                  </a:lnTo>
                  <a:lnTo>
                    <a:pt x="274" y="668"/>
                  </a:lnTo>
                  <a:lnTo>
                    <a:pt x="271" y="631"/>
                  </a:lnTo>
                  <a:lnTo>
                    <a:pt x="255" y="626"/>
                  </a:lnTo>
                  <a:lnTo>
                    <a:pt x="262" y="603"/>
                  </a:lnTo>
                  <a:lnTo>
                    <a:pt x="290" y="555"/>
                  </a:lnTo>
                  <a:lnTo>
                    <a:pt x="335" y="529"/>
                  </a:lnTo>
                  <a:lnTo>
                    <a:pt x="356" y="525"/>
                  </a:lnTo>
                  <a:lnTo>
                    <a:pt x="356" y="501"/>
                  </a:lnTo>
                  <a:lnTo>
                    <a:pt x="371" y="501"/>
                  </a:lnTo>
                  <a:lnTo>
                    <a:pt x="396" y="522"/>
                  </a:lnTo>
                  <a:lnTo>
                    <a:pt x="396" y="539"/>
                  </a:lnTo>
                  <a:lnTo>
                    <a:pt x="441" y="567"/>
                  </a:lnTo>
                  <a:lnTo>
                    <a:pt x="453" y="562"/>
                  </a:lnTo>
                  <a:lnTo>
                    <a:pt x="446" y="518"/>
                  </a:lnTo>
                  <a:lnTo>
                    <a:pt x="434" y="518"/>
                  </a:lnTo>
                  <a:lnTo>
                    <a:pt x="446" y="501"/>
                  </a:lnTo>
                  <a:lnTo>
                    <a:pt x="495" y="503"/>
                  </a:lnTo>
                  <a:lnTo>
                    <a:pt x="521" y="485"/>
                  </a:lnTo>
                  <a:lnTo>
                    <a:pt x="561" y="506"/>
                  </a:lnTo>
                  <a:lnTo>
                    <a:pt x="646" y="508"/>
                  </a:lnTo>
                  <a:lnTo>
                    <a:pt x="660" y="473"/>
                  </a:lnTo>
                  <a:lnTo>
                    <a:pt x="670" y="458"/>
                  </a:lnTo>
                  <a:lnTo>
                    <a:pt x="670" y="433"/>
                  </a:lnTo>
                  <a:lnTo>
                    <a:pt x="705" y="431"/>
                  </a:lnTo>
                  <a:lnTo>
                    <a:pt x="719" y="402"/>
                  </a:lnTo>
                  <a:lnTo>
                    <a:pt x="759" y="378"/>
                  </a:lnTo>
                  <a:lnTo>
                    <a:pt x="788" y="336"/>
                  </a:lnTo>
                  <a:lnTo>
                    <a:pt x="821" y="338"/>
                  </a:lnTo>
                  <a:lnTo>
                    <a:pt x="846" y="311"/>
                  </a:lnTo>
                  <a:lnTo>
                    <a:pt x="874" y="313"/>
                  </a:lnTo>
                  <a:lnTo>
                    <a:pt x="874" y="290"/>
                  </a:lnTo>
                  <a:lnTo>
                    <a:pt x="838" y="272"/>
                  </a:lnTo>
                  <a:lnTo>
                    <a:pt x="830" y="196"/>
                  </a:lnTo>
                  <a:lnTo>
                    <a:pt x="801" y="186"/>
                  </a:lnTo>
                  <a:lnTo>
                    <a:pt x="765" y="191"/>
                  </a:lnTo>
                  <a:lnTo>
                    <a:pt x="697" y="157"/>
                  </a:lnTo>
                  <a:lnTo>
                    <a:pt x="687" y="79"/>
                  </a:lnTo>
                  <a:lnTo>
                    <a:pt x="648" y="66"/>
                  </a:lnTo>
                  <a:lnTo>
                    <a:pt x="635" y="40"/>
                  </a:lnTo>
                  <a:lnTo>
                    <a:pt x="618" y="3"/>
                  </a:lnTo>
                  <a:lnTo>
                    <a:pt x="568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05</a:t>
              </a:r>
            </a:p>
          </p:txBody>
        </p:sp>
        <p:sp>
          <p:nvSpPr>
            <p:cNvPr id="114" name="FR-48">
              <a:extLst>
                <a:ext uri="{FF2B5EF4-FFF2-40B4-BE49-F238E27FC236}">
                  <a16:creationId xmlns:a16="http://schemas.microsoft.com/office/drawing/2014/main" id="{1CCC2B2C-7753-4871-94A0-D2CFBC66E95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837736" y="4396241"/>
              <a:ext cx="537283" cy="616402"/>
            </a:xfrm>
            <a:custGeom>
              <a:avLst/>
              <a:gdLst>
                <a:gd name="T0" fmla="*/ 214 w 553"/>
                <a:gd name="T1" fmla="*/ 0 h 651"/>
                <a:gd name="T2" fmla="*/ 141 w 553"/>
                <a:gd name="T3" fmla="*/ 26 h 651"/>
                <a:gd name="T4" fmla="*/ 120 w 553"/>
                <a:gd name="T5" fmla="*/ 73 h 651"/>
                <a:gd name="T6" fmla="*/ 74 w 553"/>
                <a:gd name="T7" fmla="*/ 41 h 651"/>
                <a:gd name="T8" fmla="*/ 37 w 553"/>
                <a:gd name="T9" fmla="*/ 156 h 651"/>
                <a:gd name="T10" fmla="*/ 0 w 553"/>
                <a:gd name="T11" fmla="*/ 242 h 651"/>
                <a:gd name="T12" fmla="*/ 54 w 553"/>
                <a:gd name="T13" fmla="*/ 309 h 651"/>
                <a:gd name="T14" fmla="*/ 50 w 553"/>
                <a:gd name="T15" fmla="*/ 361 h 651"/>
                <a:gd name="T16" fmla="*/ 87 w 553"/>
                <a:gd name="T17" fmla="*/ 387 h 651"/>
                <a:gd name="T18" fmla="*/ 87 w 553"/>
                <a:gd name="T19" fmla="*/ 449 h 651"/>
                <a:gd name="T20" fmla="*/ 98 w 553"/>
                <a:gd name="T21" fmla="*/ 538 h 651"/>
                <a:gd name="T22" fmla="*/ 142 w 553"/>
                <a:gd name="T23" fmla="*/ 556 h 651"/>
                <a:gd name="T24" fmla="*/ 139 w 553"/>
                <a:gd name="T25" fmla="*/ 586 h 651"/>
                <a:gd name="T26" fmla="*/ 201 w 553"/>
                <a:gd name="T27" fmla="*/ 575 h 651"/>
                <a:gd name="T28" fmla="*/ 223 w 553"/>
                <a:gd name="T29" fmla="*/ 586 h 651"/>
                <a:gd name="T30" fmla="*/ 210 w 553"/>
                <a:gd name="T31" fmla="*/ 598 h 651"/>
                <a:gd name="T32" fmla="*/ 290 w 553"/>
                <a:gd name="T33" fmla="*/ 651 h 651"/>
                <a:gd name="T34" fmla="*/ 359 w 553"/>
                <a:gd name="T35" fmla="*/ 637 h 651"/>
                <a:gd name="T36" fmla="*/ 370 w 553"/>
                <a:gd name="T37" fmla="*/ 621 h 651"/>
                <a:gd name="T38" fmla="*/ 361 w 553"/>
                <a:gd name="T39" fmla="*/ 597 h 651"/>
                <a:gd name="T40" fmla="*/ 389 w 553"/>
                <a:gd name="T41" fmla="*/ 590 h 651"/>
                <a:gd name="T42" fmla="*/ 429 w 553"/>
                <a:gd name="T43" fmla="*/ 628 h 651"/>
                <a:gd name="T44" fmla="*/ 497 w 553"/>
                <a:gd name="T45" fmla="*/ 635 h 651"/>
                <a:gd name="T46" fmla="*/ 528 w 553"/>
                <a:gd name="T47" fmla="*/ 588 h 651"/>
                <a:gd name="T48" fmla="*/ 528 w 553"/>
                <a:gd name="T49" fmla="*/ 548 h 651"/>
                <a:gd name="T50" fmla="*/ 547 w 553"/>
                <a:gd name="T51" fmla="*/ 526 h 651"/>
                <a:gd name="T52" fmla="*/ 530 w 553"/>
                <a:gd name="T53" fmla="*/ 522 h 651"/>
                <a:gd name="T54" fmla="*/ 530 w 553"/>
                <a:gd name="T55" fmla="*/ 468 h 651"/>
                <a:gd name="T56" fmla="*/ 493 w 553"/>
                <a:gd name="T57" fmla="*/ 428 h 651"/>
                <a:gd name="T58" fmla="*/ 524 w 553"/>
                <a:gd name="T59" fmla="*/ 423 h 651"/>
                <a:gd name="T60" fmla="*/ 540 w 553"/>
                <a:gd name="T61" fmla="*/ 408 h 651"/>
                <a:gd name="T62" fmla="*/ 553 w 553"/>
                <a:gd name="T63" fmla="*/ 383 h 651"/>
                <a:gd name="T64" fmla="*/ 540 w 553"/>
                <a:gd name="T65" fmla="*/ 376 h 651"/>
                <a:gd name="T66" fmla="*/ 547 w 553"/>
                <a:gd name="T67" fmla="*/ 321 h 651"/>
                <a:gd name="T68" fmla="*/ 503 w 553"/>
                <a:gd name="T69" fmla="*/ 273 h 651"/>
                <a:gd name="T70" fmla="*/ 485 w 553"/>
                <a:gd name="T71" fmla="*/ 177 h 651"/>
                <a:gd name="T72" fmla="*/ 419 w 553"/>
                <a:gd name="T73" fmla="*/ 92 h 651"/>
                <a:gd name="T74" fmla="*/ 370 w 553"/>
                <a:gd name="T75" fmla="*/ 104 h 651"/>
                <a:gd name="T76" fmla="*/ 360 w 553"/>
                <a:gd name="T77" fmla="*/ 68 h 651"/>
                <a:gd name="T78" fmla="*/ 334 w 553"/>
                <a:gd name="T79" fmla="*/ 68 h 651"/>
                <a:gd name="T80" fmla="*/ 329 w 553"/>
                <a:gd name="T81" fmla="*/ 99 h 651"/>
                <a:gd name="T82" fmla="*/ 261 w 553"/>
                <a:gd name="T83" fmla="*/ 120 h 651"/>
                <a:gd name="T84" fmla="*/ 214 w 553"/>
                <a:gd name="T85" fmla="*/ 0 h 65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53"/>
                <a:gd name="T130" fmla="*/ 0 h 651"/>
                <a:gd name="T131" fmla="*/ 553 w 553"/>
                <a:gd name="T132" fmla="*/ 651 h 65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53" h="651">
                  <a:moveTo>
                    <a:pt x="214" y="0"/>
                  </a:moveTo>
                  <a:lnTo>
                    <a:pt x="141" y="26"/>
                  </a:lnTo>
                  <a:lnTo>
                    <a:pt x="120" y="73"/>
                  </a:lnTo>
                  <a:lnTo>
                    <a:pt x="74" y="41"/>
                  </a:lnTo>
                  <a:lnTo>
                    <a:pt x="37" y="156"/>
                  </a:lnTo>
                  <a:lnTo>
                    <a:pt x="0" y="242"/>
                  </a:lnTo>
                  <a:lnTo>
                    <a:pt x="54" y="309"/>
                  </a:lnTo>
                  <a:lnTo>
                    <a:pt x="50" y="361"/>
                  </a:lnTo>
                  <a:lnTo>
                    <a:pt x="87" y="387"/>
                  </a:lnTo>
                  <a:lnTo>
                    <a:pt x="87" y="449"/>
                  </a:lnTo>
                  <a:lnTo>
                    <a:pt x="98" y="538"/>
                  </a:lnTo>
                  <a:lnTo>
                    <a:pt x="142" y="556"/>
                  </a:lnTo>
                  <a:lnTo>
                    <a:pt x="139" y="586"/>
                  </a:lnTo>
                  <a:lnTo>
                    <a:pt x="201" y="575"/>
                  </a:lnTo>
                  <a:lnTo>
                    <a:pt x="223" y="586"/>
                  </a:lnTo>
                  <a:lnTo>
                    <a:pt x="210" y="598"/>
                  </a:lnTo>
                  <a:lnTo>
                    <a:pt x="290" y="651"/>
                  </a:lnTo>
                  <a:lnTo>
                    <a:pt x="359" y="637"/>
                  </a:lnTo>
                  <a:lnTo>
                    <a:pt x="370" y="621"/>
                  </a:lnTo>
                  <a:lnTo>
                    <a:pt x="361" y="597"/>
                  </a:lnTo>
                  <a:lnTo>
                    <a:pt x="389" y="590"/>
                  </a:lnTo>
                  <a:lnTo>
                    <a:pt x="429" y="628"/>
                  </a:lnTo>
                  <a:lnTo>
                    <a:pt x="497" y="635"/>
                  </a:lnTo>
                  <a:lnTo>
                    <a:pt x="528" y="588"/>
                  </a:lnTo>
                  <a:lnTo>
                    <a:pt x="528" y="548"/>
                  </a:lnTo>
                  <a:lnTo>
                    <a:pt x="547" y="526"/>
                  </a:lnTo>
                  <a:lnTo>
                    <a:pt x="530" y="522"/>
                  </a:lnTo>
                  <a:lnTo>
                    <a:pt x="530" y="468"/>
                  </a:lnTo>
                  <a:lnTo>
                    <a:pt x="493" y="428"/>
                  </a:lnTo>
                  <a:lnTo>
                    <a:pt x="524" y="423"/>
                  </a:lnTo>
                  <a:lnTo>
                    <a:pt x="540" y="408"/>
                  </a:lnTo>
                  <a:lnTo>
                    <a:pt x="553" y="383"/>
                  </a:lnTo>
                  <a:lnTo>
                    <a:pt x="540" y="376"/>
                  </a:lnTo>
                  <a:lnTo>
                    <a:pt x="547" y="321"/>
                  </a:lnTo>
                  <a:lnTo>
                    <a:pt x="503" y="273"/>
                  </a:lnTo>
                  <a:lnTo>
                    <a:pt x="485" y="177"/>
                  </a:lnTo>
                  <a:lnTo>
                    <a:pt x="419" y="92"/>
                  </a:lnTo>
                  <a:lnTo>
                    <a:pt x="370" y="104"/>
                  </a:lnTo>
                  <a:lnTo>
                    <a:pt x="360" y="68"/>
                  </a:lnTo>
                  <a:lnTo>
                    <a:pt x="334" y="68"/>
                  </a:lnTo>
                  <a:lnTo>
                    <a:pt x="329" y="99"/>
                  </a:lnTo>
                  <a:lnTo>
                    <a:pt x="261" y="120"/>
                  </a:lnTo>
                  <a:lnTo>
                    <a:pt x="214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48</a:t>
              </a:r>
            </a:p>
          </p:txBody>
        </p:sp>
        <p:sp>
          <p:nvSpPr>
            <p:cNvPr id="115" name="FR-03">
              <a:extLst>
                <a:ext uri="{FF2B5EF4-FFF2-40B4-BE49-F238E27FC236}">
                  <a16:creationId xmlns:a16="http://schemas.microsoft.com/office/drawing/2014/main" id="{D7380850-F7C5-44E5-8164-ED9B3BD8E04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464649" y="3079168"/>
              <a:ext cx="877336" cy="604093"/>
            </a:xfrm>
            <a:custGeom>
              <a:avLst/>
              <a:gdLst>
                <a:gd name="T0" fmla="*/ 306 w 903"/>
                <a:gd name="T1" fmla="*/ 47 h 638"/>
                <a:gd name="T2" fmla="*/ 262 w 903"/>
                <a:gd name="T3" fmla="*/ 73 h 638"/>
                <a:gd name="T4" fmla="*/ 166 w 903"/>
                <a:gd name="T5" fmla="*/ 115 h 638"/>
                <a:gd name="T6" fmla="*/ 179 w 903"/>
                <a:gd name="T7" fmla="*/ 167 h 638"/>
                <a:gd name="T8" fmla="*/ 145 w 903"/>
                <a:gd name="T9" fmla="*/ 216 h 638"/>
                <a:gd name="T10" fmla="*/ 46 w 903"/>
                <a:gd name="T11" fmla="*/ 219 h 638"/>
                <a:gd name="T12" fmla="*/ 0 w 903"/>
                <a:gd name="T13" fmla="*/ 284 h 638"/>
                <a:gd name="T14" fmla="*/ 33 w 903"/>
                <a:gd name="T15" fmla="*/ 328 h 638"/>
                <a:gd name="T16" fmla="*/ 51 w 903"/>
                <a:gd name="T17" fmla="*/ 383 h 638"/>
                <a:gd name="T18" fmla="*/ 90 w 903"/>
                <a:gd name="T19" fmla="*/ 396 h 638"/>
                <a:gd name="T20" fmla="*/ 148 w 903"/>
                <a:gd name="T21" fmla="*/ 474 h 638"/>
                <a:gd name="T22" fmla="*/ 189 w 903"/>
                <a:gd name="T23" fmla="*/ 524 h 638"/>
                <a:gd name="T24" fmla="*/ 226 w 903"/>
                <a:gd name="T25" fmla="*/ 475 h 638"/>
                <a:gd name="T26" fmla="*/ 243 w 903"/>
                <a:gd name="T27" fmla="*/ 449 h 638"/>
                <a:gd name="T28" fmla="*/ 274 w 903"/>
                <a:gd name="T29" fmla="*/ 461 h 638"/>
                <a:gd name="T30" fmla="*/ 349 w 903"/>
                <a:gd name="T31" fmla="*/ 421 h 638"/>
                <a:gd name="T32" fmla="*/ 337 w 903"/>
                <a:gd name="T33" fmla="*/ 461 h 638"/>
                <a:gd name="T34" fmla="*/ 370 w 903"/>
                <a:gd name="T35" fmla="*/ 510 h 638"/>
                <a:gd name="T36" fmla="*/ 516 w 903"/>
                <a:gd name="T37" fmla="*/ 560 h 638"/>
                <a:gd name="T38" fmla="*/ 575 w 903"/>
                <a:gd name="T39" fmla="*/ 564 h 638"/>
                <a:gd name="T40" fmla="*/ 629 w 903"/>
                <a:gd name="T41" fmla="*/ 557 h 638"/>
                <a:gd name="T42" fmla="*/ 665 w 903"/>
                <a:gd name="T43" fmla="*/ 597 h 638"/>
                <a:gd name="T44" fmla="*/ 716 w 903"/>
                <a:gd name="T45" fmla="*/ 624 h 638"/>
                <a:gd name="T46" fmla="*/ 754 w 903"/>
                <a:gd name="T47" fmla="*/ 625 h 638"/>
                <a:gd name="T48" fmla="*/ 812 w 903"/>
                <a:gd name="T49" fmla="*/ 474 h 638"/>
                <a:gd name="T50" fmla="*/ 801 w 903"/>
                <a:gd name="T51" fmla="*/ 409 h 638"/>
                <a:gd name="T52" fmla="*/ 846 w 903"/>
                <a:gd name="T53" fmla="*/ 399 h 638"/>
                <a:gd name="T54" fmla="*/ 903 w 903"/>
                <a:gd name="T55" fmla="*/ 255 h 638"/>
                <a:gd name="T56" fmla="*/ 843 w 903"/>
                <a:gd name="T57" fmla="*/ 229 h 638"/>
                <a:gd name="T58" fmla="*/ 783 w 903"/>
                <a:gd name="T59" fmla="*/ 209 h 638"/>
                <a:gd name="T60" fmla="*/ 770 w 903"/>
                <a:gd name="T61" fmla="*/ 154 h 638"/>
                <a:gd name="T62" fmla="*/ 692 w 903"/>
                <a:gd name="T63" fmla="*/ 37 h 638"/>
                <a:gd name="T64" fmla="*/ 621 w 903"/>
                <a:gd name="T65" fmla="*/ 109 h 638"/>
                <a:gd name="T66" fmla="*/ 590 w 903"/>
                <a:gd name="T67" fmla="*/ 65 h 638"/>
                <a:gd name="T68" fmla="*/ 541 w 903"/>
                <a:gd name="T69" fmla="*/ 86 h 638"/>
                <a:gd name="T70" fmla="*/ 509 w 903"/>
                <a:gd name="T71" fmla="*/ 78 h 638"/>
                <a:gd name="T72" fmla="*/ 450 w 903"/>
                <a:gd name="T73" fmla="*/ 60 h 638"/>
                <a:gd name="T74" fmla="*/ 403 w 903"/>
                <a:gd name="T75" fmla="*/ 5 h 63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903"/>
                <a:gd name="T115" fmla="*/ 0 h 638"/>
                <a:gd name="T116" fmla="*/ 903 w 903"/>
                <a:gd name="T117" fmla="*/ 638 h 63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903" h="638">
                  <a:moveTo>
                    <a:pt x="343" y="0"/>
                  </a:moveTo>
                  <a:lnTo>
                    <a:pt x="306" y="47"/>
                  </a:lnTo>
                  <a:lnTo>
                    <a:pt x="286" y="49"/>
                  </a:lnTo>
                  <a:lnTo>
                    <a:pt x="262" y="73"/>
                  </a:lnTo>
                  <a:lnTo>
                    <a:pt x="236" y="44"/>
                  </a:lnTo>
                  <a:lnTo>
                    <a:pt x="166" y="115"/>
                  </a:lnTo>
                  <a:lnTo>
                    <a:pt x="166" y="157"/>
                  </a:lnTo>
                  <a:lnTo>
                    <a:pt x="179" y="167"/>
                  </a:lnTo>
                  <a:lnTo>
                    <a:pt x="181" y="188"/>
                  </a:lnTo>
                  <a:lnTo>
                    <a:pt x="145" y="216"/>
                  </a:lnTo>
                  <a:lnTo>
                    <a:pt x="111" y="206"/>
                  </a:lnTo>
                  <a:lnTo>
                    <a:pt x="46" y="219"/>
                  </a:lnTo>
                  <a:lnTo>
                    <a:pt x="12" y="258"/>
                  </a:lnTo>
                  <a:lnTo>
                    <a:pt x="0" y="284"/>
                  </a:lnTo>
                  <a:lnTo>
                    <a:pt x="2" y="284"/>
                  </a:lnTo>
                  <a:lnTo>
                    <a:pt x="33" y="328"/>
                  </a:lnTo>
                  <a:lnTo>
                    <a:pt x="33" y="359"/>
                  </a:lnTo>
                  <a:lnTo>
                    <a:pt x="51" y="383"/>
                  </a:lnTo>
                  <a:lnTo>
                    <a:pt x="69" y="359"/>
                  </a:lnTo>
                  <a:lnTo>
                    <a:pt x="90" y="396"/>
                  </a:lnTo>
                  <a:lnTo>
                    <a:pt x="119" y="407"/>
                  </a:lnTo>
                  <a:lnTo>
                    <a:pt x="148" y="474"/>
                  </a:lnTo>
                  <a:lnTo>
                    <a:pt x="149" y="494"/>
                  </a:lnTo>
                  <a:lnTo>
                    <a:pt x="189" y="524"/>
                  </a:lnTo>
                  <a:lnTo>
                    <a:pt x="210" y="515"/>
                  </a:lnTo>
                  <a:lnTo>
                    <a:pt x="226" y="475"/>
                  </a:lnTo>
                  <a:lnTo>
                    <a:pt x="243" y="470"/>
                  </a:lnTo>
                  <a:lnTo>
                    <a:pt x="243" y="449"/>
                  </a:lnTo>
                  <a:lnTo>
                    <a:pt x="271" y="447"/>
                  </a:lnTo>
                  <a:lnTo>
                    <a:pt x="274" y="461"/>
                  </a:lnTo>
                  <a:lnTo>
                    <a:pt x="309" y="421"/>
                  </a:lnTo>
                  <a:lnTo>
                    <a:pt x="349" y="421"/>
                  </a:lnTo>
                  <a:lnTo>
                    <a:pt x="356" y="435"/>
                  </a:lnTo>
                  <a:lnTo>
                    <a:pt x="337" y="461"/>
                  </a:lnTo>
                  <a:lnTo>
                    <a:pt x="365" y="492"/>
                  </a:lnTo>
                  <a:lnTo>
                    <a:pt x="370" y="510"/>
                  </a:lnTo>
                  <a:lnTo>
                    <a:pt x="436" y="548"/>
                  </a:lnTo>
                  <a:lnTo>
                    <a:pt x="516" y="560"/>
                  </a:lnTo>
                  <a:lnTo>
                    <a:pt x="540" y="557"/>
                  </a:lnTo>
                  <a:lnTo>
                    <a:pt x="575" y="564"/>
                  </a:lnTo>
                  <a:lnTo>
                    <a:pt x="606" y="546"/>
                  </a:lnTo>
                  <a:lnTo>
                    <a:pt x="629" y="557"/>
                  </a:lnTo>
                  <a:lnTo>
                    <a:pt x="634" y="590"/>
                  </a:lnTo>
                  <a:lnTo>
                    <a:pt x="665" y="597"/>
                  </a:lnTo>
                  <a:lnTo>
                    <a:pt x="705" y="595"/>
                  </a:lnTo>
                  <a:lnTo>
                    <a:pt x="716" y="624"/>
                  </a:lnTo>
                  <a:lnTo>
                    <a:pt x="753" y="638"/>
                  </a:lnTo>
                  <a:lnTo>
                    <a:pt x="754" y="625"/>
                  </a:lnTo>
                  <a:lnTo>
                    <a:pt x="817" y="622"/>
                  </a:lnTo>
                  <a:lnTo>
                    <a:pt x="812" y="474"/>
                  </a:lnTo>
                  <a:lnTo>
                    <a:pt x="794" y="438"/>
                  </a:lnTo>
                  <a:lnTo>
                    <a:pt x="801" y="409"/>
                  </a:lnTo>
                  <a:lnTo>
                    <a:pt x="844" y="402"/>
                  </a:lnTo>
                  <a:lnTo>
                    <a:pt x="846" y="399"/>
                  </a:lnTo>
                  <a:lnTo>
                    <a:pt x="900" y="357"/>
                  </a:lnTo>
                  <a:lnTo>
                    <a:pt x="903" y="255"/>
                  </a:lnTo>
                  <a:lnTo>
                    <a:pt x="884" y="229"/>
                  </a:lnTo>
                  <a:lnTo>
                    <a:pt x="843" y="229"/>
                  </a:lnTo>
                  <a:lnTo>
                    <a:pt x="827" y="209"/>
                  </a:lnTo>
                  <a:lnTo>
                    <a:pt x="783" y="209"/>
                  </a:lnTo>
                  <a:lnTo>
                    <a:pt x="770" y="193"/>
                  </a:lnTo>
                  <a:lnTo>
                    <a:pt x="770" y="154"/>
                  </a:lnTo>
                  <a:lnTo>
                    <a:pt x="718" y="55"/>
                  </a:lnTo>
                  <a:lnTo>
                    <a:pt x="692" y="37"/>
                  </a:lnTo>
                  <a:lnTo>
                    <a:pt x="642" y="104"/>
                  </a:lnTo>
                  <a:lnTo>
                    <a:pt x="621" y="109"/>
                  </a:lnTo>
                  <a:lnTo>
                    <a:pt x="614" y="76"/>
                  </a:lnTo>
                  <a:lnTo>
                    <a:pt x="590" y="65"/>
                  </a:lnTo>
                  <a:lnTo>
                    <a:pt x="580" y="86"/>
                  </a:lnTo>
                  <a:lnTo>
                    <a:pt x="541" y="86"/>
                  </a:lnTo>
                  <a:lnTo>
                    <a:pt x="536" y="63"/>
                  </a:lnTo>
                  <a:lnTo>
                    <a:pt x="509" y="78"/>
                  </a:lnTo>
                  <a:lnTo>
                    <a:pt x="481" y="94"/>
                  </a:lnTo>
                  <a:lnTo>
                    <a:pt x="450" y="60"/>
                  </a:lnTo>
                  <a:lnTo>
                    <a:pt x="405" y="39"/>
                  </a:lnTo>
                  <a:lnTo>
                    <a:pt x="403" y="5"/>
                  </a:lnTo>
                  <a:lnTo>
                    <a:pt x="343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03</a:t>
              </a:r>
            </a:p>
          </p:txBody>
        </p:sp>
        <p:sp>
          <p:nvSpPr>
            <p:cNvPr id="116" name="FR-30">
              <a:extLst>
                <a:ext uri="{FF2B5EF4-FFF2-40B4-BE49-F238E27FC236}">
                  <a16:creationId xmlns:a16="http://schemas.microsoft.com/office/drawing/2014/main" id="{F1A87257-520C-4475-924E-0C8BC874522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998046" y="4758886"/>
              <a:ext cx="840416" cy="708247"/>
            </a:xfrm>
            <a:custGeom>
              <a:avLst/>
              <a:gdLst>
                <a:gd name="T0" fmla="*/ 375 w 865"/>
                <a:gd name="T1" fmla="*/ 25 h 748"/>
                <a:gd name="T2" fmla="*/ 328 w 865"/>
                <a:gd name="T3" fmla="*/ 45 h 748"/>
                <a:gd name="T4" fmla="*/ 365 w 865"/>
                <a:gd name="T5" fmla="*/ 139 h 748"/>
                <a:gd name="T6" fmla="*/ 363 w 865"/>
                <a:gd name="T7" fmla="*/ 165 h 748"/>
                <a:gd name="T8" fmla="*/ 332 w 865"/>
                <a:gd name="T9" fmla="*/ 252 h 748"/>
                <a:gd name="T10" fmla="*/ 224 w 865"/>
                <a:gd name="T11" fmla="*/ 207 h 748"/>
                <a:gd name="T12" fmla="*/ 205 w 865"/>
                <a:gd name="T13" fmla="*/ 238 h 748"/>
                <a:gd name="T14" fmla="*/ 125 w 865"/>
                <a:gd name="T15" fmla="*/ 268 h 748"/>
                <a:gd name="T16" fmla="*/ 29 w 865"/>
                <a:gd name="T17" fmla="*/ 228 h 748"/>
                <a:gd name="T18" fmla="*/ 0 w 865"/>
                <a:gd name="T19" fmla="*/ 273 h 748"/>
                <a:gd name="T20" fmla="*/ 44 w 865"/>
                <a:gd name="T21" fmla="*/ 310 h 748"/>
                <a:gd name="T22" fmla="*/ 95 w 865"/>
                <a:gd name="T23" fmla="*/ 361 h 748"/>
                <a:gd name="T24" fmla="*/ 47 w 865"/>
                <a:gd name="T25" fmla="*/ 406 h 748"/>
                <a:gd name="T26" fmla="*/ 85 w 865"/>
                <a:gd name="T27" fmla="*/ 440 h 748"/>
                <a:gd name="T28" fmla="*/ 116 w 865"/>
                <a:gd name="T29" fmla="*/ 438 h 748"/>
                <a:gd name="T30" fmla="*/ 144 w 865"/>
                <a:gd name="T31" fmla="*/ 459 h 748"/>
                <a:gd name="T32" fmla="*/ 187 w 865"/>
                <a:gd name="T33" fmla="*/ 410 h 748"/>
                <a:gd name="T34" fmla="*/ 245 w 865"/>
                <a:gd name="T35" fmla="*/ 365 h 748"/>
                <a:gd name="T36" fmla="*/ 295 w 865"/>
                <a:gd name="T37" fmla="*/ 431 h 748"/>
                <a:gd name="T38" fmla="*/ 337 w 865"/>
                <a:gd name="T39" fmla="*/ 436 h 748"/>
                <a:gd name="T40" fmla="*/ 399 w 865"/>
                <a:gd name="T41" fmla="*/ 488 h 748"/>
                <a:gd name="T42" fmla="*/ 505 w 865"/>
                <a:gd name="T43" fmla="*/ 601 h 748"/>
                <a:gd name="T44" fmla="*/ 455 w 865"/>
                <a:gd name="T45" fmla="*/ 664 h 748"/>
                <a:gd name="T46" fmla="*/ 463 w 865"/>
                <a:gd name="T47" fmla="*/ 696 h 748"/>
                <a:gd name="T48" fmla="*/ 522 w 865"/>
                <a:gd name="T49" fmla="*/ 745 h 748"/>
                <a:gd name="T50" fmla="*/ 578 w 865"/>
                <a:gd name="T51" fmla="*/ 693 h 748"/>
                <a:gd name="T52" fmla="*/ 644 w 865"/>
                <a:gd name="T53" fmla="*/ 615 h 748"/>
                <a:gd name="T54" fmla="*/ 743 w 865"/>
                <a:gd name="T55" fmla="*/ 567 h 748"/>
                <a:gd name="T56" fmla="*/ 865 w 865"/>
                <a:gd name="T57" fmla="*/ 368 h 748"/>
                <a:gd name="T58" fmla="*/ 787 w 865"/>
                <a:gd name="T59" fmla="*/ 258 h 748"/>
                <a:gd name="T60" fmla="*/ 743 w 865"/>
                <a:gd name="T61" fmla="*/ 125 h 748"/>
                <a:gd name="T62" fmla="*/ 644 w 865"/>
                <a:gd name="T63" fmla="*/ 114 h 748"/>
                <a:gd name="T64" fmla="*/ 596 w 865"/>
                <a:gd name="T65" fmla="*/ 78 h 748"/>
                <a:gd name="T66" fmla="*/ 552 w 865"/>
                <a:gd name="T67" fmla="*/ 136 h 748"/>
                <a:gd name="T68" fmla="*/ 460 w 865"/>
                <a:gd name="T69" fmla="*/ 85 h 748"/>
                <a:gd name="T70" fmla="*/ 430 w 865"/>
                <a:gd name="T71" fmla="*/ 26 h 74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865"/>
                <a:gd name="T109" fmla="*/ 0 h 748"/>
                <a:gd name="T110" fmla="*/ 865 w 865"/>
                <a:gd name="T111" fmla="*/ 748 h 74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865" h="748">
                  <a:moveTo>
                    <a:pt x="388" y="0"/>
                  </a:moveTo>
                  <a:lnTo>
                    <a:pt x="375" y="25"/>
                  </a:lnTo>
                  <a:lnTo>
                    <a:pt x="359" y="40"/>
                  </a:lnTo>
                  <a:lnTo>
                    <a:pt x="328" y="45"/>
                  </a:lnTo>
                  <a:lnTo>
                    <a:pt x="365" y="85"/>
                  </a:lnTo>
                  <a:lnTo>
                    <a:pt x="365" y="139"/>
                  </a:lnTo>
                  <a:lnTo>
                    <a:pt x="382" y="143"/>
                  </a:lnTo>
                  <a:lnTo>
                    <a:pt x="363" y="165"/>
                  </a:lnTo>
                  <a:lnTo>
                    <a:pt x="363" y="205"/>
                  </a:lnTo>
                  <a:lnTo>
                    <a:pt x="332" y="252"/>
                  </a:lnTo>
                  <a:lnTo>
                    <a:pt x="264" y="245"/>
                  </a:lnTo>
                  <a:lnTo>
                    <a:pt x="224" y="207"/>
                  </a:lnTo>
                  <a:lnTo>
                    <a:pt x="196" y="214"/>
                  </a:lnTo>
                  <a:lnTo>
                    <a:pt x="205" y="238"/>
                  </a:lnTo>
                  <a:lnTo>
                    <a:pt x="194" y="254"/>
                  </a:lnTo>
                  <a:lnTo>
                    <a:pt x="125" y="268"/>
                  </a:lnTo>
                  <a:lnTo>
                    <a:pt x="45" y="215"/>
                  </a:lnTo>
                  <a:lnTo>
                    <a:pt x="29" y="228"/>
                  </a:lnTo>
                  <a:lnTo>
                    <a:pt x="29" y="265"/>
                  </a:lnTo>
                  <a:lnTo>
                    <a:pt x="0" y="273"/>
                  </a:lnTo>
                  <a:lnTo>
                    <a:pt x="7" y="302"/>
                  </a:lnTo>
                  <a:lnTo>
                    <a:pt x="44" y="310"/>
                  </a:lnTo>
                  <a:lnTo>
                    <a:pt x="84" y="310"/>
                  </a:lnTo>
                  <a:lnTo>
                    <a:pt x="95" y="361"/>
                  </a:lnTo>
                  <a:lnTo>
                    <a:pt x="47" y="383"/>
                  </a:lnTo>
                  <a:lnTo>
                    <a:pt x="47" y="406"/>
                  </a:lnTo>
                  <a:lnTo>
                    <a:pt x="85" y="419"/>
                  </a:lnTo>
                  <a:lnTo>
                    <a:pt x="85" y="440"/>
                  </a:lnTo>
                  <a:lnTo>
                    <a:pt x="102" y="450"/>
                  </a:lnTo>
                  <a:lnTo>
                    <a:pt x="116" y="438"/>
                  </a:lnTo>
                  <a:lnTo>
                    <a:pt x="135" y="438"/>
                  </a:lnTo>
                  <a:lnTo>
                    <a:pt x="144" y="459"/>
                  </a:lnTo>
                  <a:lnTo>
                    <a:pt x="172" y="459"/>
                  </a:lnTo>
                  <a:lnTo>
                    <a:pt x="187" y="410"/>
                  </a:lnTo>
                  <a:lnTo>
                    <a:pt x="210" y="410"/>
                  </a:lnTo>
                  <a:lnTo>
                    <a:pt x="245" y="365"/>
                  </a:lnTo>
                  <a:lnTo>
                    <a:pt x="288" y="370"/>
                  </a:lnTo>
                  <a:lnTo>
                    <a:pt x="295" y="431"/>
                  </a:lnTo>
                  <a:lnTo>
                    <a:pt x="311" y="450"/>
                  </a:lnTo>
                  <a:lnTo>
                    <a:pt x="337" y="436"/>
                  </a:lnTo>
                  <a:lnTo>
                    <a:pt x="382" y="459"/>
                  </a:lnTo>
                  <a:lnTo>
                    <a:pt x="399" y="488"/>
                  </a:lnTo>
                  <a:lnTo>
                    <a:pt x="476" y="535"/>
                  </a:lnTo>
                  <a:lnTo>
                    <a:pt x="505" y="601"/>
                  </a:lnTo>
                  <a:lnTo>
                    <a:pt x="505" y="636"/>
                  </a:lnTo>
                  <a:lnTo>
                    <a:pt x="455" y="664"/>
                  </a:lnTo>
                  <a:lnTo>
                    <a:pt x="423" y="693"/>
                  </a:lnTo>
                  <a:lnTo>
                    <a:pt x="463" y="696"/>
                  </a:lnTo>
                  <a:lnTo>
                    <a:pt x="463" y="748"/>
                  </a:lnTo>
                  <a:lnTo>
                    <a:pt x="522" y="745"/>
                  </a:lnTo>
                  <a:lnTo>
                    <a:pt x="555" y="747"/>
                  </a:lnTo>
                  <a:lnTo>
                    <a:pt x="578" y="693"/>
                  </a:lnTo>
                  <a:lnTo>
                    <a:pt x="662" y="641"/>
                  </a:lnTo>
                  <a:lnTo>
                    <a:pt x="644" y="615"/>
                  </a:lnTo>
                  <a:lnTo>
                    <a:pt x="666" y="556"/>
                  </a:lnTo>
                  <a:lnTo>
                    <a:pt x="743" y="567"/>
                  </a:lnTo>
                  <a:lnTo>
                    <a:pt x="762" y="427"/>
                  </a:lnTo>
                  <a:lnTo>
                    <a:pt x="865" y="368"/>
                  </a:lnTo>
                  <a:lnTo>
                    <a:pt x="865" y="335"/>
                  </a:lnTo>
                  <a:lnTo>
                    <a:pt x="787" y="258"/>
                  </a:lnTo>
                  <a:lnTo>
                    <a:pt x="787" y="199"/>
                  </a:lnTo>
                  <a:lnTo>
                    <a:pt x="743" y="125"/>
                  </a:lnTo>
                  <a:lnTo>
                    <a:pt x="651" y="74"/>
                  </a:lnTo>
                  <a:lnTo>
                    <a:pt x="644" y="114"/>
                  </a:lnTo>
                  <a:lnTo>
                    <a:pt x="607" y="118"/>
                  </a:lnTo>
                  <a:lnTo>
                    <a:pt x="596" y="78"/>
                  </a:lnTo>
                  <a:lnTo>
                    <a:pt x="559" y="85"/>
                  </a:lnTo>
                  <a:lnTo>
                    <a:pt x="552" y="136"/>
                  </a:lnTo>
                  <a:lnTo>
                    <a:pt x="522" y="125"/>
                  </a:lnTo>
                  <a:lnTo>
                    <a:pt x="460" y="85"/>
                  </a:lnTo>
                  <a:lnTo>
                    <a:pt x="430" y="100"/>
                  </a:lnTo>
                  <a:lnTo>
                    <a:pt x="430" y="26"/>
                  </a:lnTo>
                  <a:lnTo>
                    <a:pt x="388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30</a:t>
              </a:r>
            </a:p>
          </p:txBody>
        </p:sp>
        <p:sp>
          <p:nvSpPr>
            <p:cNvPr id="117" name="FR-11">
              <a:extLst>
                <a:ext uri="{FF2B5EF4-FFF2-40B4-BE49-F238E27FC236}">
                  <a16:creationId xmlns:a16="http://schemas.microsoft.com/office/drawing/2014/main" id="{9540C5CF-2903-4A7A-B997-5D2B1C5786B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145972" y="5484176"/>
              <a:ext cx="809325" cy="569059"/>
            </a:xfrm>
            <a:custGeom>
              <a:avLst/>
              <a:gdLst>
                <a:gd name="T0" fmla="*/ 302 w 833"/>
                <a:gd name="T1" fmla="*/ 48 h 601"/>
                <a:gd name="T2" fmla="*/ 202 w 833"/>
                <a:gd name="T3" fmla="*/ 33 h 601"/>
                <a:gd name="T4" fmla="*/ 180 w 833"/>
                <a:gd name="T5" fmla="*/ 19 h 601"/>
                <a:gd name="T6" fmla="*/ 107 w 833"/>
                <a:gd name="T7" fmla="*/ 4 h 601"/>
                <a:gd name="T8" fmla="*/ 81 w 833"/>
                <a:gd name="T9" fmla="*/ 63 h 601"/>
                <a:gd name="T10" fmla="*/ 33 w 833"/>
                <a:gd name="T11" fmla="*/ 122 h 601"/>
                <a:gd name="T12" fmla="*/ 29 w 833"/>
                <a:gd name="T13" fmla="*/ 169 h 601"/>
                <a:gd name="T14" fmla="*/ 151 w 833"/>
                <a:gd name="T15" fmla="*/ 254 h 601"/>
                <a:gd name="T16" fmla="*/ 162 w 833"/>
                <a:gd name="T17" fmla="*/ 391 h 601"/>
                <a:gd name="T18" fmla="*/ 103 w 833"/>
                <a:gd name="T19" fmla="*/ 453 h 601"/>
                <a:gd name="T20" fmla="*/ 169 w 833"/>
                <a:gd name="T21" fmla="*/ 549 h 601"/>
                <a:gd name="T22" fmla="*/ 276 w 833"/>
                <a:gd name="T23" fmla="*/ 593 h 601"/>
                <a:gd name="T24" fmla="*/ 279 w 833"/>
                <a:gd name="T25" fmla="*/ 601 h 601"/>
                <a:gd name="T26" fmla="*/ 359 w 833"/>
                <a:gd name="T27" fmla="*/ 511 h 601"/>
                <a:gd name="T28" fmla="*/ 604 w 833"/>
                <a:gd name="T29" fmla="*/ 467 h 601"/>
                <a:gd name="T30" fmla="*/ 656 w 833"/>
                <a:gd name="T31" fmla="*/ 403 h 601"/>
                <a:gd name="T32" fmla="*/ 756 w 833"/>
                <a:gd name="T33" fmla="*/ 470 h 601"/>
                <a:gd name="T34" fmla="*/ 757 w 833"/>
                <a:gd name="T35" fmla="*/ 310 h 601"/>
                <a:gd name="T36" fmla="*/ 699 w 833"/>
                <a:gd name="T37" fmla="*/ 274 h 601"/>
                <a:gd name="T38" fmla="*/ 764 w 833"/>
                <a:gd name="T39" fmla="*/ 281 h 601"/>
                <a:gd name="T40" fmla="*/ 829 w 833"/>
                <a:gd name="T41" fmla="*/ 224 h 601"/>
                <a:gd name="T42" fmla="*/ 799 w 833"/>
                <a:gd name="T43" fmla="*/ 195 h 601"/>
                <a:gd name="T44" fmla="*/ 755 w 833"/>
                <a:gd name="T45" fmla="*/ 155 h 601"/>
                <a:gd name="T46" fmla="*/ 700 w 833"/>
                <a:gd name="T47" fmla="*/ 113 h 601"/>
                <a:gd name="T48" fmla="*/ 667 w 833"/>
                <a:gd name="T49" fmla="*/ 56 h 601"/>
                <a:gd name="T50" fmla="*/ 660 w 833"/>
                <a:gd name="T51" fmla="*/ 92 h 601"/>
                <a:gd name="T52" fmla="*/ 625 w 833"/>
                <a:gd name="T53" fmla="*/ 139 h 601"/>
                <a:gd name="T54" fmla="*/ 552 w 833"/>
                <a:gd name="T55" fmla="*/ 106 h 601"/>
                <a:gd name="T56" fmla="*/ 491 w 833"/>
                <a:gd name="T57" fmla="*/ 106 h 601"/>
                <a:gd name="T58" fmla="*/ 500 w 833"/>
                <a:gd name="T59" fmla="*/ 44 h 601"/>
                <a:gd name="T60" fmla="*/ 486 w 833"/>
                <a:gd name="T61" fmla="*/ 15 h 601"/>
                <a:gd name="T62" fmla="*/ 328 w 833"/>
                <a:gd name="T63" fmla="*/ 0 h 60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833"/>
                <a:gd name="T97" fmla="*/ 0 h 601"/>
                <a:gd name="T98" fmla="*/ 833 w 833"/>
                <a:gd name="T99" fmla="*/ 601 h 60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833" h="601">
                  <a:moveTo>
                    <a:pt x="306" y="0"/>
                  </a:moveTo>
                  <a:lnTo>
                    <a:pt x="302" y="48"/>
                  </a:lnTo>
                  <a:lnTo>
                    <a:pt x="254" y="33"/>
                  </a:lnTo>
                  <a:lnTo>
                    <a:pt x="202" y="33"/>
                  </a:lnTo>
                  <a:lnTo>
                    <a:pt x="206" y="15"/>
                  </a:lnTo>
                  <a:lnTo>
                    <a:pt x="180" y="19"/>
                  </a:lnTo>
                  <a:lnTo>
                    <a:pt x="125" y="37"/>
                  </a:lnTo>
                  <a:lnTo>
                    <a:pt x="107" y="4"/>
                  </a:lnTo>
                  <a:lnTo>
                    <a:pt x="70" y="37"/>
                  </a:lnTo>
                  <a:lnTo>
                    <a:pt x="81" y="63"/>
                  </a:lnTo>
                  <a:lnTo>
                    <a:pt x="40" y="81"/>
                  </a:lnTo>
                  <a:lnTo>
                    <a:pt x="33" y="122"/>
                  </a:lnTo>
                  <a:lnTo>
                    <a:pt x="0" y="137"/>
                  </a:lnTo>
                  <a:lnTo>
                    <a:pt x="29" y="169"/>
                  </a:lnTo>
                  <a:lnTo>
                    <a:pt x="22" y="192"/>
                  </a:lnTo>
                  <a:lnTo>
                    <a:pt x="151" y="254"/>
                  </a:lnTo>
                  <a:lnTo>
                    <a:pt x="162" y="343"/>
                  </a:lnTo>
                  <a:lnTo>
                    <a:pt x="162" y="391"/>
                  </a:lnTo>
                  <a:lnTo>
                    <a:pt x="169" y="453"/>
                  </a:lnTo>
                  <a:lnTo>
                    <a:pt x="103" y="453"/>
                  </a:lnTo>
                  <a:lnTo>
                    <a:pt x="85" y="479"/>
                  </a:lnTo>
                  <a:lnTo>
                    <a:pt x="169" y="549"/>
                  </a:lnTo>
                  <a:lnTo>
                    <a:pt x="217" y="523"/>
                  </a:lnTo>
                  <a:lnTo>
                    <a:pt x="276" y="593"/>
                  </a:lnTo>
                  <a:lnTo>
                    <a:pt x="267" y="594"/>
                  </a:lnTo>
                  <a:lnTo>
                    <a:pt x="279" y="601"/>
                  </a:lnTo>
                  <a:lnTo>
                    <a:pt x="384" y="549"/>
                  </a:lnTo>
                  <a:lnTo>
                    <a:pt x="359" y="511"/>
                  </a:lnTo>
                  <a:lnTo>
                    <a:pt x="357" y="467"/>
                  </a:lnTo>
                  <a:lnTo>
                    <a:pt x="604" y="467"/>
                  </a:lnTo>
                  <a:lnTo>
                    <a:pt x="599" y="433"/>
                  </a:lnTo>
                  <a:lnTo>
                    <a:pt x="656" y="403"/>
                  </a:lnTo>
                  <a:lnTo>
                    <a:pt x="722" y="454"/>
                  </a:lnTo>
                  <a:lnTo>
                    <a:pt x="756" y="470"/>
                  </a:lnTo>
                  <a:lnTo>
                    <a:pt x="754" y="396"/>
                  </a:lnTo>
                  <a:lnTo>
                    <a:pt x="757" y="310"/>
                  </a:lnTo>
                  <a:lnTo>
                    <a:pt x="725" y="312"/>
                  </a:lnTo>
                  <a:lnTo>
                    <a:pt x="699" y="274"/>
                  </a:lnTo>
                  <a:lnTo>
                    <a:pt x="720" y="239"/>
                  </a:lnTo>
                  <a:lnTo>
                    <a:pt x="764" y="281"/>
                  </a:lnTo>
                  <a:lnTo>
                    <a:pt x="803" y="250"/>
                  </a:lnTo>
                  <a:lnTo>
                    <a:pt x="829" y="224"/>
                  </a:lnTo>
                  <a:lnTo>
                    <a:pt x="833" y="197"/>
                  </a:lnTo>
                  <a:lnTo>
                    <a:pt x="799" y="195"/>
                  </a:lnTo>
                  <a:lnTo>
                    <a:pt x="788" y="158"/>
                  </a:lnTo>
                  <a:lnTo>
                    <a:pt x="755" y="155"/>
                  </a:lnTo>
                  <a:lnTo>
                    <a:pt x="724" y="110"/>
                  </a:lnTo>
                  <a:lnTo>
                    <a:pt x="700" y="113"/>
                  </a:lnTo>
                  <a:lnTo>
                    <a:pt x="672" y="96"/>
                  </a:lnTo>
                  <a:lnTo>
                    <a:pt x="667" y="56"/>
                  </a:lnTo>
                  <a:lnTo>
                    <a:pt x="653" y="63"/>
                  </a:lnTo>
                  <a:lnTo>
                    <a:pt x="660" y="92"/>
                  </a:lnTo>
                  <a:lnTo>
                    <a:pt x="627" y="92"/>
                  </a:lnTo>
                  <a:lnTo>
                    <a:pt x="625" y="139"/>
                  </a:lnTo>
                  <a:lnTo>
                    <a:pt x="576" y="155"/>
                  </a:lnTo>
                  <a:lnTo>
                    <a:pt x="552" y="106"/>
                  </a:lnTo>
                  <a:lnTo>
                    <a:pt x="519" y="127"/>
                  </a:lnTo>
                  <a:lnTo>
                    <a:pt x="491" y="106"/>
                  </a:lnTo>
                  <a:lnTo>
                    <a:pt x="477" y="73"/>
                  </a:lnTo>
                  <a:lnTo>
                    <a:pt x="500" y="44"/>
                  </a:lnTo>
                  <a:lnTo>
                    <a:pt x="489" y="14"/>
                  </a:lnTo>
                  <a:lnTo>
                    <a:pt x="486" y="15"/>
                  </a:lnTo>
                  <a:lnTo>
                    <a:pt x="409" y="15"/>
                  </a:lnTo>
                  <a:lnTo>
                    <a:pt x="328" y="0"/>
                  </a:lnTo>
                  <a:lnTo>
                    <a:pt x="306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11</a:t>
              </a:r>
            </a:p>
          </p:txBody>
        </p:sp>
        <p:sp>
          <p:nvSpPr>
            <p:cNvPr id="118" name="FR-34">
              <a:extLst>
                <a:ext uri="{FF2B5EF4-FFF2-40B4-BE49-F238E27FC236}">
                  <a16:creationId xmlns:a16="http://schemas.microsoft.com/office/drawing/2014/main" id="{332EBDC5-3AAB-46D8-A2F2-20D40CD9096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609415" y="5104488"/>
              <a:ext cx="879279" cy="566218"/>
            </a:xfrm>
            <a:custGeom>
              <a:avLst/>
              <a:gdLst>
                <a:gd name="T0" fmla="*/ 610 w 905"/>
                <a:gd name="T1" fmla="*/ 45 h 598"/>
                <a:gd name="T2" fmla="*/ 572 w 905"/>
                <a:gd name="T3" fmla="*/ 94 h 598"/>
                <a:gd name="T4" fmla="*/ 535 w 905"/>
                <a:gd name="T5" fmla="*/ 73 h 598"/>
                <a:gd name="T6" fmla="*/ 502 w 905"/>
                <a:gd name="T7" fmla="*/ 85 h 598"/>
                <a:gd name="T8" fmla="*/ 485 w 905"/>
                <a:gd name="T9" fmla="*/ 54 h 598"/>
                <a:gd name="T10" fmla="*/ 447 w 905"/>
                <a:gd name="T11" fmla="*/ 55 h 598"/>
                <a:gd name="T12" fmla="*/ 381 w 905"/>
                <a:gd name="T13" fmla="*/ 81 h 598"/>
                <a:gd name="T14" fmla="*/ 348 w 905"/>
                <a:gd name="T15" fmla="*/ 125 h 598"/>
                <a:gd name="T16" fmla="*/ 285 w 905"/>
                <a:gd name="T17" fmla="*/ 103 h 598"/>
                <a:gd name="T18" fmla="*/ 289 w 905"/>
                <a:gd name="T19" fmla="*/ 206 h 598"/>
                <a:gd name="T20" fmla="*/ 223 w 905"/>
                <a:gd name="T21" fmla="*/ 206 h 598"/>
                <a:gd name="T22" fmla="*/ 112 w 905"/>
                <a:gd name="T23" fmla="*/ 268 h 598"/>
                <a:gd name="T24" fmla="*/ 53 w 905"/>
                <a:gd name="T25" fmla="*/ 276 h 598"/>
                <a:gd name="T26" fmla="*/ 83 w 905"/>
                <a:gd name="T27" fmla="*/ 350 h 598"/>
                <a:gd name="T28" fmla="*/ 12 w 905"/>
                <a:gd name="T29" fmla="*/ 415 h 598"/>
                <a:gd name="T30" fmla="*/ 0 w 905"/>
                <a:gd name="T31" fmla="*/ 474 h 598"/>
                <a:gd name="T32" fmla="*/ 42 w 905"/>
                <a:gd name="T33" fmla="*/ 528 h 598"/>
                <a:gd name="T34" fmla="*/ 99 w 905"/>
                <a:gd name="T35" fmla="*/ 556 h 598"/>
                <a:gd name="T36" fmla="*/ 150 w 905"/>
                <a:gd name="T37" fmla="*/ 493 h 598"/>
                <a:gd name="T38" fmla="*/ 176 w 905"/>
                <a:gd name="T39" fmla="*/ 464 h 598"/>
                <a:gd name="T40" fmla="*/ 195 w 905"/>
                <a:gd name="T41" fmla="*/ 497 h 598"/>
                <a:gd name="T42" fmla="*/ 247 w 905"/>
                <a:gd name="T43" fmla="*/ 511 h 598"/>
                <a:gd name="T44" fmla="*/ 311 w 905"/>
                <a:gd name="T45" fmla="*/ 559 h 598"/>
                <a:gd name="T46" fmla="*/ 356 w 905"/>
                <a:gd name="T47" fmla="*/ 598 h 598"/>
                <a:gd name="T48" fmla="*/ 451 w 905"/>
                <a:gd name="T49" fmla="*/ 555 h 598"/>
                <a:gd name="T50" fmla="*/ 535 w 905"/>
                <a:gd name="T51" fmla="*/ 529 h 598"/>
                <a:gd name="T52" fmla="*/ 699 w 905"/>
                <a:gd name="T53" fmla="*/ 388 h 598"/>
                <a:gd name="T54" fmla="*/ 823 w 905"/>
                <a:gd name="T55" fmla="*/ 328 h 598"/>
                <a:gd name="T56" fmla="*/ 905 w 905"/>
                <a:gd name="T57" fmla="*/ 271 h 598"/>
                <a:gd name="T58" fmla="*/ 876 w 905"/>
                <a:gd name="T59" fmla="*/ 170 h 598"/>
                <a:gd name="T60" fmla="*/ 782 w 905"/>
                <a:gd name="T61" fmla="*/ 94 h 598"/>
                <a:gd name="T62" fmla="*/ 711 w 905"/>
                <a:gd name="T63" fmla="*/ 85 h 598"/>
                <a:gd name="T64" fmla="*/ 688 w 905"/>
                <a:gd name="T65" fmla="*/ 5 h 59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905"/>
                <a:gd name="T100" fmla="*/ 0 h 598"/>
                <a:gd name="T101" fmla="*/ 905 w 905"/>
                <a:gd name="T102" fmla="*/ 598 h 59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905" h="598">
                  <a:moveTo>
                    <a:pt x="645" y="0"/>
                  </a:moveTo>
                  <a:lnTo>
                    <a:pt x="610" y="45"/>
                  </a:lnTo>
                  <a:lnTo>
                    <a:pt x="587" y="45"/>
                  </a:lnTo>
                  <a:lnTo>
                    <a:pt x="572" y="94"/>
                  </a:lnTo>
                  <a:lnTo>
                    <a:pt x="544" y="94"/>
                  </a:lnTo>
                  <a:lnTo>
                    <a:pt x="535" y="73"/>
                  </a:lnTo>
                  <a:lnTo>
                    <a:pt x="516" y="73"/>
                  </a:lnTo>
                  <a:lnTo>
                    <a:pt x="502" y="85"/>
                  </a:lnTo>
                  <a:lnTo>
                    <a:pt x="485" y="75"/>
                  </a:lnTo>
                  <a:lnTo>
                    <a:pt x="485" y="54"/>
                  </a:lnTo>
                  <a:lnTo>
                    <a:pt x="447" y="41"/>
                  </a:lnTo>
                  <a:lnTo>
                    <a:pt x="447" y="55"/>
                  </a:lnTo>
                  <a:lnTo>
                    <a:pt x="403" y="62"/>
                  </a:lnTo>
                  <a:lnTo>
                    <a:pt x="381" y="81"/>
                  </a:lnTo>
                  <a:lnTo>
                    <a:pt x="388" y="125"/>
                  </a:lnTo>
                  <a:lnTo>
                    <a:pt x="348" y="125"/>
                  </a:lnTo>
                  <a:lnTo>
                    <a:pt x="307" y="103"/>
                  </a:lnTo>
                  <a:lnTo>
                    <a:pt x="285" y="103"/>
                  </a:lnTo>
                  <a:lnTo>
                    <a:pt x="285" y="129"/>
                  </a:lnTo>
                  <a:lnTo>
                    <a:pt x="289" y="206"/>
                  </a:lnTo>
                  <a:lnTo>
                    <a:pt x="245" y="206"/>
                  </a:lnTo>
                  <a:lnTo>
                    <a:pt x="223" y="206"/>
                  </a:lnTo>
                  <a:lnTo>
                    <a:pt x="208" y="235"/>
                  </a:lnTo>
                  <a:lnTo>
                    <a:pt x="112" y="268"/>
                  </a:lnTo>
                  <a:lnTo>
                    <a:pt x="75" y="243"/>
                  </a:lnTo>
                  <a:lnTo>
                    <a:pt x="53" y="276"/>
                  </a:lnTo>
                  <a:lnTo>
                    <a:pt x="42" y="313"/>
                  </a:lnTo>
                  <a:lnTo>
                    <a:pt x="83" y="350"/>
                  </a:lnTo>
                  <a:lnTo>
                    <a:pt x="68" y="398"/>
                  </a:lnTo>
                  <a:lnTo>
                    <a:pt x="12" y="415"/>
                  </a:lnTo>
                  <a:lnTo>
                    <a:pt x="23" y="445"/>
                  </a:lnTo>
                  <a:lnTo>
                    <a:pt x="0" y="474"/>
                  </a:lnTo>
                  <a:lnTo>
                    <a:pt x="14" y="507"/>
                  </a:lnTo>
                  <a:lnTo>
                    <a:pt x="42" y="528"/>
                  </a:lnTo>
                  <a:lnTo>
                    <a:pt x="75" y="507"/>
                  </a:lnTo>
                  <a:lnTo>
                    <a:pt x="99" y="556"/>
                  </a:lnTo>
                  <a:lnTo>
                    <a:pt x="148" y="540"/>
                  </a:lnTo>
                  <a:lnTo>
                    <a:pt x="150" y="493"/>
                  </a:lnTo>
                  <a:lnTo>
                    <a:pt x="183" y="493"/>
                  </a:lnTo>
                  <a:lnTo>
                    <a:pt x="176" y="464"/>
                  </a:lnTo>
                  <a:lnTo>
                    <a:pt x="190" y="457"/>
                  </a:lnTo>
                  <a:lnTo>
                    <a:pt x="195" y="497"/>
                  </a:lnTo>
                  <a:lnTo>
                    <a:pt x="223" y="514"/>
                  </a:lnTo>
                  <a:lnTo>
                    <a:pt x="247" y="511"/>
                  </a:lnTo>
                  <a:lnTo>
                    <a:pt x="278" y="556"/>
                  </a:lnTo>
                  <a:lnTo>
                    <a:pt x="311" y="559"/>
                  </a:lnTo>
                  <a:lnTo>
                    <a:pt x="322" y="596"/>
                  </a:lnTo>
                  <a:lnTo>
                    <a:pt x="356" y="598"/>
                  </a:lnTo>
                  <a:lnTo>
                    <a:pt x="357" y="583"/>
                  </a:lnTo>
                  <a:lnTo>
                    <a:pt x="451" y="555"/>
                  </a:lnTo>
                  <a:lnTo>
                    <a:pt x="462" y="531"/>
                  </a:lnTo>
                  <a:lnTo>
                    <a:pt x="535" y="529"/>
                  </a:lnTo>
                  <a:lnTo>
                    <a:pt x="558" y="500"/>
                  </a:lnTo>
                  <a:lnTo>
                    <a:pt x="699" y="388"/>
                  </a:lnTo>
                  <a:lnTo>
                    <a:pt x="787" y="325"/>
                  </a:lnTo>
                  <a:lnTo>
                    <a:pt x="823" y="328"/>
                  </a:lnTo>
                  <a:lnTo>
                    <a:pt x="855" y="299"/>
                  </a:lnTo>
                  <a:lnTo>
                    <a:pt x="905" y="271"/>
                  </a:lnTo>
                  <a:lnTo>
                    <a:pt x="905" y="236"/>
                  </a:lnTo>
                  <a:lnTo>
                    <a:pt x="876" y="170"/>
                  </a:lnTo>
                  <a:lnTo>
                    <a:pt x="799" y="123"/>
                  </a:lnTo>
                  <a:lnTo>
                    <a:pt x="782" y="94"/>
                  </a:lnTo>
                  <a:lnTo>
                    <a:pt x="737" y="71"/>
                  </a:lnTo>
                  <a:lnTo>
                    <a:pt x="711" y="85"/>
                  </a:lnTo>
                  <a:lnTo>
                    <a:pt x="695" y="66"/>
                  </a:lnTo>
                  <a:lnTo>
                    <a:pt x="688" y="5"/>
                  </a:lnTo>
                  <a:lnTo>
                    <a:pt x="645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34</a:t>
              </a:r>
            </a:p>
          </p:txBody>
        </p:sp>
        <p:sp>
          <p:nvSpPr>
            <p:cNvPr id="119" name="FR-66">
              <a:extLst>
                <a:ext uri="{FF2B5EF4-FFF2-40B4-BE49-F238E27FC236}">
                  <a16:creationId xmlns:a16="http://schemas.microsoft.com/office/drawing/2014/main" id="{E80E4B71-F962-4039-A17F-4601F088407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160545" y="5865758"/>
              <a:ext cx="781149" cy="439340"/>
            </a:xfrm>
            <a:custGeom>
              <a:avLst/>
              <a:gdLst>
                <a:gd name="T0" fmla="*/ 641 w 804"/>
                <a:gd name="T1" fmla="*/ 0 h 464"/>
                <a:gd name="T2" fmla="*/ 584 w 804"/>
                <a:gd name="T3" fmla="*/ 30 h 464"/>
                <a:gd name="T4" fmla="*/ 589 w 804"/>
                <a:gd name="T5" fmla="*/ 64 h 464"/>
                <a:gd name="T6" fmla="*/ 342 w 804"/>
                <a:gd name="T7" fmla="*/ 64 h 464"/>
                <a:gd name="T8" fmla="*/ 344 w 804"/>
                <a:gd name="T9" fmla="*/ 108 h 464"/>
                <a:gd name="T10" fmla="*/ 369 w 804"/>
                <a:gd name="T11" fmla="*/ 146 h 464"/>
                <a:gd name="T12" fmla="*/ 264 w 804"/>
                <a:gd name="T13" fmla="*/ 198 h 464"/>
                <a:gd name="T14" fmla="*/ 252 w 804"/>
                <a:gd name="T15" fmla="*/ 191 h 464"/>
                <a:gd name="T16" fmla="*/ 165 w 804"/>
                <a:gd name="T17" fmla="*/ 197 h 464"/>
                <a:gd name="T18" fmla="*/ 154 w 804"/>
                <a:gd name="T19" fmla="*/ 219 h 464"/>
                <a:gd name="T20" fmla="*/ 110 w 804"/>
                <a:gd name="T21" fmla="*/ 231 h 464"/>
                <a:gd name="T22" fmla="*/ 81 w 804"/>
                <a:gd name="T23" fmla="*/ 256 h 464"/>
                <a:gd name="T24" fmla="*/ 0 w 804"/>
                <a:gd name="T25" fmla="*/ 275 h 464"/>
                <a:gd name="T26" fmla="*/ 4 w 804"/>
                <a:gd name="T27" fmla="*/ 303 h 464"/>
                <a:gd name="T28" fmla="*/ 44 w 804"/>
                <a:gd name="T29" fmla="*/ 339 h 464"/>
                <a:gd name="T30" fmla="*/ 122 w 804"/>
                <a:gd name="T31" fmla="*/ 360 h 464"/>
                <a:gd name="T32" fmla="*/ 124 w 804"/>
                <a:gd name="T33" fmla="*/ 407 h 464"/>
                <a:gd name="T34" fmla="*/ 166 w 804"/>
                <a:gd name="T35" fmla="*/ 444 h 464"/>
                <a:gd name="T36" fmla="*/ 197 w 804"/>
                <a:gd name="T37" fmla="*/ 438 h 464"/>
                <a:gd name="T38" fmla="*/ 242 w 804"/>
                <a:gd name="T39" fmla="*/ 384 h 464"/>
                <a:gd name="T40" fmla="*/ 296 w 804"/>
                <a:gd name="T41" fmla="*/ 373 h 464"/>
                <a:gd name="T42" fmla="*/ 382 w 804"/>
                <a:gd name="T43" fmla="*/ 402 h 464"/>
                <a:gd name="T44" fmla="*/ 455 w 804"/>
                <a:gd name="T45" fmla="*/ 464 h 464"/>
                <a:gd name="T46" fmla="*/ 476 w 804"/>
                <a:gd name="T47" fmla="*/ 438 h 464"/>
                <a:gd name="T48" fmla="*/ 494 w 804"/>
                <a:gd name="T49" fmla="*/ 438 h 464"/>
                <a:gd name="T50" fmla="*/ 512 w 804"/>
                <a:gd name="T51" fmla="*/ 451 h 464"/>
                <a:gd name="T52" fmla="*/ 528 w 804"/>
                <a:gd name="T53" fmla="*/ 444 h 464"/>
                <a:gd name="T54" fmla="*/ 530 w 804"/>
                <a:gd name="T55" fmla="*/ 407 h 464"/>
                <a:gd name="T56" fmla="*/ 609 w 804"/>
                <a:gd name="T57" fmla="*/ 389 h 464"/>
                <a:gd name="T58" fmla="*/ 634 w 804"/>
                <a:gd name="T59" fmla="*/ 355 h 464"/>
                <a:gd name="T60" fmla="*/ 674 w 804"/>
                <a:gd name="T61" fmla="*/ 342 h 464"/>
                <a:gd name="T62" fmla="*/ 728 w 804"/>
                <a:gd name="T63" fmla="*/ 342 h 464"/>
                <a:gd name="T64" fmla="*/ 762 w 804"/>
                <a:gd name="T65" fmla="*/ 378 h 464"/>
                <a:gd name="T66" fmla="*/ 804 w 804"/>
                <a:gd name="T67" fmla="*/ 381 h 464"/>
                <a:gd name="T68" fmla="*/ 804 w 804"/>
                <a:gd name="T69" fmla="*/ 339 h 464"/>
                <a:gd name="T70" fmla="*/ 783 w 804"/>
                <a:gd name="T71" fmla="*/ 311 h 464"/>
                <a:gd name="T72" fmla="*/ 747 w 804"/>
                <a:gd name="T73" fmla="*/ 295 h 464"/>
                <a:gd name="T74" fmla="*/ 741 w 804"/>
                <a:gd name="T75" fmla="*/ 67 h 464"/>
                <a:gd name="T76" fmla="*/ 707 w 804"/>
                <a:gd name="T77" fmla="*/ 51 h 464"/>
                <a:gd name="T78" fmla="*/ 641 w 804"/>
                <a:gd name="T79" fmla="*/ 0 h 46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804"/>
                <a:gd name="T121" fmla="*/ 0 h 464"/>
                <a:gd name="T122" fmla="*/ 804 w 804"/>
                <a:gd name="T123" fmla="*/ 464 h 46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804" h="464">
                  <a:moveTo>
                    <a:pt x="641" y="0"/>
                  </a:moveTo>
                  <a:lnTo>
                    <a:pt x="584" y="30"/>
                  </a:lnTo>
                  <a:lnTo>
                    <a:pt x="589" y="64"/>
                  </a:lnTo>
                  <a:lnTo>
                    <a:pt x="342" y="64"/>
                  </a:lnTo>
                  <a:lnTo>
                    <a:pt x="344" y="108"/>
                  </a:lnTo>
                  <a:lnTo>
                    <a:pt x="369" y="146"/>
                  </a:lnTo>
                  <a:lnTo>
                    <a:pt x="264" y="198"/>
                  </a:lnTo>
                  <a:lnTo>
                    <a:pt x="252" y="191"/>
                  </a:lnTo>
                  <a:lnTo>
                    <a:pt x="165" y="197"/>
                  </a:lnTo>
                  <a:lnTo>
                    <a:pt x="154" y="219"/>
                  </a:lnTo>
                  <a:lnTo>
                    <a:pt x="110" y="231"/>
                  </a:lnTo>
                  <a:lnTo>
                    <a:pt x="81" y="256"/>
                  </a:lnTo>
                  <a:lnTo>
                    <a:pt x="0" y="275"/>
                  </a:lnTo>
                  <a:lnTo>
                    <a:pt x="4" y="303"/>
                  </a:lnTo>
                  <a:lnTo>
                    <a:pt x="44" y="339"/>
                  </a:lnTo>
                  <a:lnTo>
                    <a:pt x="122" y="360"/>
                  </a:lnTo>
                  <a:lnTo>
                    <a:pt x="124" y="407"/>
                  </a:lnTo>
                  <a:lnTo>
                    <a:pt x="166" y="444"/>
                  </a:lnTo>
                  <a:lnTo>
                    <a:pt x="197" y="438"/>
                  </a:lnTo>
                  <a:lnTo>
                    <a:pt x="242" y="384"/>
                  </a:lnTo>
                  <a:lnTo>
                    <a:pt x="296" y="373"/>
                  </a:lnTo>
                  <a:lnTo>
                    <a:pt x="382" y="402"/>
                  </a:lnTo>
                  <a:lnTo>
                    <a:pt x="455" y="464"/>
                  </a:lnTo>
                  <a:lnTo>
                    <a:pt x="476" y="438"/>
                  </a:lnTo>
                  <a:lnTo>
                    <a:pt x="494" y="438"/>
                  </a:lnTo>
                  <a:lnTo>
                    <a:pt x="512" y="451"/>
                  </a:lnTo>
                  <a:lnTo>
                    <a:pt x="528" y="444"/>
                  </a:lnTo>
                  <a:lnTo>
                    <a:pt x="530" y="407"/>
                  </a:lnTo>
                  <a:lnTo>
                    <a:pt x="609" y="389"/>
                  </a:lnTo>
                  <a:lnTo>
                    <a:pt x="634" y="355"/>
                  </a:lnTo>
                  <a:lnTo>
                    <a:pt x="674" y="342"/>
                  </a:lnTo>
                  <a:lnTo>
                    <a:pt x="728" y="342"/>
                  </a:lnTo>
                  <a:lnTo>
                    <a:pt x="762" y="378"/>
                  </a:lnTo>
                  <a:lnTo>
                    <a:pt x="804" y="381"/>
                  </a:lnTo>
                  <a:lnTo>
                    <a:pt x="804" y="339"/>
                  </a:lnTo>
                  <a:lnTo>
                    <a:pt x="783" y="311"/>
                  </a:lnTo>
                  <a:lnTo>
                    <a:pt x="747" y="295"/>
                  </a:lnTo>
                  <a:lnTo>
                    <a:pt x="741" y="67"/>
                  </a:lnTo>
                  <a:lnTo>
                    <a:pt x="707" y="51"/>
                  </a:lnTo>
                  <a:lnTo>
                    <a:pt x="641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66</a:t>
              </a:r>
            </a:p>
          </p:txBody>
        </p:sp>
        <p:sp>
          <p:nvSpPr>
            <p:cNvPr id="120" name="FR-15">
              <a:extLst>
                <a:ext uri="{FF2B5EF4-FFF2-40B4-BE49-F238E27FC236}">
                  <a16:creationId xmlns:a16="http://schemas.microsoft.com/office/drawing/2014/main" id="{AB3B36A1-2C2C-4ADC-8191-90363D3E2FB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365548" y="4035490"/>
              <a:ext cx="674276" cy="611667"/>
            </a:xfrm>
            <a:custGeom>
              <a:avLst/>
              <a:gdLst>
                <a:gd name="T0" fmla="*/ 226 w 694"/>
                <a:gd name="T1" fmla="*/ 29 h 646"/>
                <a:gd name="T2" fmla="*/ 223 w 694"/>
                <a:gd name="T3" fmla="*/ 79 h 646"/>
                <a:gd name="T4" fmla="*/ 171 w 694"/>
                <a:gd name="T5" fmla="*/ 50 h 646"/>
                <a:gd name="T6" fmla="*/ 146 w 694"/>
                <a:gd name="T7" fmla="*/ 110 h 646"/>
                <a:gd name="T8" fmla="*/ 65 w 694"/>
                <a:gd name="T9" fmla="*/ 185 h 646"/>
                <a:gd name="T10" fmla="*/ 62 w 694"/>
                <a:gd name="T11" fmla="*/ 253 h 646"/>
                <a:gd name="T12" fmla="*/ 28 w 694"/>
                <a:gd name="T13" fmla="*/ 295 h 646"/>
                <a:gd name="T14" fmla="*/ 23 w 694"/>
                <a:gd name="T15" fmla="*/ 337 h 646"/>
                <a:gd name="T16" fmla="*/ 0 w 694"/>
                <a:gd name="T17" fmla="*/ 386 h 646"/>
                <a:gd name="T18" fmla="*/ 58 w 694"/>
                <a:gd name="T19" fmla="*/ 506 h 646"/>
                <a:gd name="T20" fmla="*/ 58 w 694"/>
                <a:gd name="T21" fmla="*/ 598 h 646"/>
                <a:gd name="T22" fmla="*/ 72 w 694"/>
                <a:gd name="T23" fmla="*/ 646 h 646"/>
                <a:gd name="T24" fmla="*/ 131 w 694"/>
                <a:gd name="T25" fmla="*/ 609 h 646"/>
                <a:gd name="T26" fmla="*/ 220 w 694"/>
                <a:gd name="T27" fmla="*/ 620 h 646"/>
                <a:gd name="T28" fmla="*/ 253 w 694"/>
                <a:gd name="T29" fmla="*/ 580 h 646"/>
                <a:gd name="T30" fmla="*/ 278 w 694"/>
                <a:gd name="T31" fmla="*/ 521 h 646"/>
                <a:gd name="T32" fmla="*/ 352 w 694"/>
                <a:gd name="T33" fmla="*/ 396 h 646"/>
                <a:gd name="T34" fmla="*/ 367 w 694"/>
                <a:gd name="T35" fmla="*/ 455 h 646"/>
                <a:gd name="T36" fmla="*/ 430 w 694"/>
                <a:gd name="T37" fmla="*/ 521 h 646"/>
                <a:gd name="T38" fmla="*/ 463 w 694"/>
                <a:gd name="T39" fmla="*/ 595 h 646"/>
                <a:gd name="T40" fmla="*/ 523 w 694"/>
                <a:gd name="T41" fmla="*/ 537 h 646"/>
                <a:gd name="T42" fmla="*/ 606 w 694"/>
                <a:gd name="T43" fmla="*/ 454 h 646"/>
                <a:gd name="T44" fmla="*/ 694 w 694"/>
                <a:gd name="T45" fmla="*/ 383 h 646"/>
                <a:gd name="T46" fmla="*/ 680 w 694"/>
                <a:gd name="T47" fmla="*/ 339 h 646"/>
                <a:gd name="T48" fmla="*/ 666 w 694"/>
                <a:gd name="T49" fmla="*/ 302 h 646"/>
                <a:gd name="T50" fmla="*/ 668 w 694"/>
                <a:gd name="T51" fmla="*/ 285 h 646"/>
                <a:gd name="T52" fmla="*/ 656 w 694"/>
                <a:gd name="T53" fmla="*/ 269 h 646"/>
                <a:gd name="T54" fmla="*/ 637 w 694"/>
                <a:gd name="T55" fmla="*/ 200 h 646"/>
                <a:gd name="T56" fmla="*/ 609 w 694"/>
                <a:gd name="T57" fmla="*/ 142 h 646"/>
                <a:gd name="T58" fmla="*/ 538 w 694"/>
                <a:gd name="T59" fmla="*/ 108 h 646"/>
                <a:gd name="T60" fmla="*/ 510 w 694"/>
                <a:gd name="T61" fmla="*/ 125 h 646"/>
                <a:gd name="T62" fmla="*/ 437 w 694"/>
                <a:gd name="T63" fmla="*/ 68 h 646"/>
                <a:gd name="T64" fmla="*/ 394 w 694"/>
                <a:gd name="T65" fmla="*/ 52 h 646"/>
                <a:gd name="T66" fmla="*/ 336 w 694"/>
                <a:gd name="T67" fmla="*/ 68 h 646"/>
                <a:gd name="T68" fmla="*/ 234 w 694"/>
                <a:gd name="T69" fmla="*/ 0 h 64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694"/>
                <a:gd name="T106" fmla="*/ 0 h 646"/>
                <a:gd name="T107" fmla="*/ 694 w 694"/>
                <a:gd name="T108" fmla="*/ 646 h 64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694" h="646">
                  <a:moveTo>
                    <a:pt x="234" y="0"/>
                  </a:moveTo>
                  <a:lnTo>
                    <a:pt x="226" y="29"/>
                  </a:lnTo>
                  <a:lnTo>
                    <a:pt x="239" y="60"/>
                  </a:lnTo>
                  <a:lnTo>
                    <a:pt x="223" y="79"/>
                  </a:lnTo>
                  <a:lnTo>
                    <a:pt x="198" y="79"/>
                  </a:lnTo>
                  <a:lnTo>
                    <a:pt x="171" y="50"/>
                  </a:lnTo>
                  <a:lnTo>
                    <a:pt x="148" y="37"/>
                  </a:lnTo>
                  <a:lnTo>
                    <a:pt x="146" y="110"/>
                  </a:lnTo>
                  <a:lnTo>
                    <a:pt x="98" y="139"/>
                  </a:lnTo>
                  <a:lnTo>
                    <a:pt x="65" y="185"/>
                  </a:lnTo>
                  <a:lnTo>
                    <a:pt x="73" y="232"/>
                  </a:lnTo>
                  <a:lnTo>
                    <a:pt x="62" y="253"/>
                  </a:lnTo>
                  <a:lnTo>
                    <a:pt x="49" y="295"/>
                  </a:lnTo>
                  <a:lnTo>
                    <a:pt x="28" y="295"/>
                  </a:lnTo>
                  <a:lnTo>
                    <a:pt x="7" y="321"/>
                  </a:lnTo>
                  <a:lnTo>
                    <a:pt x="23" y="337"/>
                  </a:lnTo>
                  <a:lnTo>
                    <a:pt x="33" y="362"/>
                  </a:lnTo>
                  <a:lnTo>
                    <a:pt x="0" y="386"/>
                  </a:lnTo>
                  <a:lnTo>
                    <a:pt x="13" y="473"/>
                  </a:lnTo>
                  <a:lnTo>
                    <a:pt x="58" y="506"/>
                  </a:lnTo>
                  <a:lnTo>
                    <a:pt x="24" y="584"/>
                  </a:lnTo>
                  <a:lnTo>
                    <a:pt x="58" y="598"/>
                  </a:lnTo>
                  <a:lnTo>
                    <a:pt x="43" y="642"/>
                  </a:lnTo>
                  <a:lnTo>
                    <a:pt x="72" y="646"/>
                  </a:lnTo>
                  <a:lnTo>
                    <a:pt x="94" y="609"/>
                  </a:lnTo>
                  <a:lnTo>
                    <a:pt x="131" y="609"/>
                  </a:lnTo>
                  <a:lnTo>
                    <a:pt x="138" y="620"/>
                  </a:lnTo>
                  <a:lnTo>
                    <a:pt x="220" y="620"/>
                  </a:lnTo>
                  <a:lnTo>
                    <a:pt x="234" y="587"/>
                  </a:lnTo>
                  <a:lnTo>
                    <a:pt x="253" y="580"/>
                  </a:lnTo>
                  <a:lnTo>
                    <a:pt x="260" y="521"/>
                  </a:lnTo>
                  <a:lnTo>
                    <a:pt x="278" y="521"/>
                  </a:lnTo>
                  <a:lnTo>
                    <a:pt x="278" y="459"/>
                  </a:lnTo>
                  <a:lnTo>
                    <a:pt x="352" y="396"/>
                  </a:lnTo>
                  <a:lnTo>
                    <a:pt x="360" y="407"/>
                  </a:lnTo>
                  <a:lnTo>
                    <a:pt x="367" y="455"/>
                  </a:lnTo>
                  <a:lnTo>
                    <a:pt x="418" y="447"/>
                  </a:lnTo>
                  <a:lnTo>
                    <a:pt x="430" y="521"/>
                  </a:lnTo>
                  <a:lnTo>
                    <a:pt x="455" y="521"/>
                  </a:lnTo>
                  <a:lnTo>
                    <a:pt x="463" y="595"/>
                  </a:lnTo>
                  <a:lnTo>
                    <a:pt x="486" y="623"/>
                  </a:lnTo>
                  <a:lnTo>
                    <a:pt x="523" y="537"/>
                  </a:lnTo>
                  <a:lnTo>
                    <a:pt x="560" y="422"/>
                  </a:lnTo>
                  <a:lnTo>
                    <a:pt x="606" y="454"/>
                  </a:lnTo>
                  <a:lnTo>
                    <a:pt x="627" y="407"/>
                  </a:lnTo>
                  <a:lnTo>
                    <a:pt x="694" y="383"/>
                  </a:lnTo>
                  <a:lnTo>
                    <a:pt x="694" y="361"/>
                  </a:lnTo>
                  <a:lnTo>
                    <a:pt x="680" y="339"/>
                  </a:lnTo>
                  <a:lnTo>
                    <a:pt x="651" y="323"/>
                  </a:lnTo>
                  <a:lnTo>
                    <a:pt x="666" y="302"/>
                  </a:lnTo>
                  <a:lnTo>
                    <a:pt x="653" y="290"/>
                  </a:lnTo>
                  <a:lnTo>
                    <a:pt x="668" y="285"/>
                  </a:lnTo>
                  <a:lnTo>
                    <a:pt x="684" y="271"/>
                  </a:lnTo>
                  <a:lnTo>
                    <a:pt x="656" y="269"/>
                  </a:lnTo>
                  <a:lnTo>
                    <a:pt x="642" y="250"/>
                  </a:lnTo>
                  <a:lnTo>
                    <a:pt x="637" y="200"/>
                  </a:lnTo>
                  <a:lnTo>
                    <a:pt x="621" y="184"/>
                  </a:lnTo>
                  <a:lnTo>
                    <a:pt x="609" y="142"/>
                  </a:lnTo>
                  <a:lnTo>
                    <a:pt x="550" y="142"/>
                  </a:lnTo>
                  <a:lnTo>
                    <a:pt x="538" y="108"/>
                  </a:lnTo>
                  <a:lnTo>
                    <a:pt x="519" y="106"/>
                  </a:lnTo>
                  <a:lnTo>
                    <a:pt x="510" y="125"/>
                  </a:lnTo>
                  <a:lnTo>
                    <a:pt x="472" y="122"/>
                  </a:lnTo>
                  <a:lnTo>
                    <a:pt x="437" y="68"/>
                  </a:lnTo>
                  <a:lnTo>
                    <a:pt x="423" y="66"/>
                  </a:lnTo>
                  <a:lnTo>
                    <a:pt x="394" y="52"/>
                  </a:lnTo>
                  <a:lnTo>
                    <a:pt x="378" y="68"/>
                  </a:lnTo>
                  <a:lnTo>
                    <a:pt x="336" y="68"/>
                  </a:lnTo>
                  <a:lnTo>
                    <a:pt x="314" y="24"/>
                  </a:lnTo>
                  <a:lnTo>
                    <a:pt x="234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15</a:t>
              </a:r>
            </a:p>
          </p:txBody>
        </p:sp>
        <p:sp>
          <p:nvSpPr>
            <p:cNvPr id="121" name="FR-43">
              <a:extLst>
                <a:ext uri="{FF2B5EF4-FFF2-40B4-BE49-F238E27FC236}">
                  <a16:creationId xmlns:a16="http://schemas.microsoft.com/office/drawing/2014/main" id="{34A2CD81-B756-400A-B8A1-CBA3B335E0F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880485" y="4068630"/>
              <a:ext cx="734513" cy="487630"/>
            </a:xfrm>
            <a:custGeom>
              <a:avLst/>
              <a:gdLst>
                <a:gd name="T0" fmla="*/ 112 w 756"/>
                <a:gd name="T1" fmla="*/ 10 h 515"/>
                <a:gd name="T2" fmla="*/ 83 w 756"/>
                <a:gd name="T3" fmla="*/ 29 h 515"/>
                <a:gd name="T4" fmla="*/ 11 w 756"/>
                <a:gd name="T5" fmla="*/ 57 h 515"/>
                <a:gd name="T6" fmla="*/ 8 w 756"/>
                <a:gd name="T7" fmla="*/ 73 h 515"/>
                <a:gd name="T8" fmla="*/ 79 w 756"/>
                <a:gd name="T9" fmla="*/ 107 h 515"/>
                <a:gd name="T10" fmla="*/ 107 w 756"/>
                <a:gd name="T11" fmla="*/ 165 h 515"/>
                <a:gd name="T12" fmla="*/ 126 w 756"/>
                <a:gd name="T13" fmla="*/ 234 h 515"/>
                <a:gd name="T14" fmla="*/ 138 w 756"/>
                <a:gd name="T15" fmla="*/ 250 h 515"/>
                <a:gd name="T16" fmla="*/ 136 w 756"/>
                <a:gd name="T17" fmla="*/ 267 h 515"/>
                <a:gd name="T18" fmla="*/ 150 w 756"/>
                <a:gd name="T19" fmla="*/ 304 h 515"/>
                <a:gd name="T20" fmla="*/ 164 w 756"/>
                <a:gd name="T21" fmla="*/ 348 h 515"/>
                <a:gd name="T22" fmla="*/ 217 w 756"/>
                <a:gd name="T23" fmla="*/ 466 h 515"/>
                <a:gd name="T24" fmla="*/ 290 w 756"/>
                <a:gd name="T25" fmla="*/ 414 h 515"/>
                <a:gd name="T26" fmla="*/ 326 w 756"/>
                <a:gd name="T27" fmla="*/ 450 h 515"/>
                <a:gd name="T28" fmla="*/ 435 w 756"/>
                <a:gd name="T29" fmla="*/ 515 h 515"/>
                <a:gd name="T30" fmla="*/ 540 w 756"/>
                <a:gd name="T31" fmla="*/ 406 h 515"/>
                <a:gd name="T32" fmla="*/ 623 w 756"/>
                <a:gd name="T33" fmla="*/ 341 h 515"/>
                <a:gd name="T34" fmla="*/ 668 w 756"/>
                <a:gd name="T35" fmla="*/ 289 h 515"/>
                <a:gd name="T36" fmla="*/ 699 w 756"/>
                <a:gd name="T37" fmla="*/ 270 h 515"/>
                <a:gd name="T38" fmla="*/ 704 w 756"/>
                <a:gd name="T39" fmla="*/ 210 h 515"/>
                <a:gd name="T40" fmla="*/ 756 w 756"/>
                <a:gd name="T41" fmla="*/ 132 h 515"/>
                <a:gd name="T42" fmla="*/ 681 w 756"/>
                <a:gd name="T43" fmla="*/ 96 h 515"/>
                <a:gd name="T44" fmla="*/ 602 w 756"/>
                <a:gd name="T45" fmla="*/ 10 h 515"/>
                <a:gd name="T46" fmla="*/ 516 w 756"/>
                <a:gd name="T47" fmla="*/ 59 h 515"/>
                <a:gd name="T48" fmla="*/ 453 w 756"/>
                <a:gd name="T49" fmla="*/ 52 h 515"/>
                <a:gd name="T50" fmla="*/ 397 w 756"/>
                <a:gd name="T51" fmla="*/ 19 h 515"/>
                <a:gd name="T52" fmla="*/ 343 w 756"/>
                <a:gd name="T53" fmla="*/ 45 h 515"/>
                <a:gd name="T54" fmla="*/ 310 w 756"/>
                <a:gd name="T55" fmla="*/ 62 h 515"/>
                <a:gd name="T56" fmla="*/ 267 w 756"/>
                <a:gd name="T57" fmla="*/ 19 h 515"/>
                <a:gd name="T58" fmla="*/ 227 w 756"/>
                <a:gd name="T59" fmla="*/ 3 h 515"/>
                <a:gd name="T60" fmla="*/ 166 w 756"/>
                <a:gd name="T61" fmla="*/ 17 h 515"/>
                <a:gd name="T62" fmla="*/ 136 w 756"/>
                <a:gd name="T63" fmla="*/ 12 h 515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756"/>
                <a:gd name="T97" fmla="*/ 0 h 515"/>
                <a:gd name="T98" fmla="*/ 756 w 756"/>
                <a:gd name="T99" fmla="*/ 515 h 515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756" h="515">
                  <a:moveTo>
                    <a:pt x="131" y="0"/>
                  </a:moveTo>
                  <a:lnTo>
                    <a:pt x="112" y="10"/>
                  </a:lnTo>
                  <a:lnTo>
                    <a:pt x="112" y="26"/>
                  </a:lnTo>
                  <a:lnTo>
                    <a:pt x="83" y="29"/>
                  </a:lnTo>
                  <a:lnTo>
                    <a:pt x="58" y="50"/>
                  </a:lnTo>
                  <a:lnTo>
                    <a:pt x="11" y="57"/>
                  </a:lnTo>
                  <a:lnTo>
                    <a:pt x="0" y="72"/>
                  </a:lnTo>
                  <a:lnTo>
                    <a:pt x="8" y="73"/>
                  </a:lnTo>
                  <a:lnTo>
                    <a:pt x="20" y="107"/>
                  </a:lnTo>
                  <a:lnTo>
                    <a:pt x="79" y="107"/>
                  </a:lnTo>
                  <a:lnTo>
                    <a:pt x="91" y="149"/>
                  </a:lnTo>
                  <a:lnTo>
                    <a:pt x="107" y="165"/>
                  </a:lnTo>
                  <a:lnTo>
                    <a:pt x="112" y="215"/>
                  </a:lnTo>
                  <a:lnTo>
                    <a:pt x="126" y="234"/>
                  </a:lnTo>
                  <a:lnTo>
                    <a:pt x="154" y="236"/>
                  </a:lnTo>
                  <a:lnTo>
                    <a:pt x="138" y="250"/>
                  </a:lnTo>
                  <a:lnTo>
                    <a:pt x="123" y="255"/>
                  </a:lnTo>
                  <a:lnTo>
                    <a:pt x="136" y="267"/>
                  </a:lnTo>
                  <a:lnTo>
                    <a:pt x="121" y="288"/>
                  </a:lnTo>
                  <a:lnTo>
                    <a:pt x="150" y="304"/>
                  </a:lnTo>
                  <a:lnTo>
                    <a:pt x="164" y="326"/>
                  </a:lnTo>
                  <a:lnTo>
                    <a:pt x="164" y="348"/>
                  </a:lnTo>
                  <a:lnTo>
                    <a:pt x="170" y="346"/>
                  </a:lnTo>
                  <a:lnTo>
                    <a:pt x="217" y="466"/>
                  </a:lnTo>
                  <a:lnTo>
                    <a:pt x="285" y="445"/>
                  </a:lnTo>
                  <a:lnTo>
                    <a:pt x="290" y="414"/>
                  </a:lnTo>
                  <a:lnTo>
                    <a:pt x="316" y="414"/>
                  </a:lnTo>
                  <a:lnTo>
                    <a:pt x="326" y="450"/>
                  </a:lnTo>
                  <a:lnTo>
                    <a:pt x="375" y="438"/>
                  </a:lnTo>
                  <a:lnTo>
                    <a:pt x="435" y="515"/>
                  </a:lnTo>
                  <a:lnTo>
                    <a:pt x="472" y="455"/>
                  </a:lnTo>
                  <a:lnTo>
                    <a:pt x="540" y="406"/>
                  </a:lnTo>
                  <a:lnTo>
                    <a:pt x="602" y="406"/>
                  </a:lnTo>
                  <a:lnTo>
                    <a:pt x="623" y="341"/>
                  </a:lnTo>
                  <a:lnTo>
                    <a:pt x="665" y="338"/>
                  </a:lnTo>
                  <a:lnTo>
                    <a:pt x="668" y="289"/>
                  </a:lnTo>
                  <a:lnTo>
                    <a:pt x="706" y="289"/>
                  </a:lnTo>
                  <a:lnTo>
                    <a:pt x="699" y="270"/>
                  </a:lnTo>
                  <a:lnTo>
                    <a:pt x="688" y="237"/>
                  </a:lnTo>
                  <a:lnTo>
                    <a:pt x="704" y="210"/>
                  </a:lnTo>
                  <a:lnTo>
                    <a:pt x="741" y="195"/>
                  </a:lnTo>
                  <a:lnTo>
                    <a:pt x="756" y="132"/>
                  </a:lnTo>
                  <a:lnTo>
                    <a:pt x="722" y="93"/>
                  </a:lnTo>
                  <a:lnTo>
                    <a:pt x="681" y="96"/>
                  </a:lnTo>
                  <a:lnTo>
                    <a:pt x="686" y="46"/>
                  </a:lnTo>
                  <a:lnTo>
                    <a:pt x="602" y="10"/>
                  </a:lnTo>
                  <a:lnTo>
                    <a:pt x="574" y="12"/>
                  </a:lnTo>
                  <a:lnTo>
                    <a:pt x="516" y="59"/>
                  </a:lnTo>
                  <a:lnTo>
                    <a:pt x="464" y="42"/>
                  </a:lnTo>
                  <a:lnTo>
                    <a:pt x="453" y="52"/>
                  </a:lnTo>
                  <a:lnTo>
                    <a:pt x="421" y="43"/>
                  </a:lnTo>
                  <a:lnTo>
                    <a:pt x="397" y="19"/>
                  </a:lnTo>
                  <a:lnTo>
                    <a:pt x="383" y="47"/>
                  </a:lnTo>
                  <a:lnTo>
                    <a:pt x="343" y="45"/>
                  </a:lnTo>
                  <a:lnTo>
                    <a:pt x="324" y="29"/>
                  </a:lnTo>
                  <a:lnTo>
                    <a:pt x="310" y="62"/>
                  </a:lnTo>
                  <a:lnTo>
                    <a:pt x="284" y="50"/>
                  </a:lnTo>
                  <a:lnTo>
                    <a:pt x="267" y="19"/>
                  </a:lnTo>
                  <a:lnTo>
                    <a:pt x="246" y="19"/>
                  </a:lnTo>
                  <a:lnTo>
                    <a:pt x="227" y="3"/>
                  </a:lnTo>
                  <a:lnTo>
                    <a:pt x="199" y="14"/>
                  </a:lnTo>
                  <a:lnTo>
                    <a:pt x="166" y="17"/>
                  </a:lnTo>
                  <a:lnTo>
                    <a:pt x="147" y="5"/>
                  </a:lnTo>
                  <a:lnTo>
                    <a:pt x="136" y="12"/>
                  </a:lnTo>
                  <a:lnTo>
                    <a:pt x="131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43</a:t>
              </a:r>
            </a:p>
          </p:txBody>
        </p:sp>
        <p:sp>
          <p:nvSpPr>
            <p:cNvPr id="122" name="FR-63">
              <a:extLst>
                <a:ext uri="{FF2B5EF4-FFF2-40B4-BE49-F238E27FC236}">
                  <a16:creationId xmlns:a16="http://schemas.microsoft.com/office/drawing/2014/main" id="{33699350-4C30-468B-A8E5-682AA8D7437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529745" y="3477793"/>
              <a:ext cx="821956" cy="676053"/>
            </a:xfrm>
            <a:custGeom>
              <a:avLst/>
              <a:gdLst>
                <a:gd name="T0" fmla="*/ 207 w 846"/>
                <a:gd name="T1" fmla="*/ 40 h 714"/>
                <a:gd name="T2" fmla="*/ 176 w 846"/>
                <a:gd name="T3" fmla="*/ 28 h 714"/>
                <a:gd name="T4" fmla="*/ 159 w 846"/>
                <a:gd name="T5" fmla="*/ 54 h 714"/>
                <a:gd name="T6" fmla="*/ 122 w 846"/>
                <a:gd name="T7" fmla="*/ 103 h 714"/>
                <a:gd name="T8" fmla="*/ 86 w 846"/>
                <a:gd name="T9" fmla="*/ 134 h 714"/>
                <a:gd name="T10" fmla="*/ 117 w 846"/>
                <a:gd name="T11" fmla="*/ 209 h 714"/>
                <a:gd name="T12" fmla="*/ 78 w 846"/>
                <a:gd name="T13" fmla="*/ 269 h 714"/>
                <a:gd name="T14" fmla="*/ 0 w 846"/>
                <a:gd name="T15" fmla="*/ 313 h 714"/>
                <a:gd name="T16" fmla="*/ 65 w 846"/>
                <a:gd name="T17" fmla="*/ 397 h 714"/>
                <a:gd name="T18" fmla="*/ 47 w 846"/>
                <a:gd name="T19" fmla="*/ 472 h 714"/>
                <a:gd name="T20" fmla="*/ 62 w 846"/>
                <a:gd name="T21" fmla="*/ 527 h 714"/>
                <a:gd name="T22" fmla="*/ 65 w 846"/>
                <a:gd name="T23" fmla="*/ 589 h 714"/>
                <a:gd name="T24" fmla="*/ 167 w 846"/>
                <a:gd name="T25" fmla="*/ 657 h 714"/>
                <a:gd name="T26" fmla="*/ 225 w 846"/>
                <a:gd name="T27" fmla="*/ 641 h 714"/>
                <a:gd name="T28" fmla="*/ 268 w 846"/>
                <a:gd name="T29" fmla="*/ 657 h 714"/>
                <a:gd name="T30" fmla="*/ 341 w 846"/>
                <a:gd name="T31" fmla="*/ 714 h 714"/>
                <a:gd name="T32" fmla="*/ 361 w 846"/>
                <a:gd name="T33" fmla="*/ 696 h 714"/>
                <a:gd name="T34" fmla="*/ 419 w 846"/>
                <a:gd name="T35" fmla="*/ 674 h 714"/>
                <a:gd name="T36" fmla="*/ 473 w 846"/>
                <a:gd name="T37" fmla="*/ 650 h 714"/>
                <a:gd name="T38" fmla="*/ 492 w 846"/>
                <a:gd name="T39" fmla="*/ 624 h 714"/>
                <a:gd name="T40" fmla="*/ 508 w 846"/>
                <a:gd name="T41" fmla="*/ 629 h 714"/>
                <a:gd name="T42" fmla="*/ 560 w 846"/>
                <a:gd name="T43" fmla="*/ 638 h 714"/>
                <a:gd name="T44" fmla="*/ 607 w 846"/>
                <a:gd name="T45" fmla="*/ 643 h 714"/>
                <a:gd name="T46" fmla="*/ 645 w 846"/>
                <a:gd name="T47" fmla="*/ 674 h 714"/>
                <a:gd name="T48" fmla="*/ 685 w 846"/>
                <a:gd name="T49" fmla="*/ 653 h 714"/>
                <a:gd name="T50" fmla="*/ 744 w 846"/>
                <a:gd name="T51" fmla="*/ 671 h 714"/>
                <a:gd name="T52" fmla="*/ 782 w 846"/>
                <a:gd name="T53" fmla="*/ 667 h 714"/>
                <a:gd name="T54" fmla="*/ 825 w 846"/>
                <a:gd name="T55" fmla="*/ 666 h 714"/>
                <a:gd name="T56" fmla="*/ 797 w 846"/>
                <a:gd name="T57" fmla="*/ 628 h 714"/>
                <a:gd name="T58" fmla="*/ 823 w 846"/>
                <a:gd name="T59" fmla="*/ 496 h 714"/>
                <a:gd name="T60" fmla="*/ 727 w 846"/>
                <a:gd name="T61" fmla="*/ 384 h 714"/>
                <a:gd name="T62" fmla="*/ 703 w 846"/>
                <a:gd name="T63" fmla="*/ 285 h 714"/>
                <a:gd name="T64" fmla="*/ 685 w 846"/>
                <a:gd name="T65" fmla="*/ 228 h 714"/>
                <a:gd name="T66" fmla="*/ 649 w 846"/>
                <a:gd name="T67" fmla="*/ 203 h 714"/>
                <a:gd name="T68" fmla="*/ 598 w 846"/>
                <a:gd name="T69" fmla="*/ 176 h 714"/>
                <a:gd name="T70" fmla="*/ 562 w 846"/>
                <a:gd name="T71" fmla="*/ 136 h 714"/>
                <a:gd name="T72" fmla="*/ 508 w 846"/>
                <a:gd name="T73" fmla="*/ 143 h 714"/>
                <a:gd name="T74" fmla="*/ 449 w 846"/>
                <a:gd name="T75" fmla="*/ 139 h 714"/>
                <a:gd name="T76" fmla="*/ 303 w 846"/>
                <a:gd name="T77" fmla="*/ 89 h 714"/>
                <a:gd name="T78" fmla="*/ 270 w 846"/>
                <a:gd name="T79" fmla="*/ 40 h 714"/>
                <a:gd name="T80" fmla="*/ 282 w 846"/>
                <a:gd name="T81" fmla="*/ 0 h 714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846"/>
                <a:gd name="T124" fmla="*/ 0 h 714"/>
                <a:gd name="T125" fmla="*/ 846 w 846"/>
                <a:gd name="T126" fmla="*/ 714 h 714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846" h="714">
                  <a:moveTo>
                    <a:pt x="242" y="0"/>
                  </a:moveTo>
                  <a:lnTo>
                    <a:pt x="207" y="40"/>
                  </a:lnTo>
                  <a:lnTo>
                    <a:pt x="204" y="26"/>
                  </a:lnTo>
                  <a:lnTo>
                    <a:pt x="176" y="28"/>
                  </a:lnTo>
                  <a:lnTo>
                    <a:pt x="176" y="49"/>
                  </a:lnTo>
                  <a:lnTo>
                    <a:pt x="159" y="54"/>
                  </a:lnTo>
                  <a:lnTo>
                    <a:pt x="143" y="94"/>
                  </a:lnTo>
                  <a:lnTo>
                    <a:pt x="122" y="103"/>
                  </a:lnTo>
                  <a:lnTo>
                    <a:pt x="82" y="73"/>
                  </a:lnTo>
                  <a:lnTo>
                    <a:pt x="86" y="134"/>
                  </a:lnTo>
                  <a:lnTo>
                    <a:pt x="107" y="160"/>
                  </a:lnTo>
                  <a:lnTo>
                    <a:pt x="117" y="209"/>
                  </a:lnTo>
                  <a:lnTo>
                    <a:pt x="86" y="233"/>
                  </a:lnTo>
                  <a:lnTo>
                    <a:pt x="78" y="269"/>
                  </a:lnTo>
                  <a:lnTo>
                    <a:pt x="49" y="285"/>
                  </a:lnTo>
                  <a:lnTo>
                    <a:pt x="0" y="313"/>
                  </a:lnTo>
                  <a:lnTo>
                    <a:pt x="5" y="337"/>
                  </a:lnTo>
                  <a:lnTo>
                    <a:pt x="65" y="397"/>
                  </a:lnTo>
                  <a:lnTo>
                    <a:pt x="70" y="433"/>
                  </a:lnTo>
                  <a:lnTo>
                    <a:pt x="47" y="472"/>
                  </a:lnTo>
                  <a:lnTo>
                    <a:pt x="47" y="509"/>
                  </a:lnTo>
                  <a:lnTo>
                    <a:pt x="62" y="527"/>
                  </a:lnTo>
                  <a:lnTo>
                    <a:pt x="70" y="571"/>
                  </a:lnTo>
                  <a:lnTo>
                    <a:pt x="65" y="589"/>
                  </a:lnTo>
                  <a:lnTo>
                    <a:pt x="145" y="613"/>
                  </a:lnTo>
                  <a:lnTo>
                    <a:pt x="167" y="657"/>
                  </a:lnTo>
                  <a:lnTo>
                    <a:pt x="209" y="657"/>
                  </a:lnTo>
                  <a:lnTo>
                    <a:pt x="225" y="641"/>
                  </a:lnTo>
                  <a:lnTo>
                    <a:pt x="254" y="655"/>
                  </a:lnTo>
                  <a:lnTo>
                    <a:pt x="268" y="657"/>
                  </a:lnTo>
                  <a:lnTo>
                    <a:pt x="303" y="711"/>
                  </a:lnTo>
                  <a:lnTo>
                    <a:pt x="341" y="714"/>
                  </a:lnTo>
                  <a:lnTo>
                    <a:pt x="350" y="695"/>
                  </a:lnTo>
                  <a:lnTo>
                    <a:pt x="361" y="696"/>
                  </a:lnTo>
                  <a:lnTo>
                    <a:pt x="372" y="681"/>
                  </a:lnTo>
                  <a:lnTo>
                    <a:pt x="419" y="674"/>
                  </a:lnTo>
                  <a:lnTo>
                    <a:pt x="444" y="653"/>
                  </a:lnTo>
                  <a:lnTo>
                    <a:pt x="473" y="650"/>
                  </a:lnTo>
                  <a:lnTo>
                    <a:pt x="473" y="634"/>
                  </a:lnTo>
                  <a:lnTo>
                    <a:pt x="492" y="624"/>
                  </a:lnTo>
                  <a:lnTo>
                    <a:pt x="497" y="636"/>
                  </a:lnTo>
                  <a:lnTo>
                    <a:pt x="508" y="629"/>
                  </a:lnTo>
                  <a:lnTo>
                    <a:pt x="527" y="641"/>
                  </a:lnTo>
                  <a:lnTo>
                    <a:pt x="560" y="638"/>
                  </a:lnTo>
                  <a:lnTo>
                    <a:pt x="588" y="627"/>
                  </a:lnTo>
                  <a:lnTo>
                    <a:pt x="607" y="643"/>
                  </a:lnTo>
                  <a:lnTo>
                    <a:pt x="628" y="643"/>
                  </a:lnTo>
                  <a:lnTo>
                    <a:pt x="645" y="674"/>
                  </a:lnTo>
                  <a:lnTo>
                    <a:pt x="671" y="686"/>
                  </a:lnTo>
                  <a:lnTo>
                    <a:pt x="685" y="653"/>
                  </a:lnTo>
                  <a:lnTo>
                    <a:pt x="704" y="669"/>
                  </a:lnTo>
                  <a:lnTo>
                    <a:pt x="744" y="671"/>
                  </a:lnTo>
                  <a:lnTo>
                    <a:pt x="758" y="643"/>
                  </a:lnTo>
                  <a:lnTo>
                    <a:pt x="782" y="667"/>
                  </a:lnTo>
                  <a:lnTo>
                    <a:pt x="814" y="676"/>
                  </a:lnTo>
                  <a:lnTo>
                    <a:pt x="825" y="666"/>
                  </a:lnTo>
                  <a:lnTo>
                    <a:pt x="804" y="660"/>
                  </a:lnTo>
                  <a:lnTo>
                    <a:pt x="797" y="628"/>
                  </a:lnTo>
                  <a:lnTo>
                    <a:pt x="846" y="582"/>
                  </a:lnTo>
                  <a:lnTo>
                    <a:pt x="823" y="496"/>
                  </a:lnTo>
                  <a:lnTo>
                    <a:pt x="755" y="451"/>
                  </a:lnTo>
                  <a:lnTo>
                    <a:pt x="727" y="384"/>
                  </a:lnTo>
                  <a:lnTo>
                    <a:pt x="695" y="342"/>
                  </a:lnTo>
                  <a:lnTo>
                    <a:pt x="703" y="285"/>
                  </a:lnTo>
                  <a:lnTo>
                    <a:pt x="727" y="261"/>
                  </a:lnTo>
                  <a:lnTo>
                    <a:pt x="685" y="228"/>
                  </a:lnTo>
                  <a:lnTo>
                    <a:pt x="686" y="217"/>
                  </a:lnTo>
                  <a:lnTo>
                    <a:pt x="649" y="203"/>
                  </a:lnTo>
                  <a:lnTo>
                    <a:pt x="638" y="174"/>
                  </a:lnTo>
                  <a:lnTo>
                    <a:pt x="598" y="176"/>
                  </a:lnTo>
                  <a:lnTo>
                    <a:pt x="567" y="169"/>
                  </a:lnTo>
                  <a:lnTo>
                    <a:pt x="562" y="136"/>
                  </a:lnTo>
                  <a:lnTo>
                    <a:pt x="539" y="125"/>
                  </a:lnTo>
                  <a:lnTo>
                    <a:pt x="508" y="143"/>
                  </a:lnTo>
                  <a:lnTo>
                    <a:pt x="473" y="136"/>
                  </a:lnTo>
                  <a:lnTo>
                    <a:pt x="449" y="139"/>
                  </a:lnTo>
                  <a:lnTo>
                    <a:pt x="369" y="127"/>
                  </a:lnTo>
                  <a:lnTo>
                    <a:pt x="303" y="89"/>
                  </a:lnTo>
                  <a:lnTo>
                    <a:pt x="298" y="71"/>
                  </a:lnTo>
                  <a:lnTo>
                    <a:pt x="270" y="40"/>
                  </a:lnTo>
                  <a:lnTo>
                    <a:pt x="289" y="14"/>
                  </a:lnTo>
                  <a:lnTo>
                    <a:pt x="282" y="0"/>
                  </a:lnTo>
                  <a:lnTo>
                    <a:pt x="242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63</a:t>
              </a:r>
            </a:p>
          </p:txBody>
        </p:sp>
        <p:sp>
          <p:nvSpPr>
            <p:cNvPr id="123" name="FR-65">
              <a:extLst>
                <a:ext uri="{FF2B5EF4-FFF2-40B4-BE49-F238E27FC236}">
                  <a16:creationId xmlns:a16="http://schemas.microsoft.com/office/drawing/2014/main" id="{D3CF0097-38B3-43C7-8E22-D63E826263A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052946" y="5359191"/>
              <a:ext cx="525624" cy="679841"/>
            </a:xfrm>
            <a:custGeom>
              <a:avLst/>
              <a:gdLst>
                <a:gd name="T0" fmla="*/ 138 w 541"/>
                <a:gd name="T1" fmla="*/ 14 h 718"/>
                <a:gd name="T2" fmla="*/ 187 w 541"/>
                <a:gd name="T3" fmla="*/ 87 h 718"/>
                <a:gd name="T4" fmla="*/ 179 w 541"/>
                <a:gd name="T5" fmla="*/ 144 h 718"/>
                <a:gd name="T6" fmla="*/ 184 w 541"/>
                <a:gd name="T7" fmla="*/ 225 h 718"/>
                <a:gd name="T8" fmla="*/ 72 w 541"/>
                <a:gd name="T9" fmla="*/ 379 h 718"/>
                <a:gd name="T10" fmla="*/ 74 w 541"/>
                <a:gd name="T11" fmla="*/ 426 h 718"/>
                <a:gd name="T12" fmla="*/ 25 w 541"/>
                <a:gd name="T13" fmla="*/ 504 h 718"/>
                <a:gd name="T14" fmla="*/ 0 w 541"/>
                <a:gd name="T15" fmla="*/ 573 h 718"/>
                <a:gd name="T16" fmla="*/ 51 w 541"/>
                <a:gd name="T17" fmla="*/ 596 h 718"/>
                <a:gd name="T18" fmla="*/ 108 w 541"/>
                <a:gd name="T19" fmla="*/ 666 h 718"/>
                <a:gd name="T20" fmla="*/ 184 w 541"/>
                <a:gd name="T21" fmla="*/ 700 h 718"/>
                <a:gd name="T22" fmla="*/ 306 w 541"/>
                <a:gd name="T23" fmla="*/ 705 h 718"/>
                <a:gd name="T24" fmla="*/ 374 w 541"/>
                <a:gd name="T25" fmla="*/ 687 h 718"/>
                <a:gd name="T26" fmla="*/ 447 w 541"/>
                <a:gd name="T27" fmla="*/ 701 h 718"/>
                <a:gd name="T28" fmla="*/ 470 w 541"/>
                <a:gd name="T29" fmla="*/ 561 h 718"/>
                <a:gd name="T30" fmla="*/ 510 w 541"/>
                <a:gd name="T31" fmla="*/ 556 h 718"/>
                <a:gd name="T32" fmla="*/ 541 w 541"/>
                <a:gd name="T33" fmla="*/ 511 h 718"/>
                <a:gd name="T34" fmla="*/ 515 w 541"/>
                <a:gd name="T35" fmla="*/ 450 h 718"/>
                <a:gd name="T36" fmla="*/ 501 w 541"/>
                <a:gd name="T37" fmla="*/ 436 h 718"/>
                <a:gd name="T38" fmla="*/ 451 w 541"/>
                <a:gd name="T39" fmla="*/ 374 h 718"/>
                <a:gd name="T40" fmla="*/ 477 w 541"/>
                <a:gd name="T41" fmla="*/ 313 h 718"/>
                <a:gd name="T42" fmla="*/ 508 w 541"/>
                <a:gd name="T43" fmla="*/ 285 h 718"/>
                <a:gd name="T44" fmla="*/ 539 w 541"/>
                <a:gd name="T45" fmla="*/ 239 h 718"/>
                <a:gd name="T46" fmla="*/ 428 w 541"/>
                <a:gd name="T47" fmla="*/ 214 h 718"/>
                <a:gd name="T48" fmla="*/ 385 w 541"/>
                <a:gd name="T49" fmla="*/ 195 h 718"/>
                <a:gd name="T50" fmla="*/ 345 w 541"/>
                <a:gd name="T51" fmla="*/ 174 h 718"/>
                <a:gd name="T52" fmla="*/ 300 w 541"/>
                <a:gd name="T53" fmla="*/ 184 h 718"/>
                <a:gd name="T54" fmla="*/ 270 w 541"/>
                <a:gd name="T55" fmla="*/ 144 h 718"/>
                <a:gd name="T56" fmla="*/ 284 w 541"/>
                <a:gd name="T57" fmla="*/ 111 h 718"/>
                <a:gd name="T58" fmla="*/ 263 w 541"/>
                <a:gd name="T59" fmla="*/ 66 h 718"/>
                <a:gd name="T60" fmla="*/ 202 w 541"/>
                <a:gd name="T61" fmla="*/ 44 h 718"/>
                <a:gd name="T62" fmla="*/ 164 w 541"/>
                <a:gd name="T63" fmla="*/ 0 h 71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541"/>
                <a:gd name="T97" fmla="*/ 0 h 718"/>
                <a:gd name="T98" fmla="*/ 541 w 541"/>
                <a:gd name="T99" fmla="*/ 718 h 71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541" h="718">
                  <a:moveTo>
                    <a:pt x="164" y="0"/>
                  </a:moveTo>
                  <a:lnTo>
                    <a:pt x="138" y="14"/>
                  </a:lnTo>
                  <a:lnTo>
                    <a:pt x="142" y="14"/>
                  </a:lnTo>
                  <a:lnTo>
                    <a:pt x="187" y="87"/>
                  </a:lnTo>
                  <a:lnTo>
                    <a:pt x="158" y="113"/>
                  </a:lnTo>
                  <a:lnTo>
                    <a:pt x="179" y="144"/>
                  </a:lnTo>
                  <a:lnTo>
                    <a:pt x="210" y="191"/>
                  </a:lnTo>
                  <a:lnTo>
                    <a:pt x="184" y="225"/>
                  </a:lnTo>
                  <a:lnTo>
                    <a:pt x="142" y="319"/>
                  </a:lnTo>
                  <a:lnTo>
                    <a:pt x="72" y="379"/>
                  </a:lnTo>
                  <a:lnTo>
                    <a:pt x="90" y="415"/>
                  </a:lnTo>
                  <a:lnTo>
                    <a:pt x="74" y="426"/>
                  </a:lnTo>
                  <a:lnTo>
                    <a:pt x="36" y="418"/>
                  </a:lnTo>
                  <a:lnTo>
                    <a:pt x="25" y="504"/>
                  </a:lnTo>
                  <a:lnTo>
                    <a:pt x="4" y="519"/>
                  </a:lnTo>
                  <a:lnTo>
                    <a:pt x="0" y="573"/>
                  </a:lnTo>
                  <a:lnTo>
                    <a:pt x="7" y="569"/>
                  </a:lnTo>
                  <a:lnTo>
                    <a:pt x="51" y="596"/>
                  </a:lnTo>
                  <a:lnTo>
                    <a:pt x="103" y="635"/>
                  </a:lnTo>
                  <a:lnTo>
                    <a:pt x="108" y="666"/>
                  </a:lnTo>
                  <a:lnTo>
                    <a:pt x="149" y="700"/>
                  </a:lnTo>
                  <a:lnTo>
                    <a:pt x="184" y="700"/>
                  </a:lnTo>
                  <a:lnTo>
                    <a:pt x="269" y="663"/>
                  </a:lnTo>
                  <a:lnTo>
                    <a:pt x="306" y="705"/>
                  </a:lnTo>
                  <a:lnTo>
                    <a:pt x="355" y="718"/>
                  </a:lnTo>
                  <a:lnTo>
                    <a:pt x="374" y="687"/>
                  </a:lnTo>
                  <a:lnTo>
                    <a:pt x="397" y="697"/>
                  </a:lnTo>
                  <a:lnTo>
                    <a:pt x="447" y="701"/>
                  </a:lnTo>
                  <a:lnTo>
                    <a:pt x="444" y="561"/>
                  </a:lnTo>
                  <a:lnTo>
                    <a:pt x="470" y="561"/>
                  </a:lnTo>
                  <a:lnTo>
                    <a:pt x="494" y="572"/>
                  </a:lnTo>
                  <a:lnTo>
                    <a:pt x="510" y="556"/>
                  </a:lnTo>
                  <a:lnTo>
                    <a:pt x="508" y="530"/>
                  </a:lnTo>
                  <a:lnTo>
                    <a:pt x="541" y="511"/>
                  </a:lnTo>
                  <a:lnTo>
                    <a:pt x="529" y="462"/>
                  </a:lnTo>
                  <a:lnTo>
                    <a:pt x="515" y="450"/>
                  </a:lnTo>
                  <a:lnTo>
                    <a:pt x="487" y="459"/>
                  </a:lnTo>
                  <a:lnTo>
                    <a:pt x="501" y="436"/>
                  </a:lnTo>
                  <a:lnTo>
                    <a:pt x="494" y="405"/>
                  </a:lnTo>
                  <a:lnTo>
                    <a:pt x="451" y="374"/>
                  </a:lnTo>
                  <a:lnTo>
                    <a:pt x="454" y="353"/>
                  </a:lnTo>
                  <a:lnTo>
                    <a:pt x="477" y="313"/>
                  </a:lnTo>
                  <a:lnTo>
                    <a:pt x="508" y="301"/>
                  </a:lnTo>
                  <a:lnTo>
                    <a:pt x="508" y="285"/>
                  </a:lnTo>
                  <a:lnTo>
                    <a:pt x="527" y="256"/>
                  </a:lnTo>
                  <a:lnTo>
                    <a:pt x="539" y="239"/>
                  </a:lnTo>
                  <a:lnTo>
                    <a:pt x="492" y="214"/>
                  </a:lnTo>
                  <a:lnTo>
                    <a:pt x="428" y="214"/>
                  </a:lnTo>
                  <a:lnTo>
                    <a:pt x="418" y="195"/>
                  </a:lnTo>
                  <a:lnTo>
                    <a:pt x="385" y="195"/>
                  </a:lnTo>
                  <a:lnTo>
                    <a:pt x="376" y="174"/>
                  </a:lnTo>
                  <a:lnTo>
                    <a:pt x="345" y="174"/>
                  </a:lnTo>
                  <a:lnTo>
                    <a:pt x="336" y="184"/>
                  </a:lnTo>
                  <a:lnTo>
                    <a:pt x="300" y="184"/>
                  </a:lnTo>
                  <a:lnTo>
                    <a:pt x="298" y="162"/>
                  </a:lnTo>
                  <a:lnTo>
                    <a:pt x="270" y="144"/>
                  </a:lnTo>
                  <a:lnTo>
                    <a:pt x="279" y="134"/>
                  </a:lnTo>
                  <a:lnTo>
                    <a:pt x="284" y="111"/>
                  </a:lnTo>
                  <a:lnTo>
                    <a:pt x="277" y="104"/>
                  </a:lnTo>
                  <a:lnTo>
                    <a:pt x="263" y="66"/>
                  </a:lnTo>
                  <a:lnTo>
                    <a:pt x="232" y="61"/>
                  </a:lnTo>
                  <a:lnTo>
                    <a:pt x="202" y="44"/>
                  </a:lnTo>
                  <a:lnTo>
                    <a:pt x="204" y="0"/>
                  </a:lnTo>
                  <a:lnTo>
                    <a:pt x="164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65</a:t>
              </a:r>
            </a:p>
          </p:txBody>
        </p:sp>
        <p:sp>
          <p:nvSpPr>
            <p:cNvPr id="124" name="FR-64">
              <a:extLst>
                <a:ext uri="{FF2B5EF4-FFF2-40B4-BE49-F238E27FC236}">
                  <a16:creationId xmlns:a16="http://schemas.microsoft.com/office/drawing/2014/main" id="{3BBE922F-6B07-4274-8177-D66B767AFFB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279569" y="5362979"/>
              <a:ext cx="977408" cy="582315"/>
            </a:xfrm>
            <a:custGeom>
              <a:avLst/>
              <a:gdLst>
                <a:gd name="T0" fmla="*/ 828 w 1006"/>
                <a:gd name="T1" fmla="*/ 22 h 615"/>
                <a:gd name="T2" fmla="*/ 745 w 1006"/>
                <a:gd name="T3" fmla="*/ 7 h 615"/>
                <a:gd name="T4" fmla="*/ 658 w 1006"/>
                <a:gd name="T5" fmla="*/ 36 h 615"/>
                <a:gd name="T6" fmla="*/ 599 w 1006"/>
                <a:gd name="T7" fmla="*/ 24 h 615"/>
                <a:gd name="T8" fmla="*/ 552 w 1006"/>
                <a:gd name="T9" fmla="*/ 12 h 615"/>
                <a:gd name="T10" fmla="*/ 467 w 1006"/>
                <a:gd name="T11" fmla="*/ 22 h 615"/>
                <a:gd name="T12" fmla="*/ 375 w 1006"/>
                <a:gd name="T13" fmla="*/ 43 h 615"/>
                <a:gd name="T14" fmla="*/ 349 w 1006"/>
                <a:gd name="T15" fmla="*/ 55 h 615"/>
                <a:gd name="T16" fmla="*/ 335 w 1006"/>
                <a:gd name="T17" fmla="*/ 10 h 615"/>
                <a:gd name="T18" fmla="*/ 227 w 1006"/>
                <a:gd name="T19" fmla="*/ 50 h 615"/>
                <a:gd name="T20" fmla="*/ 141 w 1006"/>
                <a:gd name="T21" fmla="*/ 32 h 615"/>
                <a:gd name="T22" fmla="*/ 34 w 1006"/>
                <a:gd name="T23" fmla="*/ 123 h 615"/>
                <a:gd name="T24" fmla="*/ 0 w 1006"/>
                <a:gd name="T25" fmla="*/ 157 h 615"/>
                <a:gd name="T26" fmla="*/ 78 w 1006"/>
                <a:gd name="T27" fmla="*/ 188 h 615"/>
                <a:gd name="T28" fmla="*/ 118 w 1006"/>
                <a:gd name="T29" fmla="*/ 225 h 615"/>
                <a:gd name="T30" fmla="*/ 178 w 1006"/>
                <a:gd name="T31" fmla="*/ 222 h 615"/>
                <a:gd name="T32" fmla="*/ 216 w 1006"/>
                <a:gd name="T33" fmla="*/ 261 h 615"/>
                <a:gd name="T34" fmla="*/ 198 w 1006"/>
                <a:gd name="T35" fmla="*/ 326 h 615"/>
                <a:gd name="T36" fmla="*/ 159 w 1006"/>
                <a:gd name="T37" fmla="*/ 367 h 615"/>
                <a:gd name="T38" fmla="*/ 224 w 1006"/>
                <a:gd name="T39" fmla="*/ 407 h 615"/>
                <a:gd name="T40" fmla="*/ 255 w 1006"/>
                <a:gd name="T41" fmla="*/ 342 h 615"/>
                <a:gd name="T42" fmla="*/ 271 w 1006"/>
                <a:gd name="T43" fmla="*/ 402 h 615"/>
                <a:gd name="T44" fmla="*/ 339 w 1006"/>
                <a:gd name="T45" fmla="*/ 430 h 615"/>
                <a:gd name="T46" fmla="*/ 461 w 1006"/>
                <a:gd name="T47" fmla="*/ 477 h 615"/>
                <a:gd name="T48" fmla="*/ 565 w 1006"/>
                <a:gd name="T49" fmla="*/ 532 h 615"/>
                <a:gd name="T50" fmla="*/ 659 w 1006"/>
                <a:gd name="T51" fmla="*/ 615 h 615"/>
                <a:gd name="T52" fmla="*/ 714 w 1006"/>
                <a:gd name="T53" fmla="*/ 594 h 615"/>
                <a:gd name="T54" fmla="*/ 750 w 1006"/>
                <a:gd name="T55" fmla="*/ 594 h 615"/>
                <a:gd name="T56" fmla="*/ 800 w 1006"/>
                <a:gd name="T57" fmla="*/ 515 h 615"/>
                <a:gd name="T58" fmla="*/ 832 w 1006"/>
                <a:gd name="T59" fmla="*/ 414 h 615"/>
                <a:gd name="T60" fmla="*/ 886 w 1006"/>
                <a:gd name="T61" fmla="*/ 411 h 615"/>
                <a:gd name="T62" fmla="*/ 938 w 1006"/>
                <a:gd name="T63" fmla="*/ 315 h 615"/>
                <a:gd name="T64" fmla="*/ 1006 w 1006"/>
                <a:gd name="T65" fmla="*/ 187 h 615"/>
                <a:gd name="T66" fmla="*/ 954 w 1006"/>
                <a:gd name="T67" fmla="*/ 109 h 615"/>
                <a:gd name="T68" fmla="*/ 938 w 1006"/>
                <a:gd name="T69" fmla="*/ 10 h 615"/>
                <a:gd name="T70" fmla="*/ 865 w 1006"/>
                <a:gd name="T71" fmla="*/ 0 h 61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006"/>
                <a:gd name="T109" fmla="*/ 0 h 615"/>
                <a:gd name="T110" fmla="*/ 1006 w 1006"/>
                <a:gd name="T111" fmla="*/ 615 h 615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006" h="615">
                  <a:moveTo>
                    <a:pt x="865" y="0"/>
                  </a:moveTo>
                  <a:lnTo>
                    <a:pt x="828" y="22"/>
                  </a:lnTo>
                  <a:lnTo>
                    <a:pt x="753" y="19"/>
                  </a:lnTo>
                  <a:lnTo>
                    <a:pt x="745" y="7"/>
                  </a:lnTo>
                  <a:lnTo>
                    <a:pt x="696" y="24"/>
                  </a:lnTo>
                  <a:lnTo>
                    <a:pt x="658" y="36"/>
                  </a:lnTo>
                  <a:lnTo>
                    <a:pt x="630" y="15"/>
                  </a:lnTo>
                  <a:lnTo>
                    <a:pt x="599" y="24"/>
                  </a:lnTo>
                  <a:lnTo>
                    <a:pt x="590" y="12"/>
                  </a:lnTo>
                  <a:lnTo>
                    <a:pt x="552" y="12"/>
                  </a:lnTo>
                  <a:lnTo>
                    <a:pt x="528" y="24"/>
                  </a:lnTo>
                  <a:lnTo>
                    <a:pt x="467" y="22"/>
                  </a:lnTo>
                  <a:lnTo>
                    <a:pt x="434" y="47"/>
                  </a:lnTo>
                  <a:lnTo>
                    <a:pt x="375" y="43"/>
                  </a:lnTo>
                  <a:lnTo>
                    <a:pt x="363" y="60"/>
                  </a:lnTo>
                  <a:lnTo>
                    <a:pt x="349" y="55"/>
                  </a:lnTo>
                  <a:lnTo>
                    <a:pt x="368" y="36"/>
                  </a:lnTo>
                  <a:lnTo>
                    <a:pt x="335" y="10"/>
                  </a:lnTo>
                  <a:lnTo>
                    <a:pt x="295" y="45"/>
                  </a:lnTo>
                  <a:lnTo>
                    <a:pt x="227" y="50"/>
                  </a:lnTo>
                  <a:lnTo>
                    <a:pt x="152" y="12"/>
                  </a:lnTo>
                  <a:lnTo>
                    <a:pt x="141" y="32"/>
                  </a:lnTo>
                  <a:lnTo>
                    <a:pt x="81" y="105"/>
                  </a:lnTo>
                  <a:lnTo>
                    <a:pt x="34" y="123"/>
                  </a:lnTo>
                  <a:lnTo>
                    <a:pt x="0" y="128"/>
                  </a:lnTo>
                  <a:lnTo>
                    <a:pt x="0" y="157"/>
                  </a:lnTo>
                  <a:lnTo>
                    <a:pt x="32" y="185"/>
                  </a:lnTo>
                  <a:lnTo>
                    <a:pt x="78" y="188"/>
                  </a:lnTo>
                  <a:lnTo>
                    <a:pt x="81" y="222"/>
                  </a:lnTo>
                  <a:lnTo>
                    <a:pt x="118" y="225"/>
                  </a:lnTo>
                  <a:lnTo>
                    <a:pt x="128" y="201"/>
                  </a:lnTo>
                  <a:lnTo>
                    <a:pt x="178" y="222"/>
                  </a:lnTo>
                  <a:lnTo>
                    <a:pt x="209" y="230"/>
                  </a:lnTo>
                  <a:lnTo>
                    <a:pt x="216" y="261"/>
                  </a:lnTo>
                  <a:lnTo>
                    <a:pt x="198" y="277"/>
                  </a:lnTo>
                  <a:lnTo>
                    <a:pt x="198" y="326"/>
                  </a:lnTo>
                  <a:lnTo>
                    <a:pt x="162" y="344"/>
                  </a:lnTo>
                  <a:lnTo>
                    <a:pt x="159" y="367"/>
                  </a:lnTo>
                  <a:lnTo>
                    <a:pt x="183" y="394"/>
                  </a:lnTo>
                  <a:lnTo>
                    <a:pt x="224" y="407"/>
                  </a:lnTo>
                  <a:lnTo>
                    <a:pt x="232" y="367"/>
                  </a:lnTo>
                  <a:lnTo>
                    <a:pt x="255" y="342"/>
                  </a:lnTo>
                  <a:lnTo>
                    <a:pt x="253" y="375"/>
                  </a:lnTo>
                  <a:lnTo>
                    <a:pt x="271" y="402"/>
                  </a:lnTo>
                  <a:lnTo>
                    <a:pt x="318" y="402"/>
                  </a:lnTo>
                  <a:lnTo>
                    <a:pt x="339" y="430"/>
                  </a:lnTo>
                  <a:lnTo>
                    <a:pt x="401" y="440"/>
                  </a:lnTo>
                  <a:lnTo>
                    <a:pt x="461" y="477"/>
                  </a:lnTo>
                  <a:lnTo>
                    <a:pt x="560" y="477"/>
                  </a:lnTo>
                  <a:lnTo>
                    <a:pt x="565" y="532"/>
                  </a:lnTo>
                  <a:lnTo>
                    <a:pt x="633" y="584"/>
                  </a:lnTo>
                  <a:lnTo>
                    <a:pt x="659" y="615"/>
                  </a:lnTo>
                  <a:lnTo>
                    <a:pt x="688" y="600"/>
                  </a:lnTo>
                  <a:lnTo>
                    <a:pt x="714" y="594"/>
                  </a:lnTo>
                  <a:lnTo>
                    <a:pt x="727" y="607"/>
                  </a:lnTo>
                  <a:lnTo>
                    <a:pt x="750" y="594"/>
                  </a:lnTo>
                  <a:lnTo>
                    <a:pt x="796" y="569"/>
                  </a:lnTo>
                  <a:lnTo>
                    <a:pt x="800" y="515"/>
                  </a:lnTo>
                  <a:lnTo>
                    <a:pt x="821" y="500"/>
                  </a:lnTo>
                  <a:lnTo>
                    <a:pt x="832" y="414"/>
                  </a:lnTo>
                  <a:lnTo>
                    <a:pt x="870" y="422"/>
                  </a:lnTo>
                  <a:lnTo>
                    <a:pt x="886" y="411"/>
                  </a:lnTo>
                  <a:lnTo>
                    <a:pt x="868" y="375"/>
                  </a:lnTo>
                  <a:lnTo>
                    <a:pt x="938" y="315"/>
                  </a:lnTo>
                  <a:lnTo>
                    <a:pt x="980" y="221"/>
                  </a:lnTo>
                  <a:lnTo>
                    <a:pt x="1006" y="187"/>
                  </a:lnTo>
                  <a:lnTo>
                    <a:pt x="975" y="140"/>
                  </a:lnTo>
                  <a:lnTo>
                    <a:pt x="954" y="109"/>
                  </a:lnTo>
                  <a:lnTo>
                    <a:pt x="983" y="83"/>
                  </a:lnTo>
                  <a:lnTo>
                    <a:pt x="938" y="10"/>
                  </a:lnTo>
                  <a:lnTo>
                    <a:pt x="868" y="5"/>
                  </a:lnTo>
                  <a:lnTo>
                    <a:pt x="865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64</a:t>
              </a:r>
            </a:p>
          </p:txBody>
        </p:sp>
        <p:sp>
          <p:nvSpPr>
            <p:cNvPr id="125" name="FR-40">
              <a:extLst>
                <a:ext uri="{FF2B5EF4-FFF2-40B4-BE49-F238E27FC236}">
                  <a16:creationId xmlns:a16="http://schemas.microsoft.com/office/drawing/2014/main" id="{D362EE0A-7D21-4AA2-851A-67EDF46C45A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427249" y="4676510"/>
              <a:ext cx="901625" cy="743280"/>
            </a:xfrm>
            <a:custGeom>
              <a:avLst/>
              <a:gdLst>
                <a:gd name="T0" fmla="*/ 200 w 928"/>
                <a:gd name="T1" fmla="*/ 42 h 785"/>
                <a:gd name="T2" fmla="*/ 132 w 928"/>
                <a:gd name="T3" fmla="*/ 290 h 785"/>
                <a:gd name="T4" fmla="*/ 54 w 928"/>
                <a:gd name="T5" fmla="*/ 608 h 785"/>
                <a:gd name="T6" fmla="*/ 0 w 928"/>
                <a:gd name="T7" fmla="*/ 737 h 785"/>
                <a:gd name="T8" fmla="*/ 143 w 928"/>
                <a:gd name="T9" fmla="*/ 770 h 785"/>
                <a:gd name="T10" fmla="*/ 216 w 928"/>
                <a:gd name="T11" fmla="*/ 761 h 785"/>
                <a:gd name="T12" fmla="*/ 211 w 928"/>
                <a:gd name="T13" fmla="*/ 785 h 785"/>
                <a:gd name="T14" fmla="*/ 282 w 928"/>
                <a:gd name="T15" fmla="*/ 772 h 785"/>
                <a:gd name="T16" fmla="*/ 376 w 928"/>
                <a:gd name="T17" fmla="*/ 749 h 785"/>
                <a:gd name="T18" fmla="*/ 438 w 928"/>
                <a:gd name="T19" fmla="*/ 737 h 785"/>
                <a:gd name="T20" fmla="*/ 478 w 928"/>
                <a:gd name="T21" fmla="*/ 740 h 785"/>
                <a:gd name="T22" fmla="*/ 544 w 928"/>
                <a:gd name="T23" fmla="*/ 749 h 785"/>
                <a:gd name="T24" fmla="*/ 601 w 928"/>
                <a:gd name="T25" fmla="*/ 744 h 785"/>
                <a:gd name="T26" fmla="*/ 713 w 928"/>
                <a:gd name="T27" fmla="*/ 725 h 785"/>
                <a:gd name="T28" fmla="*/ 713 w 928"/>
                <a:gd name="T29" fmla="*/ 644 h 785"/>
                <a:gd name="T30" fmla="*/ 731 w 928"/>
                <a:gd name="T31" fmla="*/ 566 h 785"/>
                <a:gd name="T32" fmla="*/ 721 w 928"/>
                <a:gd name="T33" fmla="*/ 493 h 785"/>
                <a:gd name="T34" fmla="*/ 776 w 928"/>
                <a:gd name="T35" fmla="*/ 456 h 785"/>
                <a:gd name="T36" fmla="*/ 838 w 928"/>
                <a:gd name="T37" fmla="*/ 435 h 785"/>
                <a:gd name="T38" fmla="*/ 864 w 928"/>
                <a:gd name="T39" fmla="*/ 493 h 785"/>
                <a:gd name="T40" fmla="*/ 891 w 928"/>
                <a:gd name="T41" fmla="*/ 451 h 785"/>
                <a:gd name="T42" fmla="*/ 893 w 928"/>
                <a:gd name="T43" fmla="*/ 417 h 785"/>
                <a:gd name="T44" fmla="*/ 928 w 928"/>
                <a:gd name="T45" fmla="*/ 337 h 785"/>
                <a:gd name="T46" fmla="*/ 883 w 928"/>
                <a:gd name="T47" fmla="*/ 317 h 785"/>
                <a:gd name="T48" fmla="*/ 796 w 928"/>
                <a:gd name="T49" fmla="*/ 308 h 785"/>
                <a:gd name="T50" fmla="*/ 753 w 928"/>
                <a:gd name="T51" fmla="*/ 212 h 785"/>
                <a:gd name="T52" fmla="*/ 744 w 928"/>
                <a:gd name="T53" fmla="*/ 254 h 785"/>
                <a:gd name="T54" fmla="*/ 699 w 928"/>
                <a:gd name="T55" fmla="*/ 270 h 785"/>
                <a:gd name="T56" fmla="*/ 643 w 928"/>
                <a:gd name="T57" fmla="*/ 195 h 785"/>
                <a:gd name="T58" fmla="*/ 586 w 928"/>
                <a:gd name="T59" fmla="*/ 157 h 785"/>
                <a:gd name="T60" fmla="*/ 558 w 928"/>
                <a:gd name="T61" fmla="*/ 120 h 785"/>
                <a:gd name="T62" fmla="*/ 527 w 928"/>
                <a:gd name="T63" fmla="*/ 94 h 785"/>
                <a:gd name="T64" fmla="*/ 513 w 928"/>
                <a:gd name="T65" fmla="*/ 68 h 785"/>
                <a:gd name="T66" fmla="*/ 449 w 928"/>
                <a:gd name="T67" fmla="*/ 61 h 785"/>
                <a:gd name="T68" fmla="*/ 402 w 928"/>
                <a:gd name="T69" fmla="*/ 87 h 785"/>
                <a:gd name="T70" fmla="*/ 327 w 928"/>
                <a:gd name="T71" fmla="*/ 84 h 785"/>
                <a:gd name="T72" fmla="*/ 325 w 928"/>
                <a:gd name="T73" fmla="*/ 47 h 785"/>
                <a:gd name="T74" fmla="*/ 282 w 928"/>
                <a:gd name="T75" fmla="*/ 0 h 78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928"/>
                <a:gd name="T115" fmla="*/ 0 h 785"/>
                <a:gd name="T116" fmla="*/ 928 w 928"/>
                <a:gd name="T117" fmla="*/ 785 h 785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928" h="785">
                  <a:moveTo>
                    <a:pt x="282" y="0"/>
                  </a:moveTo>
                  <a:lnTo>
                    <a:pt x="200" y="42"/>
                  </a:lnTo>
                  <a:lnTo>
                    <a:pt x="178" y="43"/>
                  </a:lnTo>
                  <a:lnTo>
                    <a:pt x="132" y="290"/>
                  </a:lnTo>
                  <a:lnTo>
                    <a:pt x="72" y="520"/>
                  </a:lnTo>
                  <a:lnTo>
                    <a:pt x="54" y="608"/>
                  </a:lnTo>
                  <a:lnTo>
                    <a:pt x="38" y="671"/>
                  </a:lnTo>
                  <a:lnTo>
                    <a:pt x="0" y="737"/>
                  </a:lnTo>
                  <a:lnTo>
                    <a:pt x="75" y="775"/>
                  </a:lnTo>
                  <a:lnTo>
                    <a:pt x="143" y="770"/>
                  </a:lnTo>
                  <a:lnTo>
                    <a:pt x="183" y="735"/>
                  </a:lnTo>
                  <a:lnTo>
                    <a:pt x="216" y="761"/>
                  </a:lnTo>
                  <a:lnTo>
                    <a:pt x="197" y="780"/>
                  </a:lnTo>
                  <a:lnTo>
                    <a:pt x="211" y="785"/>
                  </a:lnTo>
                  <a:lnTo>
                    <a:pt x="223" y="768"/>
                  </a:lnTo>
                  <a:lnTo>
                    <a:pt x="282" y="772"/>
                  </a:lnTo>
                  <a:lnTo>
                    <a:pt x="315" y="747"/>
                  </a:lnTo>
                  <a:lnTo>
                    <a:pt x="376" y="749"/>
                  </a:lnTo>
                  <a:lnTo>
                    <a:pt x="400" y="737"/>
                  </a:lnTo>
                  <a:lnTo>
                    <a:pt x="438" y="737"/>
                  </a:lnTo>
                  <a:lnTo>
                    <a:pt x="447" y="749"/>
                  </a:lnTo>
                  <a:lnTo>
                    <a:pt x="478" y="740"/>
                  </a:lnTo>
                  <a:lnTo>
                    <a:pt x="506" y="761"/>
                  </a:lnTo>
                  <a:lnTo>
                    <a:pt x="544" y="749"/>
                  </a:lnTo>
                  <a:lnTo>
                    <a:pt x="593" y="732"/>
                  </a:lnTo>
                  <a:lnTo>
                    <a:pt x="601" y="744"/>
                  </a:lnTo>
                  <a:lnTo>
                    <a:pt x="676" y="747"/>
                  </a:lnTo>
                  <a:lnTo>
                    <a:pt x="713" y="725"/>
                  </a:lnTo>
                  <a:lnTo>
                    <a:pt x="695" y="693"/>
                  </a:lnTo>
                  <a:lnTo>
                    <a:pt x="713" y="644"/>
                  </a:lnTo>
                  <a:lnTo>
                    <a:pt x="739" y="610"/>
                  </a:lnTo>
                  <a:lnTo>
                    <a:pt x="731" y="566"/>
                  </a:lnTo>
                  <a:lnTo>
                    <a:pt x="752" y="545"/>
                  </a:lnTo>
                  <a:lnTo>
                    <a:pt x="721" y="493"/>
                  </a:lnTo>
                  <a:lnTo>
                    <a:pt x="747" y="462"/>
                  </a:lnTo>
                  <a:lnTo>
                    <a:pt x="776" y="456"/>
                  </a:lnTo>
                  <a:lnTo>
                    <a:pt x="802" y="467"/>
                  </a:lnTo>
                  <a:lnTo>
                    <a:pt x="838" y="435"/>
                  </a:lnTo>
                  <a:lnTo>
                    <a:pt x="851" y="475"/>
                  </a:lnTo>
                  <a:lnTo>
                    <a:pt x="864" y="493"/>
                  </a:lnTo>
                  <a:lnTo>
                    <a:pt x="893" y="485"/>
                  </a:lnTo>
                  <a:lnTo>
                    <a:pt x="891" y="451"/>
                  </a:lnTo>
                  <a:lnTo>
                    <a:pt x="899" y="433"/>
                  </a:lnTo>
                  <a:lnTo>
                    <a:pt x="893" y="417"/>
                  </a:lnTo>
                  <a:lnTo>
                    <a:pt x="900" y="365"/>
                  </a:lnTo>
                  <a:lnTo>
                    <a:pt x="928" y="337"/>
                  </a:lnTo>
                  <a:lnTo>
                    <a:pt x="914" y="320"/>
                  </a:lnTo>
                  <a:lnTo>
                    <a:pt x="883" y="317"/>
                  </a:lnTo>
                  <a:lnTo>
                    <a:pt x="848" y="304"/>
                  </a:lnTo>
                  <a:lnTo>
                    <a:pt x="796" y="308"/>
                  </a:lnTo>
                  <a:lnTo>
                    <a:pt x="786" y="252"/>
                  </a:lnTo>
                  <a:lnTo>
                    <a:pt x="753" y="212"/>
                  </a:lnTo>
                  <a:lnTo>
                    <a:pt x="739" y="207"/>
                  </a:lnTo>
                  <a:lnTo>
                    <a:pt x="744" y="254"/>
                  </a:lnTo>
                  <a:lnTo>
                    <a:pt x="744" y="268"/>
                  </a:lnTo>
                  <a:lnTo>
                    <a:pt x="699" y="270"/>
                  </a:lnTo>
                  <a:lnTo>
                    <a:pt x="652" y="254"/>
                  </a:lnTo>
                  <a:lnTo>
                    <a:pt x="643" y="195"/>
                  </a:lnTo>
                  <a:lnTo>
                    <a:pt x="610" y="160"/>
                  </a:lnTo>
                  <a:lnTo>
                    <a:pt x="586" y="157"/>
                  </a:lnTo>
                  <a:lnTo>
                    <a:pt x="584" y="136"/>
                  </a:lnTo>
                  <a:lnTo>
                    <a:pt x="558" y="120"/>
                  </a:lnTo>
                  <a:lnTo>
                    <a:pt x="516" y="108"/>
                  </a:lnTo>
                  <a:lnTo>
                    <a:pt x="527" y="94"/>
                  </a:lnTo>
                  <a:lnTo>
                    <a:pt x="527" y="80"/>
                  </a:lnTo>
                  <a:lnTo>
                    <a:pt x="513" y="68"/>
                  </a:lnTo>
                  <a:lnTo>
                    <a:pt x="497" y="54"/>
                  </a:lnTo>
                  <a:lnTo>
                    <a:pt x="449" y="61"/>
                  </a:lnTo>
                  <a:lnTo>
                    <a:pt x="421" y="84"/>
                  </a:lnTo>
                  <a:lnTo>
                    <a:pt x="402" y="87"/>
                  </a:lnTo>
                  <a:lnTo>
                    <a:pt x="372" y="65"/>
                  </a:lnTo>
                  <a:lnTo>
                    <a:pt x="327" y="84"/>
                  </a:lnTo>
                  <a:lnTo>
                    <a:pt x="306" y="70"/>
                  </a:lnTo>
                  <a:lnTo>
                    <a:pt x="325" y="47"/>
                  </a:lnTo>
                  <a:lnTo>
                    <a:pt x="327" y="16"/>
                  </a:lnTo>
                  <a:lnTo>
                    <a:pt x="282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40</a:t>
              </a:r>
            </a:p>
          </p:txBody>
        </p:sp>
        <p:sp>
          <p:nvSpPr>
            <p:cNvPr id="126" name="FR-33">
              <a:extLst>
                <a:ext uri="{FF2B5EF4-FFF2-40B4-BE49-F238E27FC236}">
                  <a16:creationId xmlns:a16="http://schemas.microsoft.com/office/drawing/2014/main" id="{BD7C295C-4ABC-4D8B-8D4D-ACB014B2DE9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600190" y="3928496"/>
              <a:ext cx="840416" cy="1003665"/>
            </a:xfrm>
            <a:custGeom>
              <a:avLst/>
              <a:gdLst>
                <a:gd name="T0" fmla="*/ 82 w 865"/>
                <a:gd name="T1" fmla="*/ 62 h 1060"/>
                <a:gd name="T2" fmla="*/ 35 w 865"/>
                <a:gd name="T3" fmla="*/ 502 h 1060"/>
                <a:gd name="T4" fmla="*/ 9 w 865"/>
                <a:gd name="T5" fmla="*/ 719 h 1060"/>
                <a:gd name="T6" fmla="*/ 63 w 865"/>
                <a:gd name="T7" fmla="*/ 612 h 1060"/>
                <a:gd name="T8" fmla="*/ 121 w 865"/>
                <a:gd name="T9" fmla="*/ 674 h 1060"/>
                <a:gd name="T10" fmla="*/ 71 w 865"/>
                <a:gd name="T11" fmla="*/ 698 h 1060"/>
                <a:gd name="T12" fmla="*/ 35 w 865"/>
                <a:gd name="T13" fmla="*/ 692 h 1060"/>
                <a:gd name="T14" fmla="*/ 1 w 865"/>
                <a:gd name="T15" fmla="*/ 771 h 1060"/>
                <a:gd name="T16" fmla="*/ 0 w 865"/>
                <a:gd name="T17" fmla="*/ 833 h 1060"/>
                <a:gd name="T18" fmla="*/ 104 w 865"/>
                <a:gd name="T19" fmla="*/ 790 h 1060"/>
                <a:gd name="T20" fmla="*/ 147 w 865"/>
                <a:gd name="T21" fmla="*/ 837 h 1060"/>
                <a:gd name="T22" fmla="*/ 149 w 865"/>
                <a:gd name="T23" fmla="*/ 874 h 1060"/>
                <a:gd name="T24" fmla="*/ 224 w 865"/>
                <a:gd name="T25" fmla="*/ 877 h 1060"/>
                <a:gd name="T26" fmla="*/ 271 w 865"/>
                <a:gd name="T27" fmla="*/ 851 h 1060"/>
                <a:gd name="T28" fmla="*/ 335 w 865"/>
                <a:gd name="T29" fmla="*/ 858 h 1060"/>
                <a:gd name="T30" fmla="*/ 349 w 865"/>
                <a:gd name="T31" fmla="*/ 884 h 1060"/>
                <a:gd name="T32" fmla="*/ 380 w 865"/>
                <a:gd name="T33" fmla="*/ 910 h 1060"/>
                <a:gd name="T34" fmla="*/ 408 w 865"/>
                <a:gd name="T35" fmla="*/ 947 h 1060"/>
                <a:gd name="T36" fmla="*/ 465 w 865"/>
                <a:gd name="T37" fmla="*/ 985 h 1060"/>
                <a:gd name="T38" fmla="*/ 521 w 865"/>
                <a:gd name="T39" fmla="*/ 1060 h 1060"/>
                <a:gd name="T40" fmla="*/ 566 w 865"/>
                <a:gd name="T41" fmla="*/ 1044 h 1060"/>
                <a:gd name="T42" fmla="*/ 575 w 865"/>
                <a:gd name="T43" fmla="*/ 1002 h 1060"/>
                <a:gd name="T44" fmla="*/ 644 w 865"/>
                <a:gd name="T45" fmla="*/ 1027 h 1060"/>
                <a:gd name="T46" fmla="*/ 660 w 865"/>
                <a:gd name="T47" fmla="*/ 983 h 1060"/>
                <a:gd name="T48" fmla="*/ 649 w 865"/>
                <a:gd name="T49" fmla="*/ 942 h 1060"/>
                <a:gd name="T50" fmla="*/ 700 w 865"/>
                <a:gd name="T51" fmla="*/ 926 h 1060"/>
                <a:gd name="T52" fmla="*/ 682 w 865"/>
                <a:gd name="T53" fmla="*/ 867 h 1060"/>
                <a:gd name="T54" fmla="*/ 740 w 865"/>
                <a:gd name="T55" fmla="*/ 773 h 1060"/>
                <a:gd name="T56" fmla="*/ 785 w 865"/>
                <a:gd name="T57" fmla="*/ 737 h 1060"/>
                <a:gd name="T58" fmla="*/ 762 w 865"/>
                <a:gd name="T59" fmla="*/ 712 h 1060"/>
                <a:gd name="T60" fmla="*/ 759 w 865"/>
                <a:gd name="T61" fmla="*/ 660 h 1060"/>
                <a:gd name="T62" fmla="*/ 816 w 865"/>
                <a:gd name="T63" fmla="*/ 646 h 1060"/>
                <a:gd name="T64" fmla="*/ 842 w 865"/>
                <a:gd name="T65" fmla="*/ 641 h 1060"/>
                <a:gd name="T66" fmla="*/ 865 w 865"/>
                <a:gd name="T67" fmla="*/ 570 h 1060"/>
                <a:gd name="T68" fmla="*/ 800 w 865"/>
                <a:gd name="T69" fmla="*/ 589 h 1060"/>
                <a:gd name="T70" fmla="*/ 712 w 865"/>
                <a:gd name="T71" fmla="*/ 572 h 1060"/>
                <a:gd name="T72" fmla="*/ 708 w 865"/>
                <a:gd name="T73" fmla="*/ 537 h 1060"/>
                <a:gd name="T74" fmla="*/ 698 w 865"/>
                <a:gd name="T75" fmla="*/ 497 h 1060"/>
                <a:gd name="T76" fmla="*/ 722 w 865"/>
                <a:gd name="T77" fmla="*/ 469 h 1060"/>
                <a:gd name="T78" fmla="*/ 743 w 865"/>
                <a:gd name="T79" fmla="*/ 389 h 1060"/>
                <a:gd name="T80" fmla="*/ 703 w 865"/>
                <a:gd name="T81" fmla="*/ 367 h 1060"/>
                <a:gd name="T82" fmla="*/ 676 w 865"/>
                <a:gd name="T83" fmla="*/ 379 h 1060"/>
                <a:gd name="T84" fmla="*/ 613 w 865"/>
                <a:gd name="T85" fmla="*/ 379 h 1060"/>
                <a:gd name="T86" fmla="*/ 523 w 865"/>
                <a:gd name="T87" fmla="*/ 314 h 1060"/>
                <a:gd name="T88" fmla="*/ 475 w 865"/>
                <a:gd name="T89" fmla="*/ 228 h 1060"/>
                <a:gd name="T90" fmla="*/ 405 w 865"/>
                <a:gd name="T91" fmla="*/ 181 h 1060"/>
                <a:gd name="T92" fmla="*/ 315 w 865"/>
                <a:gd name="T93" fmla="*/ 194 h 1060"/>
                <a:gd name="T94" fmla="*/ 337 w 865"/>
                <a:gd name="T95" fmla="*/ 286 h 1060"/>
                <a:gd name="T96" fmla="*/ 329 w 865"/>
                <a:gd name="T97" fmla="*/ 382 h 1060"/>
                <a:gd name="T98" fmla="*/ 280 w 865"/>
                <a:gd name="T99" fmla="*/ 177 h 1060"/>
                <a:gd name="T100" fmla="*/ 150 w 865"/>
                <a:gd name="T101" fmla="*/ 2 h 106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65"/>
                <a:gd name="T154" fmla="*/ 0 h 1060"/>
                <a:gd name="T155" fmla="*/ 865 w 865"/>
                <a:gd name="T156" fmla="*/ 1060 h 106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65" h="1060">
                  <a:moveTo>
                    <a:pt x="123" y="0"/>
                  </a:moveTo>
                  <a:lnTo>
                    <a:pt x="82" y="62"/>
                  </a:lnTo>
                  <a:lnTo>
                    <a:pt x="69" y="281"/>
                  </a:lnTo>
                  <a:lnTo>
                    <a:pt x="35" y="502"/>
                  </a:lnTo>
                  <a:lnTo>
                    <a:pt x="11" y="674"/>
                  </a:lnTo>
                  <a:lnTo>
                    <a:pt x="9" y="719"/>
                  </a:lnTo>
                  <a:lnTo>
                    <a:pt x="27" y="659"/>
                  </a:lnTo>
                  <a:lnTo>
                    <a:pt x="63" y="612"/>
                  </a:lnTo>
                  <a:lnTo>
                    <a:pt x="115" y="659"/>
                  </a:lnTo>
                  <a:lnTo>
                    <a:pt x="121" y="674"/>
                  </a:lnTo>
                  <a:lnTo>
                    <a:pt x="136" y="695"/>
                  </a:lnTo>
                  <a:lnTo>
                    <a:pt x="71" y="698"/>
                  </a:lnTo>
                  <a:lnTo>
                    <a:pt x="61" y="682"/>
                  </a:lnTo>
                  <a:lnTo>
                    <a:pt x="35" y="692"/>
                  </a:lnTo>
                  <a:lnTo>
                    <a:pt x="30" y="732"/>
                  </a:lnTo>
                  <a:lnTo>
                    <a:pt x="1" y="771"/>
                  </a:lnTo>
                  <a:lnTo>
                    <a:pt x="1" y="830"/>
                  </a:lnTo>
                  <a:lnTo>
                    <a:pt x="0" y="833"/>
                  </a:lnTo>
                  <a:lnTo>
                    <a:pt x="22" y="832"/>
                  </a:lnTo>
                  <a:lnTo>
                    <a:pt x="104" y="790"/>
                  </a:lnTo>
                  <a:lnTo>
                    <a:pt x="149" y="806"/>
                  </a:lnTo>
                  <a:lnTo>
                    <a:pt x="147" y="837"/>
                  </a:lnTo>
                  <a:lnTo>
                    <a:pt x="128" y="860"/>
                  </a:lnTo>
                  <a:lnTo>
                    <a:pt x="149" y="874"/>
                  </a:lnTo>
                  <a:lnTo>
                    <a:pt x="194" y="855"/>
                  </a:lnTo>
                  <a:lnTo>
                    <a:pt x="224" y="877"/>
                  </a:lnTo>
                  <a:lnTo>
                    <a:pt x="243" y="874"/>
                  </a:lnTo>
                  <a:lnTo>
                    <a:pt x="271" y="851"/>
                  </a:lnTo>
                  <a:lnTo>
                    <a:pt x="319" y="844"/>
                  </a:lnTo>
                  <a:lnTo>
                    <a:pt x="335" y="858"/>
                  </a:lnTo>
                  <a:lnTo>
                    <a:pt x="349" y="870"/>
                  </a:lnTo>
                  <a:lnTo>
                    <a:pt x="349" y="884"/>
                  </a:lnTo>
                  <a:lnTo>
                    <a:pt x="338" y="898"/>
                  </a:lnTo>
                  <a:lnTo>
                    <a:pt x="380" y="910"/>
                  </a:lnTo>
                  <a:lnTo>
                    <a:pt x="406" y="926"/>
                  </a:lnTo>
                  <a:lnTo>
                    <a:pt x="408" y="947"/>
                  </a:lnTo>
                  <a:lnTo>
                    <a:pt x="432" y="950"/>
                  </a:lnTo>
                  <a:lnTo>
                    <a:pt x="465" y="985"/>
                  </a:lnTo>
                  <a:lnTo>
                    <a:pt x="474" y="1044"/>
                  </a:lnTo>
                  <a:lnTo>
                    <a:pt x="521" y="1060"/>
                  </a:lnTo>
                  <a:lnTo>
                    <a:pt x="566" y="1058"/>
                  </a:lnTo>
                  <a:lnTo>
                    <a:pt x="566" y="1044"/>
                  </a:lnTo>
                  <a:lnTo>
                    <a:pt x="561" y="997"/>
                  </a:lnTo>
                  <a:lnTo>
                    <a:pt x="575" y="1002"/>
                  </a:lnTo>
                  <a:lnTo>
                    <a:pt x="602" y="1034"/>
                  </a:lnTo>
                  <a:lnTo>
                    <a:pt x="644" y="1027"/>
                  </a:lnTo>
                  <a:lnTo>
                    <a:pt x="663" y="1009"/>
                  </a:lnTo>
                  <a:lnTo>
                    <a:pt x="660" y="983"/>
                  </a:lnTo>
                  <a:lnTo>
                    <a:pt x="644" y="969"/>
                  </a:lnTo>
                  <a:lnTo>
                    <a:pt x="649" y="942"/>
                  </a:lnTo>
                  <a:lnTo>
                    <a:pt x="675" y="942"/>
                  </a:lnTo>
                  <a:lnTo>
                    <a:pt x="700" y="926"/>
                  </a:lnTo>
                  <a:lnTo>
                    <a:pt x="689" y="902"/>
                  </a:lnTo>
                  <a:lnTo>
                    <a:pt x="682" y="867"/>
                  </a:lnTo>
                  <a:lnTo>
                    <a:pt x="700" y="834"/>
                  </a:lnTo>
                  <a:lnTo>
                    <a:pt x="740" y="773"/>
                  </a:lnTo>
                  <a:lnTo>
                    <a:pt x="764" y="745"/>
                  </a:lnTo>
                  <a:lnTo>
                    <a:pt x="785" y="737"/>
                  </a:lnTo>
                  <a:lnTo>
                    <a:pt x="790" y="714"/>
                  </a:lnTo>
                  <a:lnTo>
                    <a:pt x="762" y="712"/>
                  </a:lnTo>
                  <a:lnTo>
                    <a:pt x="750" y="686"/>
                  </a:lnTo>
                  <a:lnTo>
                    <a:pt x="759" y="660"/>
                  </a:lnTo>
                  <a:lnTo>
                    <a:pt x="793" y="653"/>
                  </a:lnTo>
                  <a:lnTo>
                    <a:pt x="816" y="646"/>
                  </a:lnTo>
                  <a:lnTo>
                    <a:pt x="843" y="642"/>
                  </a:lnTo>
                  <a:lnTo>
                    <a:pt x="842" y="641"/>
                  </a:lnTo>
                  <a:lnTo>
                    <a:pt x="840" y="589"/>
                  </a:lnTo>
                  <a:lnTo>
                    <a:pt x="865" y="570"/>
                  </a:lnTo>
                  <a:lnTo>
                    <a:pt x="833" y="549"/>
                  </a:lnTo>
                  <a:lnTo>
                    <a:pt x="800" y="589"/>
                  </a:lnTo>
                  <a:lnTo>
                    <a:pt x="719" y="592"/>
                  </a:lnTo>
                  <a:lnTo>
                    <a:pt x="712" y="572"/>
                  </a:lnTo>
                  <a:lnTo>
                    <a:pt x="689" y="561"/>
                  </a:lnTo>
                  <a:lnTo>
                    <a:pt x="708" y="537"/>
                  </a:lnTo>
                  <a:lnTo>
                    <a:pt x="708" y="511"/>
                  </a:lnTo>
                  <a:lnTo>
                    <a:pt x="698" y="497"/>
                  </a:lnTo>
                  <a:lnTo>
                    <a:pt x="698" y="483"/>
                  </a:lnTo>
                  <a:lnTo>
                    <a:pt x="722" y="469"/>
                  </a:lnTo>
                  <a:lnTo>
                    <a:pt x="729" y="427"/>
                  </a:lnTo>
                  <a:lnTo>
                    <a:pt x="743" y="389"/>
                  </a:lnTo>
                  <a:lnTo>
                    <a:pt x="729" y="367"/>
                  </a:lnTo>
                  <a:lnTo>
                    <a:pt x="703" y="367"/>
                  </a:lnTo>
                  <a:lnTo>
                    <a:pt x="689" y="351"/>
                  </a:lnTo>
                  <a:lnTo>
                    <a:pt x="676" y="379"/>
                  </a:lnTo>
                  <a:lnTo>
                    <a:pt x="650" y="361"/>
                  </a:lnTo>
                  <a:lnTo>
                    <a:pt x="613" y="379"/>
                  </a:lnTo>
                  <a:lnTo>
                    <a:pt x="582" y="374"/>
                  </a:lnTo>
                  <a:lnTo>
                    <a:pt x="523" y="314"/>
                  </a:lnTo>
                  <a:lnTo>
                    <a:pt x="486" y="312"/>
                  </a:lnTo>
                  <a:lnTo>
                    <a:pt x="475" y="228"/>
                  </a:lnTo>
                  <a:lnTo>
                    <a:pt x="408" y="220"/>
                  </a:lnTo>
                  <a:lnTo>
                    <a:pt x="405" y="181"/>
                  </a:lnTo>
                  <a:lnTo>
                    <a:pt x="392" y="194"/>
                  </a:lnTo>
                  <a:lnTo>
                    <a:pt x="315" y="194"/>
                  </a:lnTo>
                  <a:lnTo>
                    <a:pt x="319" y="211"/>
                  </a:lnTo>
                  <a:lnTo>
                    <a:pt x="337" y="286"/>
                  </a:lnTo>
                  <a:lnTo>
                    <a:pt x="342" y="362"/>
                  </a:lnTo>
                  <a:lnTo>
                    <a:pt x="329" y="382"/>
                  </a:lnTo>
                  <a:lnTo>
                    <a:pt x="316" y="320"/>
                  </a:lnTo>
                  <a:lnTo>
                    <a:pt x="280" y="177"/>
                  </a:lnTo>
                  <a:lnTo>
                    <a:pt x="147" y="57"/>
                  </a:lnTo>
                  <a:lnTo>
                    <a:pt x="150" y="2"/>
                  </a:lnTo>
                  <a:lnTo>
                    <a:pt x="123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33</a:t>
              </a:r>
            </a:p>
          </p:txBody>
        </p:sp>
        <p:sp>
          <p:nvSpPr>
            <p:cNvPr id="127" name="FR-24">
              <a:extLst>
                <a:ext uri="{FF2B5EF4-FFF2-40B4-BE49-F238E27FC236}">
                  <a16:creationId xmlns:a16="http://schemas.microsoft.com/office/drawing/2014/main" id="{BFC07156-1480-44E3-B33D-9425F3F6337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269608" y="3868844"/>
              <a:ext cx="771433" cy="792516"/>
            </a:xfrm>
            <a:custGeom>
              <a:avLst/>
              <a:gdLst>
                <a:gd name="T0" fmla="*/ 326 w 794"/>
                <a:gd name="T1" fmla="*/ 41 h 837"/>
                <a:gd name="T2" fmla="*/ 286 w 794"/>
                <a:gd name="T3" fmla="*/ 109 h 837"/>
                <a:gd name="T4" fmla="*/ 161 w 794"/>
                <a:gd name="T5" fmla="*/ 283 h 837"/>
                <a:gd name="T6" fmla="*/ 89 w 794"/>
                <a:gd name="T7" fmla="*/ 354 h 837"/>
                <a:gd name="T8" fmla="*/ 8 w 794"/>
                <a:gd name="T9" fmla="*/ 398 h 837"/>
                <a:gd name="T10" fmla="*/ 14 w 794"/>
                <a:gd name="T11" fmla="*/ 430 h 837"/>
                <a:gd name="T12" fmla="*/ 54 w 794"/>
                <a:gd name="T13" fmla="*/ 452 h 837"/>
                <a:gd name="T14" fmla="*/ 33 w 794"/>
                <a:gd name="T15" fmla="*/ 532 h 837"/>
                <a:gd name="T16" fmla="*/ 9 w 794"/>
                <a:gd name="T17" fmla="*/ 560 h 837"/>
                <a:gd name="T18" fmla="*/ 19 w 794"/>
                <a:gd name="T19" fmla="*/ 600 h 837"/>
                <a:gd name="T20" fmla="*/ 23 w 794"/>
                <a:gd name="T21" fmla="*/ 635 h 837"/>
                <a:gd name="T22" fmla="*/ 111 w 794"/>
                <a:gd name="T23" fmla="*/ 652 h 837"/>
                <a:gd name="T24" fmla="*/ 176 w 794"/>
                <a:gd name="T25" fmla="*/ 633 h 837"/>
                <a:gd name="T26" fmla="*/ 153 w 794"/>
                <a:gd name="T27" fmla="*/ 704 h 837"/>
                <a:gd name="T28" fmla="*/ 195 w 794"/>
                <a:gd name="T29" fmla="*/ 779 h 837"/>
                <a:gd name="T30" fmla="*/ 259 w 794"/>
                <a:gd name="T31" fmla="*/ 772 h 837"/>
                <a:gd name="T32" fmla="*/ 339 w 794"/>
                <a:gd name="T33" fmla="*/ 749 h 837"/>
                <a:gd name="T34" fmla="*/ 360 w 794"/>
                <a:gd name="T35" fmla="*/ 770 h 837"/>
                <a:gd name="T36" fmla="*/ 424 w 794"/>
                <a:gd name="T37" fmla="*/ 756 h 837"/>
                <a:gd name="T38" fmla="*/ 464 w 794"/>
                <a:gd name="T39" fmla="*/ 782 h 837"/>
                <a:gd name="T40" fmla="*/ 445 w 794"/>
                <a:gd name="T41" fmla="*/ 810 h 837"/>
                <a:gd name="T42" fmla="*/ 478 w 794"/>
                <a:gd name="T43" fmla="*/ 829 h 837"/>
                <a:gd name="T44" fmla="*/ 539 w 794"/>
                <a:gd name="T45" fmla="*/ 798 h 837"/>
                <a:gd name="T46" fmla="*/ 599 w 794"/>
                <a:gd name="T47" fmla="*/ 837 h 837"/>
                <a:gd name="T48" fmla="*/ 625 w 794"/>
                <a:gd name="T49" fmla="*/ 807 h 837"/>
                <a:gd name="T50" fmla="*/ 685 w 794"/>
                <a:gd name="T51" fmla="*/ 763 h 837"/>
                <a:gd name="T52" fmla="*/ 706 w 794"/>
                <a:gd name="T53" fmla="*/ 705 h 837"/>
                <a:gd name="T54" fmla="*/ 747 w 794"/>
                <a:gd name="T55" fmla="*/ 671 h 837"/>
                <a:gd name="T56" fmla="*/ 771 w 794"/>
                <a:gd name="T57" fmla="*/ 632 h 837"/>
                <a:gd name="T58" fmla="*/ 771 w 794"/>
                <a:gd name="T59" fmla="*/ 565 h 837"/>
                <a:gd name="T60" fmla="*/ 789 w 794"/>
                <a:gd name="T61" fmla="*/ 520 h 837"/>
                <a:gd name="T62" fmla="*/ 768 w 794"/>
                <a:gd name="T63" fmla="*/ 427 h 837"/>
                <a:gd name="T64" fmla="*/ 688 w 794"/>
                <a:gd name="T65" fmla="*/ 413 h 837"/>
                <a:gd name="T66" fmla="*/ 680 w 794"/>
                <a:gd name="T67" fmla="*/ 364 h 837"/>
                <a:gd name="T68" fmla="*/ 680 w 794"/>
                <a:gd name="T69" fmla="*/ 328 h 837"/>
                <a:gd name="T70" fmla="*/ 732 w 794"/>
                <a:gd name="T71" fmla="*/ 244 h 837"/>
                <a:gd name="T72" fmla="*/ 688 w 794"/>
                <a:gd name="T73" fmla="*/ 182 h 837"/>
                <a:gd name="T74" fmla="*/ 614 w 794"/>
                <a:gd name="T75" fmla="*/ 161 h 837"/>
                <a:gd name="T76" fmla="*/ 641 w 794"/>
                <a:gd name="T77" fmla="*/ 125 h 837"/>
                <a:gd name="T78" fmla="*/ 570 w 794"/>
                <a:gd name="T79" fmla="*/ 65 h 837"/>
                <a:gd name="T80" fmla="*/ 469 w 794"/>
                <a:gd name="T81" fmla="*/ 83 h 837"/>
                <a:gd name="T82" fmla="*/ 427 w 794"/>
                <a:gd name="T83" fmla="*/ 57 h 837"/>
                <a:gd name="T84" fmla="*/ 424 w 794"/>
                <a:gd name="T85" fmla="*/ 2 h 837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794"/>
                <a:gd name="T130" fmla="*/ 0 h 837"/>
                <a:gd name="T131" fmla="*/ 794 w 794"/>
                <a:gd name="T132" fmla="*/ 837 h 837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794" h="837">
                  <a:moveTo>
                    <a:pt x="349" y="0"/>
                  </a:moveTo>
                  <a:lnTo>
                    <a:pt x="326" y="41"/>
                  </a:lnTo>
                  <a:lnTo>
                    <a:pt x="289" y="46"/>
                  </a:lnTo>
                  <a:lnTo>
                    <a:pt x="286" y="109"/>
                  </a:lnTo>
                  <a:lnTo>
                    <a:pt x="164" y="192"/>
                  </a:lnTo>
                  <a:lnTo>
                    <a:pt x="161" y="283"/>
                  </a:lnTo>
                  <a:lnTo>
                    <a:pt x="114" y="330"/>
                  </a:lnTo>
                  <a:lnTo>
                    <a:pt x="89" y="354"/>
                  </a:lnTo>
                  <a:lnTo>
                    <a:pt x="36" y="348"/>
                  </a:lnTo>
                  <a:lnTo>
                    <a:pt x="8" y="398"/>
                  </a:lnTo>
                  <a:lnTo>
                    <a:pt x="0" y="414"/>
                  </a:lnTo>
                  <a:lnTo>
                    <a:pt x="14" y="430"/>
                  </a:lnTo>
                  <a:lnTo>
                    <a:pt x="40" y="430"/>
                  </a:lnTo>
                  <a:lnTo>
                    <a:pt x="54" y="452"/>
                  </a:lnTo>
                  <a:lnTo>
                    <a:pt x="40" y="490"/>
                  </a:lnTo>
                  <a:lnTo>
                    <a:pt x="33" y="532"/>
                  </a:lnTo>
                  <a:lnTo>
                    <a:pt x="9" y="546"/>
                  </a:lnTo>
                  <a:lnTo>
                    <a:pt x="9" y="560"/>
                  </a:lnTo>
                  <a:lnTo>
                    <a:pt x="19" y="574"/>
                  </a:lnTo>
                  <a:lnTo>
                    <a:pt x="19" y="600"/>
                  </a:lnTo>
                  <a:lnTo>
                    <a:pt x="0" y="624"/>
                  </a:lnTo>
                  <a:lnTo>
                    <a:pt x="23" y="635"/>
                  </a:lnTo>
                  <a:lnTo>
                    <a:pt x="30" y="655"/>
                  </a:lnTo>
                  <a:lnTo>
                    <a:pt x="111" y="652"/>
                  </a:lnTo>
                  <a:lnTo>
                    <a:pt x="144" y="612"/>
                  </a:lnTo>
                  <a:lnTo>
                    <a:pt x="176" y="633"/>
                  </a:lnTo>
                  <a:lnTo>
                    <a:pt x="151" y="652"/>
                  </a:lnTo>
                  <a:lnTo>
                    <a:pt x="153" y="704"/>
                  </a:lnTo>
                  <a:lnTo>
                    <a:pt x="191" y="730"/>
                  </a:lnTo>
                  <a:lnTo>
                    <a:pt x="195" y="779"/>
                  </a:lnTo>
                  <a:lnTo>
                    <a:pt x="235" y="793"/>
                  </a:lnTo>
                  <a:lnTo>
                    <a:pt x="259" y="772"/>
                  </a:lnTo>
                  <a:lnTo>
                    <a:pt x="311" y="772"/>
                  </a:lnTo>
                  <a:lnTo>
                    <a:pt x="339" y="749"/>
                  </a:lnTo>
                  <a:lnTo>
                    <a:pt x="356" y="751"/>
                  </a:lnTo>
                  <a:lnTo>
                    <a:pt x="360" y="770"/>
                  </a:lnTo>
                  <a:lnTo>
                    <a:pt x="412" y="770"/>
                  </a:lnTo>
                  <a:lnTo>
                    <a:pt x="424" y="756"/>
                  </a:lnTo>
                  <a:lnTo>
                    <a:pt x="443" y="758"/>
                  </a:lnTo>
                  <a:lnTo>
                    <a:pt x="464" y="782"/>
                  </a:lnTo>
                  <a:lnTo>
                    <a:pt x="464" y="798"/>
                  </a:lnTo>
                  <a:lnTo>
                    <a:pt x="445" y="810"/>
                  </a:lnTo>
                  <a:lnTo>
                    <a:pt x="452" y="827"/>
                  </a:lnTo>
                  <a:lnTo>
                    <a:pt x="478" y="829"/>
                  </a:lnTo>
                  <a:lnTo>
                    <a:pt x="511" y="798"/>
                  </a:lnTo>
                  <a:lnTo>
                    <a:pt x="539" y="798"/>
                  </a:lnTo>
                  <a:lnTo>
                    <a:pt x="558" y="820"/>
                  </a:lnTo>
                  <a:lnTo>
                    <a:pt x="599" y="837"/>
                  </a:lnTo>
                  <a:lnTo>
                    <a:pt x="601" y="830"/>
                  </a:lnTo>
                  <a:lnTo>
                    <a:pt x="625" y="807"/>
                  </a:lnTo>
                  <a:lnTo>
                    <a:pt x="628" y="768"/>
                  </a:lnTo>
                  <a:lnTo>
                    <a:pt x="685" y="763"/>
                  </a:lnTo>
                  <a:lnTo>
                    <a:pt x="721" y="710"/>
                  </a:lnTo>
                  <a:lnTo>
                    <a:pt x="706" y="705"/>
                  </a:lnTo>
                  <a:lnTo>
                    <a:pt x="703" y="677"/>
                  </a:lnTo>
                  <a:lnTo>
                    <a:pt x="747" y="671"/>
                  </a:lnTo>
                  <a:lnTo>
                    <a:pt x="750" y="645"/>
                  </a:lnTo>
                  <a:lnTo>
                    <a:pt x="771" y="632"/>
                  </a:lnTo>
                  <a:lnTo>
                    <a:pt x="794" y="590"/>
                  </a:lnTo>
                  <a:lnTo>
                    <a:pt x="771" y="565"/>
                  </a:lnTo>
                  <a:lnTo>
                    <a:pt x="771" y="536"/>
                  </a:lnTo>
                  <a:lnTo>
                    <a:pt x="789" y="520"/>
                  </a:lnTo>
                  <a:lnTo>
                    <a:pt x="766" y="484"/>
                  </a:lnTo>
                  <a:lnTo>
                    <a:pt x="768" y="427"/>
                  </a:lnTo>
                  <a:lnTo>
                    <a:pt x="711" y="429"/>
                  </a:lnTo>
                  <a:lnTo>
                    <a:pt x="688" y="413"/>
                  </a:lnTo>
                  <a:lnTo>
                    <a:pt x="709" y="388"/>
                  </a:lnTo>
                  <a:lnTo>
                    <a:pt x="680" y="364"/>
                  </a:lnTo>
                  <a:lnTo>
                    <a:pt x="701" y="338"/>
                  </a:lnTo>
                  <a:lnTo>
                    <a:pt x="680" y="328"/>
                  </a:lnTo>
                  <a:lnTo>
                    <a:pt x="680" y="291"/>
                  </a:lnTo>
                  <a:lnTo>
                    <a:pt x="732" y="244"/>
                  </a:lnTo>
                  <a:lnTo>
                    <a:pt x="703" y="221"/>
                  </a:lnTo>
                  <a:lnTo>
                    <a:pt x="688" y="182"/>
                  </a:lnTo>
                  <a:lnTo>
                    <a:pt x="633" y="174"/>
                  </a:lnTo>
                  <a:lnTo>
                    <a:pt x="614" y="161"/>
                  </a:lnTo>
                  <a:lnTo>
                    <a:pt x="654" y="143"/>
                  </a:lnTo>
                  <a:lnTo>
                    <a:pt x="641" y="125"/>
                  </a:lnTo>
                  <a:lnTo>
                    <a:pt x="584" y="117"/>
                  </a:lnTo>
                  <a:lnTo>
                    <a:pt x="570" y="65"/>
                  </a:lnTo>
                  <a:lnTo>
                    <a:pt x="487" y="57"/>
                  </a:lnTo>
                  <a:lnTo>
                    <a:pt x="469" y="83"/>
                  </a:lnTo>
                  <a:lnTo>
                    <a:pt x="451" y="88"/>
                  </a:lnTo>
                  <a:lnTo>
                    <a:pt x="427" y="57"/>
                  </a:lnTo>
                  <a:lnTo>
                    <a:pt x="438" y="28"/>
                  </a:lnTo>
                  <a:lnTo>
                    <a:pt x="424" y="2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24</a:t>
              </a:r>
            </a:p>
          </p:txBody>
        </p:sp>
        <p:sp>
          <p:nvSpPr>
            <p:cNvPr id="128" name="FR-47">
              <a:extLst>
                <a:ext uri="{FF2B5EF4-FFF2-40B4-BE49-F238E27FC236}">
                  <a16:creationId xmlns:a16="http://schemas.microsoft.com/office/drawing/2014/main" id="{B786EDAD-F85E-49BA-8127-F126941C43F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185080" y="4536376"/>
              <a:ext cx="666503" cy="554856"/>
            </a:xfrm>
            <a:custGeom>
              <a:avLst/>
              <a:gdLst>
                <a:gd name="T0" fmla="*/ 214 w 686"/>
                <a:gd name="T1" fmla="*/ 4 h 586"/>
                <a:gd name="T2" fmla="*/ 157 w 686"/>
                <a:gd name="T3" fmla="*/ 18 h 586"/>
                <a:gd name="T4" fmla="*/ 160 w 686"/>
                <a:gd name="T5" fmla="*/ 70 h 586"/>
                <a:gd name="T6" fmla="*/ 183 w 686"/>
                <a:gd name="T7" fmla="*/ 95 h 586"/>
                <a:gd name="T8" fmla="*/ 138 w 686"/>
                <a:gd name="T9" fmla="*/ 131 h 586"/>
                <a:gd name="T10" fmla="*/ 80 w 686"/>
                <a:gd name="T11" fmla="*/ 225 h 586"/>
                <a:gd name="T12" fmla="*/ 98 w 686"/>
                <a:gd name="T13" fmla="*/ 284 h 586"/>
                <a:gd name="T14" fmla="*/ 47 w 686"/>
                <a:gd name="T15" fmla="*/ 300 h 586"/>
                <a:gd name="T16" fmla="*/ 58 w 686"/>
                <a:gd name="T17" fmla="*/ 341 h 586"/>
                <a:gd name="T18" fmla="*/ 42 w 686"/>
                <a:gd name="T19" fmla="*/ 385 h 586"/>
                <a:gd name="T20" fmla="*/ 6 w 686"/>
                <a:gd name="T21" fmla="*/ 400 h 586"/>
                <a:gd name="T22" fmla="*/ 68 w 686"/>
                <a:gd name="T23" fmla="*/ 452 h 586"/>
                <a:gd name="T24" fmla="*/ 134 w 686"/>
                <a:gd name="T25" fmla="*/ 468 h 586"/>
                <a:gd name="T26" fmla="*/ 120 w 686"/>
                <a:gd name="T27" fmla="*/ 513 h 586"/>
                <a:gd name="T28" fmla="*/ 119 w 686"/>
                <a:gd name="T29" fmla="*/ 581 h 586"/>
                <a:gd name="T30" fmla="*/ 160 w 686"/>
                <a:gd name="T31" fmla="*/ 586 h 586"/>
                <a:gd name="T32" fmla="*/ 220 w 686"/>
                <a:gd name="T33" fmla="*/ 570 h 586"/>
                <a:gd name="T34" fmla="*/ 311 w 686"/>
                <a:gd name="T35" fmla="*/ 558 h 586"/>
                <a:gd name="T36" fmla="*/ 410 w 686"/>
                <a:gd name="T37" fmla="*/ 513 h 586"/>
                <a:gd name="T38" fmla="*/ 462 w 686"/>
                <a:gd name="T39" fmla="*/ 539 h 586"/>
                <a:gd name="T40" fmla="*/ 478 w 686"/>
                <a:gd name="T41" fmla="*/ 495 h 586"/>
                <a:gd name="T42" fmla="*/ 566 w 686"/>
                <a:gd name="T43" fmla="*/ 474 h 586"/>
                <a:gd name="T44" fmla="*/ 571 w 686"/>
                <a:gd name="T45" fmla="*/ 425 h 586"/>
                <a:gd name="T46" fmla="*/ 556 w 686"/>
                <a:gd name="T47" fmla="*/ 344 h 586"/>
                <a:gd name="T48" fmla="*/ 613 w 686"/>
                <a:gd name="T49" fmla="*/ 308 h 586"/>
                <a:gd name="T50" fmla="*/ 644 w 686"/>
                <a:gd name="T51" fmla="*/ 240 h 586"/>
                <a:gd name="T52" fmla="*/ 676 w 686"/>
                <a:gd name="T53" fmla="*/ 159 h 586"/>
                <a:gd name="T54" fmla="*/ 645 w 686"/>
                <a:gd name="T55" fmla="*/ 115 h 586"/>
                <a:gd name="T56" fmla="*/ 598 w 686"/>
                <a:gd name="T57" fmla="*/ 93 h 586"/>
                <a:gd name="T58" fmla="*/ 539 w 686"/>
                <a:gd name="T59" fmla="*/ 122 h 586"/>
                <a:gd name="T60" fmla="*/ 551 w 686"/>
                <a:gd name="T61" fmla="*/ 93 h 586"/>
                <a:gd name="T62" fmla="*/ 530 w 686"/>
                <a:gd name="T63" fmla="*/ 53 h 586"/>
                <a:gd name="T64" fmla="*/ 499 w 686"/>
                <a:gd name="T65" fmla="*/ 65 h 586"/>
                <a:gd name="T66" fmla="*/ 443 w 686"/>
                <a:gd name="T67" fmla="*/ 46 h 586"/>
                <a:gd name="T68" fmla="*/ 398 w 686"/>
                <a:gd name="T69" fmla="*/ 67 h 586"/>
                <a:gd name="T70" fmla="*/ 322 w 686"/>
                <a:gd name="T71" fmla="*/ 88 h 586"/>
                <a:gd name="T72" fmla="*/ 278 w 686"/>
                <a:gd name="T73" fmla="*/ 25 h 58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86"/>
                <a:gd name="T112" fmla="*/ 0 h 586"/>
                <a:gd name="T113" fmla="*/ 686 w 686"/>
                <a:gd name="T114" fmla="*/ 586 h 58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86" h="586">
                  <a:moveTo>
                    <a:pt x="241" y="0"/>
                  </a:moveTo>
                  <a:lnTo>
                    <a:pt x="214" y="4"/>
                  </a:lnTo>
                  <a:lnTo>
                    <a:pt x="191" y="11"/>
                  </a:lnTo>
                  <a:lnTo>
                    <a:pt x="157" y="18"/>
                  </a:lnTo>
                  <a:lnTo>
                    <a:pt x="148" y="44"/>
                  </a:lnTo>
                  <a:lnTo>
                    <a:pt x="160" y="70"/>
                  </a:lnTo>
                  <a:lnTo>
                    <a:pt x="188" y="72"/>
                  </a:lnTo>
                  <a:lnTo>
                    <a:pt x="183" y="95"/>
                  </a:lnTo>
                  <a:lnTo>
                    <a:pt x="162" y="103"/>
                  </a:lnTo>
                  <a:lnTo>
                    <a:pt x="138" y="131"/>
                  </a:lnTo>
                  <a:lnTo>
                    <a:pt x="98" y="192"/>
                  </a:lnTo>
                  <a:lnTo>
                    <a:pt x="80" y="225"/>
                  </a:lnTo>
                  <a:lnTo>
                    <a:pt x="87" y="260"/>
                  </a:lnTo>
                  <a:lnTo>
                    <a:pt x="98" y="284"/>
                  </a:lnTo>
                  <a:lnTo>
                    <a:pt x="73" y="300"/>
                  </a:lnTo>
                  <a:lnTo>
                    <a:pt x="47" y="300"/>
                  </a:lnTo>
                  <a:lnTo>
                    <a:pt x="42" y="327"/>
                  </a:lnTo>
                  <a:lnTo>
                    <a:pt x="58" y="341"/>
                  </a:lnTo>
                  <a:lnTo>
                    <a:pt x="61" y="367"/>
                  </a:lnTo>
                  <a:lnTo>
                    <a:pt x="42" y="385"/>
                  </a:lnTo>
                  <a:lnTo>
                    <a:pt x="0" y="392"/>
                  </a:lnTo>
                  <a:lnTo>
                    <a:pt x="6" y="400"/>
                  </a:lnTo>
                  <a:lnTo>
                    <a:pt x="16" y="456"/>
                  </a:lnTo>
                  <a:lnTo>
                    <a:pt x="68" y="452"/>
                  </a:lnTo>
                  <a:lnTo>
                    <a:pt x="103" y="465"/>
                  </a:lnTo>
                  <a:lnTo>
                    <a:pt x="134" y="468"/>
                  </a:lnTo>
                  <a:lnTo>
                    <a:pt x="148" y="485"/>
                  </a:lnTo>
                  <a:lnTo>
                    <a:pt x="120" y="513"/>
                  </a:lnTo>
                  <a:lnTo>
                    <a:pt x="113" y="565"/>
                  </a:lnTo>
                  <a:lnTo>
                    <a:pt x="119" y="581"/>
                  </a:lnTo>
                  <a:lnTo>
                    <a:pt x="129" y="560"/>
                  </a:lnTo>
                  <a:lnTo>
                    <a:pt x="160" y="586"/>
                  </a:lnTo>
                  <a:lnTo>
                    <a:pt x="201" y="545"/>
                  </a:lnTo>
                  <a:lnTo>
                    <a:pt x="220" y="570"/>
                  </a:lnTo>
                  <a:lnTo>
                    <a:pt x="264" y="563"/>
                  </a:lnTo>
                  <a:lnTo>
                    <a:pt x="311" y="558"/>
                  </a:lnTo>
                  <a:lnTo>
                    <a:pt x="332" y="521"/>
                  </a:lnTo>
                  <a:lnTo>
                    <a:pt x="410" y="513"/>
                  </a:lnTo>
                  <a:lnTo>
                    <a:pt x="449" y="552"/>
                  </a:lnTo>
                  <a:lnTo>
                    <a:pt x="462" y="539"/>
                  </a:lnTo>
                  <a:lnTo>
                    <a:pt x="488" y="531"/>
                  </a:lnTo>
                  <a:lnTo>
                    <a:pt x="478" y="495"/>
                  </a:lnTo>
                  <a:lnTo>
                    <a:pt x="517" y="485"/>
                  </a:lnTo>
                  <a:lnTo>
                    <a:pt x="566" y="474"/>
                  </a:lnTo>
                  <a:lnTo>
                    <a:pt x="556" y="443"/>
                  </a:lnTo>
                  <a:lnTo>
                    <a:pt x="571" y="425"/>
                  </a:lnTo>
                  <a:lnTo>
                    <a:pt x="584" y="375"/>
                  </a:lnTo>
                  <a:lnTo>
                    <a:pt x="556" y="344"/>
                  </a:lnTo>
                  <a:lnTo>
                    <a:pt x="574" y="284"/>
                  </a:lnTo>
                  <a:lnTo>
                    <a:pt x="613" y="308"/>
                  </a:lnTo>
                  <a:lnTo>
                    <a:pt x="671" y="297"/>
                  </a:lnTo>
                  <a:lnTo>
                    <a:pt x="644" y="240"/>
                  </a:lnTo>
                  <a:lnTo>
                    <a:pt x="623" y="162"/>
                  </a:lnTo>
                  <a:lnTo>
                    <a:pt x="676" y="159"/>
                  </a:lnTo>
                  <a:lnTo>
                    <a:pt x="686" y="132"/>
                  </a:lnTo>
                  <a:lnTo>
                    <a:pt x="645" y="115"/>
                  </a:lnTo>
                  <a:lnTo>
                    <a:pt x="626" y="93"/>
                  </a:lnTo>
                  <a:lnTo>
                    <a:pt x="598" y="93"/>
                  </a:lnTo>
                  <a:lnTo>
                    <a:pt x="565" y="124"/>
                  </a:lnTo>
                  <a:lnTo>
                    <a:pt x="539" y="122"/>
                  </a:lnTo>
                  <a:lnTo>
                    <a:pt x="532" y="105"/>
                  </a:lnTo>
                  <a:lnTo>
                    <a:pt x="551" y="93"/>
                  </a:lnTo>
                  <a:lnTo>
                    <a:pt x="551" y="77"/>
                  </a:lnTo>
                  <a:lnTo>
                    <a:pt x="530" y="53"/>
                  </a:lnTo>
                  <a:lnTo>
                    <a:pt x="511" y="51"/>
                  </a:lnTo>
                  <a:lnTo>
                    <a:pt x="499" y="65"/>
                  </a:lnTo>
                  <a:lnTo>
                    <a:pt x="447" y="65"/>
                  </a:lnTo>
                  <a:lnTo>
                    <a:pt x="443" y="46"/>
                  </a:lnTo>
                  <a:lnTo>
                    <a:pt x="426" y="44"/>
                  </a:lnTo>
                  <a:lnTo>
                    <a:pt x="398" y="67"/>
                  </a:lnTo>
                  <a:lnTo>
                    <a:pt x="346" y="67"/>
                  </a:lnTo>
                  <a:lnTo>
                    <a:pt x="322" y="88"/>
                  </a:lnTo>
                  <a:lnTo>
                    <a:pt x="282" y="74"/>
                  </a:lnTo>
                  <a:lnTo>
                    <a:pt x="278" y="25"/>
                  </a:lnTo>
                  <a:lnTo>
                    <a:pt x="241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47</a:t>
              </a:r>
            </a:p>
          </p:txBody>
        </p:sp>
        <p:sp>
          <p:nvSpPr>
            <p:cNvPr id="129" name="FR-46">
              <a:extLst>
                <a:ext uri="{FF2B5EF4-FFF2-40B4-BE49-F238E27FC236}">
                  <a16:creationId xmlns:a16="http://schemas.microsoft.com/office/drawing/2014/main" id="{ECD52E51-1CFD-4C19-96C8-1E6B1A61991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790374" y="4333749"/>
              <a:ext cx="637356" cy="598411"/>
            </a:xfrm>
            <a:custGeom>
              <a:avLst/>
              <a:gdLst>
                <a:gd name="T0" fmla="*/ 259 w 656"/>
                <a:gd name="T1" fmla="*/ 26 h 632"/>
                <a:gd name="T2" fmla="*/ 253 w 656"/>
                <a:gd name="T3" fmla="*/ 29 h 632"/>
                <a:gd name="T4" fmla="*/ 235 w 656"/>
                <a:gd name="T5" fmla="*/ 74 h 632"/>
                <a:gd name="T6" fmla="*/ 235 w 656"/>
                <a:gd name="T7" fmla="*/ 141 h 632"/>
                <a:gd name="T8" fmla="*/ 211 w 656"/>
                <a:gd name="T9" fmla="*/ 180 h 632"/>
                <a:gd name="T10" fmla="*/ 170 w 656"/>
                <a:gd name="T11" fmla="*/ 214 h 632"/>
                <a:gd name="T12" fmla="*/ 149 w 656"/>
                <a:gd name="T13" fmla="*/ 272 h 632"/>
                <a:gd name="T14" fmla="*/ 89 w 656"/>
                <a:gd name="T15" fmla="*/ 316 h 632"/>
                <a:gd name="T16" fmla="*/ 53 w 656"/>
                <a:gd name="T17" fmla="*/ 373 h 632"/>
                <a:gd name="T18" fmla="*/ 21 w 656"/>
                <a:gd name="T19" fmla="*/ 454 h 632"/>
                <a:gd name="T20" fmla="*/ 77 w 656"/>
                <a:gd name="T21" fmla="*/ 501 h 632"/>
                <a:gd name="T22" fmla="*/ 60 w 656"/>
                <a:gd name="T23" fmla="*/ 536 h 632"/>
                <a:gd name="T24" fmla="*/ 95 w 656"/>
                <a:gd name="T25" fmla="*/ 564 h 632"/>
                <a:gd name="T26" fmla="*/ 140 w 656"/>
                <a:gd name="T27" fmla="*/ 590 h 632"/>
                <a:gd name="T28" fmla="*/ 161 w 656"/>
                <a:gd name="T29" fmla="*/ 576 h 632"/>
                <a:gd name="T30" fmla="*/ 168 w 656"/>
                <a:gd name="T31" fmla="*/ 630 h 632"/>
                <a:gd name="T32" fmla="*/ 258 w 656"/>
                <a:gd name="T33" fmla="*/ 590 h 632"/>
                <a:gd name="T34" fmla="*/ 286 w 656"/>
                <a:gd name="T35" fmla="*/ 599 h 632"/>
                <a:gd name="T36" fmla="*/ 317 w 656"/>
                <a:gd name="T37" fmla="*/ 625 h 632"/>
                <a:gd name="T38" fmla="*/ 364 w 656"/>
                <a:gd name="T39" fmla="*/ 583 h 632"/>
                <a:gd name="T40" fmla="*/ 425 w 656"/>
                <a:gd name="T41" fmla="*/ 564 h 632"/>
                <a:gd name="T42" fmla="*/ 483 w 656"/>
                <a:gd name="T43" fmla="*/ 543 h 632"/>
                <a:gd name="T44" fmla="*/ 477 w 656"/>
                <a:gd name="T45" fmla="*/ 489 h 632"/>
                <a:gd name="T46" fmla="*/ 498 w 656"/>
                <a:gd name="T47" fmla="*/ 416 h 632"/>
                <a:gd name="T48" fmla="*/ 555 w 656"/>
                <a:gd name="T49" fmla="*/ 373 h 632"/>
                <a:gd name="T50" fmla="*/ 588 w 656"/>
                <a:gd name="T51" fmla="*/ 364 h 632"/>
                <a:gd name="T52" fmla="*/ 652 w 656"/>
                <a:gd name="T53" fmla="*/ 345 h 632"/>
                <a:gd name="T54" fmla="*/ 635 w 656"/>
                <a:gd name="T55" fmla="*/ 327 h 632"/>
                <a:gd name="T56" fmla="*/ 616 w 656"/>
                <a:gd name="T57" fmla="*/ 269 h 632"/>
                <a:gd name="T58" fmla="*/ 605 w 656"/>
                <a:gd name="T59" fmla="*/ 158 h 632"/>
                <a:gd name="T60" fmla="*/ 550 w 656"/>
                <a:gd name="T61" fmla="*/ 52 h 632"/>
                <a:gd name="T62" fmla="*/ 506 w 656"/>
                <a:gd name="T63" fmla="*/ 55 h 632"/>
                <a:gd name="T64" fmla="*/ 432 w 656"/>
                <a:gd name="T65" fmla="*/ 103 h 632"/>
                <a:gd name="T66" fmla="*/ 315 w 656"/>
                <a:gd name="T67" fmla="*/ 0 h 63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656"/>
                <a:gd name="T103" fmla="*/ 0 h 632"/>
                <a:gd name="T104" fmla="*/ 656 w 656"/>
                <a:gd name="T105" fmla="*/ 632 h 632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656" h="632">
                  <a:moveTo>
                    <a:pt x="315" y="0"/>
                  </a:moveTo>
                  <a:lnTo>
                    <a:pt x="259" y="26"/>
                  </a:lnTo>
                  <a:lnTo>
                    <a:pt x="251" y="27"/>
                  </a:lnTo>
                  <a:lnTo>
                    <a:pt x="253" y="29"/>
                  </a:lnTo>
                  <a:lnTo>
                    <a:pt x="235" y="45"/>
                  </a:lnTo>
                  <a:lnTo>
                    <a:pt x="235" y="74"/>
                  </a:lnTo>
                  <a:lnTo>
                    <a:pt x="258" y="99"/>
                  </a:lnTo>
                  <a:lnTo>
                    <a:pt x="235" y="141"/>
                  </a:lnTo>
                  <a:lnTo>
                    <a:pt x="214" y="154"/>
                  </a:lnTo>
                  <a:lnTo>
                    <a:pt x="211" y="180"/>
                  </a:lnTo>
                  <a:lnTo>
                    <a:pt x="167" y="186"/>
                  </a:lnTo>
                  <a:lnTo>
                    <a:pt x="170" y="214"/>
                  </a:lnTo>
                  <a:lnTo>
                    <a:pt x="185" y="219"/>
                  </a:lnTo>
                  <a:lnTo>
                    <a:pt x="149" y="272"/>
                  </a:lnTo>
                  <a:lnTo>
                    <a:pt x="92" y="277"/>
                  </a:lnTo>
                  <a:lnTo>
                    <a:pt x="89" y="316"/>
                  </a:lnTo>
                  <a:lnTo>
                    <a:pt x="65" y="339"/>
                  </a:lnTo>
                  <a:lnTo>
                    <a:pt x="53" y="373"/>
                  </a:lnTo>
                  <a:lnTo>
                    <a:pt x="0" y="376"/>
                  </a:lnTo>
                  <a:lnTo>
                    <a:pt x="21" y="454"/>
                  </a:lnTo>
                  <a:lnTo>
                    <a:pt x="43" y="502"/>
                  </a:lnTo>
                  <a:lnTo>
                    <a:pt x="77" y="501"/>
                  </a:lnTo>
                  <a:lnTo>
                    <a:pt x="79" y="514"/>
                  </a:lnTo>
                  <a:lnTo>
                    <a:pt x="60" y="536"/>
                  </a:lnTo>
                  <a:lnTo>
                    <a:pt x="74" y="564"/>
                  </a:lnTo>
                  <a:lnTo>
                    <a:pt x="95" y="564"/>
                  </a:lnTo>
                  <a:lnTo>
                    <a:pt x="119" y="590"/>
                  </a:lnTo>
                  <a:lnTo>
                    <a:pt x="140" y="590"/>
                  </a:lnTo>
                  <a:lnTo>
                    <a:pt x="157" y="571"/>
                  </a:lnTo>
                  <a:lnTo>
                    <a:pt x="161" y="576"/>
                  </a:lnTo>
                  <a:lnTo>
                    <a:pt x="161" y="599"/>
                  </a:lnTo>
                  <a:lnTo>
                    <a:pt x="168" y="630"/>
                  </a:lnTo>
                  <a:lnTo>
                    <a:pt x="218" y="632"/>
                  </a:lnTo>
                  <a:lnTo>
                    <a:pt x="258" y="590"/>
                  </a:lnTo>
                  <a:lnTo>
                    <a:pt x="279" y="588"/>
                  </a:lnTo>
                  <a:lnTo>
                    <a:pt x="286" y="599"/>
                  </a:lnTo>
                  <a:lnTo>
                    <a:pt x="298" y="625"/>
                  </a:lnTo>
                  <a:lnTo>
                    <a:pt x="317" y="625"/>
                  </a:lnTo>
                  <a:lnTo>
                    <a:pt x="324" y="578"/>
                  </a:lnTo>
                  <a:lnTo>
                    <a:pt x="364" y="583"/>
                  </a:lnTo>
                  <a:lnTo>
                    <a:pt x="388" y="555"/>
                  </a:lnTo>
                  <a:lnTo>
                    <a:pt x="425" y="564"/>
                  </a:lnTo>
                  <a:lnTo>
                    <a:pt x="482" y="538"/>
                  </a:lnTo>
                  <a:lnTo>
                    <a:pt x="483" y="543"/>
                  </a:lnTo>
                  <a:lnTo>
                    <a:pt x="501" y="524"/>
                  </a:lnTo>
                  <a:lnTo>
                    <a:pt x="477" y="489"/>
                  </a:lnTo>
                  <a:lnTo>
                    <a:pt x="468" y="442"/>
                  </a:lnTo>
                  <a:lnTo>
                    <a:pt x="498" y="416"/>
                  </a:lnTo>
                  <a:lnTo>
                    <a:pt x="513" y="420"/>
                  </a:lnTo>
                  <a:lnTo>
                    <a:pt x="555" y="373"/>
                  </a:lnTo>
                  <a:lnTo>
                    <a:pt x="578" y="376"/>
                  </a:lnTo>
                  <a:lnTo>
                    <a:pt x="588" y="364"/>
                  </a:lnTo>
                  <a:lnTo>
                    <a:pt x="635" y="364"/>
                  </a:lnTo>
                  <a:lnTo>
                    <a:pt x="652" y="345"/>
                  </a:lnTo>
                  <a:lnTo>
                    <a:pt x="656" y="330"/>
                  </a:lnTo>
                  <a:lnTo>
                    <a:pt x="635" y="327"/>
                  </a:lnTo>
                  <a:lnTo>
                    <a:pt x="650" y="283"/>
                  </a:lnTo>
                  <a:lnTo>
                    <a:pt x="616" y="269"/>
                  </a:lnTo>
                  <a:lnTo>
                    <a:pt x="650" y="191"/>
                  </a:lnTo>
                  <a:lnTo>
                    <a:pt x="605" y="158"/>
                  </a:lnTo>
                  <a:lnTo>
                    <a:pt x="590" y="62"/>
                  </a:lnTo>
                  <a:lnTo>
                    <a:pt x="550" y="52"/>
                  </a:lnTo>
                  <a:lnTo>
                    <a:pt x="520" y="81"/>
                  </a:lnTo>
                  <a:lnTo>
                    <a:pt x="506" y="55"/>
                  </a:lnTo>
                  <a:lnTo>
                    <a:pt x="462" y="99"/>
                  </a:lnTo>
                  <a:lnTo>
                    <a:pt x="432" y="103"/>
                  </a:lnTo>
                  <a:lnTo>
                    <a:pt x="381" y="29"/>
                  </a:lnTo>
                  <a:lnTo>
                    <a:pt x="315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46</a:t>
              </a:r>
            </a:p>
          </p:txBody>
        </p:sp>
        <p:sp>
          <p:nvSpPr>
            <p:cNvPr id="130" name="FR-09">
              <a:extLst>
                <a:ext uri="{FF2B5EF4-FFF2-40B4-BE49-F238E27FC236}">
                  <a16:creationId xmlns:a16="http://schemas.microsoft.com/office/drawing/2014/main" id="{87879D43-B3A6-4DEE-AD8F-9C8AF2590FC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683500" y="5584543"/>
              <a:ext cx="730627" cy="541600"/>
            </a:xfrm>
            <a:custGeom>
              <a:avLst/>
              <a:gdLst>
                <a:gd name="T0" fmla="*/ 288 w 752"/>
                <a:gd name="T1" fmla="*/ 0 h 572"/>
                <a:gd name="T2" fmla="*/ 271 w 752"/>
                <a:gd name="T3" fmla="*/ 11 h 572"/>
                <a:gd name="T4" fmla="*/ 264 w 752"/>
                <a:gd name="T5" fmla="*/ 26 h 572"/>
                <a:gd name="T6" fmla="*/ 297 w 752"/>
                <a:gd name="T7" fmla="*/ 49 h 572"/>
                <a:gd name="T8" fmla="*/ 307 w 752"/>
                <a:gd name="T9" fmla="*/ 66 h 572"/>
                <a:gd name="T10" fmla="*/ 300 w 752"/>
                <a:gd name="T11" fmla="*/ 80 h 572"/>
                <a:gd name="T12" fmla="*/ 243 w 752"/>
                <a:gd name="T13" fmla="*/ 85 h 572"/>
                <a:gd name="T14" fmla="*/ 227 w 752"/>
                <a:gd name="T15" fmla="*/ 108 h 572"/>
                <a:gd name="T16" fmla="*/ 229 w 752"/>
                <a:gd name="T17" fmla="*/ 115 h 572"/>
                <a:gd name="T18" fmla="*/ 250 w 752"/>
                <a:gd name="T19" fmla="*/ 122 h 572"/>
                <a:gd name="T20" fmla="*/ 262 w 752"/>
                <a:gd name="T21" fmla="*/ 139 h 572"/>
                <a:gd name="T22" fmla="*/ 248 w 752"/>
                <a:gd name="T23" fmla="*/ 162 h 572"/>
                <a:gd name="T24" fmla="*/ 231 w 752"/>
                <a:gd name="T25" fmla="*/ 160 h 572"/>
                <a:gd name="T26" fmla="*/ 205 w 752"/>
                <a:gd name="T27" fmla="*/ 136 h 572"/>
                <a:gd name="T28" fmla="*/ 175 w 752"/>
                <a:gd name="T29" fmla="*/ 127 h 572"/>
                <a:gd name="T30" fmla="*/ 144 w 752"/>
                <a:gd name="T31" fmla="*/ 129 h 572"/>
                <a:gd name="T32" fmla="*/ 90 w 752"/>
                <a:gd name="T33" fmla="*/ 162 h 572"/>
                <a:gd name="T34" fmla="*/ 92 w 752"/>
                <a:gd name="T35" fmla="*/ 207 h 572"/>
                <a:gd name="T36" fmla="*/ 106 w 752"/>
                <a:gd name="T37" fmla="*/ 217 h 572"/>
                <a:gd name="T38" fmla="*/ 97 w 752"/>
                <a:gd name="T39" fmla="*/ 252 h 572"/>
                <a:gd name="T40" fmla="*/ 35 w 752"/>
                <a:gd name="T41" fmla="*/ 268 h 572"/>
                <a:gd name="T42" fmla="*/ 12 w 752"/>
                <a:gd name="T43" fmla="*/ 297 h 572"/>
                <a:gd name="T44" fmla="*/ 12 w 752"/>
                <a:gd name="T45" fmla="*/ 344 h 572"/>
                <a:gd name="T46" fmla="*/ 22 w 752"/>
                <a:gd name="T47" fmla="*/ 358 h 572"/>
                <a:gd name="T48" fmla="*/ 0 w 752"/>
                <a:gd name="T49" fmla="*/ 378 h 572"/>
                <a:gd name="T50" fmla="*/ 14 w 752"/>
                <a:gd name="T51" fmla="*/ 386 h 572"/>
                <a:gd name="T52" fmla="*/ 94 w 752"/>
                <a:gd name="T53" fmla="*/ 402 h 572"/>
                <a:gd name="T54" fmla="*/ 128 w 752"/>
                <a:gd name="T55" fmla="*/ 402 h 572"/>
                <a:gd name="T56" fmla="*/ 173 w 752"/>
                <a:gd name="T57" fmla="*/ 459 h 572"/>
                <a:gd name="T58" fmla="*/ 285 w 752"/>
                <a:gd name="T59" fmla="*/ 454 h 572"/>
                <a:gd name="T60" fmla="*/ 329 w 752"/>
                <a:gd name="T61" fmla="*/ 524 h 572"/>
                <a:gd name="T62" fmla="*/ 368 w 752"/>
                <a:gd name="T63" fmla="*/ 508 h 572"/>
                <a:gd name="T64" fmla="*/ 483 w 752"/>
                <a:gd name="T65" fmla="*/ 524 h 572"/>
                <a:gd name="T66" fmla="*/ 491 w 752"/>
                <a:gd name="T67" fmla="*/ 572 h 572"/>
                <a:gd name="T68" fmla="*/ 572 w 752"/>
                <a:gd name="T69" fmla="*/ 553 h 572"/>
                <a:gd name="T70" fmla="*/ 601 w 752"/>
                <a:gd name="T71" fmla="*/ 528 h 572"/>
                <a:gd name="T72" fmla="*/ 645 w 752"/>
                <a:gd name="T73" fmla="*/ 516 h 572"/>
                <a:gd name="T74" fmla="*/ 656 w 752"/>
                <a:gd name="T75" fmla="*/ 494 h 572"/>
                <a:gd name="T76" fmla="*/ 752 w 752"/>
                <a:gd name="T77" fmla="*/ 487 h 572"/>
                <a:gd name="T78" fmla="*/ 693 w 752"/>
                <a:gd name="T79" fmla="*/ 417 h 572"/>
                <a:gd name="T80" fmla="*/ 645 w 752"/>
                <a:gd name="T81" fmla="*/ 443 h 572"/>
                <a:gd name="T82" fmla="*/ 561 w 752"/>
                <a:gd name="T83" fmla="*/ 373 h 572"/>
                <a:gd name="T84" fmla="*/ 579 w 752"/>
                <a:gd name="T85" fmla="*/ 347 h 572"/>
                <a:gd name="T86" fmla="*/ 645 w 752"/>
                <a:gd name="T87" fmla="*/ 347 h 572"/>
                <a:gd name="T88" fmla="*/ 638 w 752"/>
                <a:gd name="T89" fmla="*/ 285 h 572"/>
                <a:gd name="T90" fmla="*/ 638 w 752"/>
                <a:gd name="T91" fmla="*/ 237 h 572"/>
                <a:gd name="T92" fmla="*/ 627 w 752"/>
                <a:gd name="T93" fmla="*/ 148 h 572"/>
                <a:gd name="T94" fmla="*/ 498 w 752"/>
                <a:gd name="T95" fmla="*/ 86 h 572"/>
                <a:gd name="T96" fmla="*/ 505 w 752"/>
                <a:gd name="T97" fmla="*/ 63 h 572"/>
                <a:gd name="T98" fmla="*/ 481 w 752"/>
                <a:gd name="T99" fmla="*/ 36 h 572"/>
                <a:gd name="T100" fmla="*/ 460 w 752"/>
                <a:gd name="T101" fmla="*/ 45 h 572"/>
                <a:gd name="T102" fmla="*/ 432 w 752"/>
                <a:gd name="T103" fmla="*/ 49 h 572"/>
                <a:gd name="T104" fmla="*/ 380 w 752"/>
                <a:gd name="T105" fmla="*/ 26 h 572"/>
                <a:gd name="T106" fmla="*/ 365 w 752"/>
                <a:gd name="T107" fmla="*/ 21 h 572"/>
                <a:gd name="T108" fmla="*/ 387 w 752"/>
                <a:gd name="T109" fmla="*/ 47 h 572"/>
                <a:gd name="T110" fmla="*/ 378 w 752"/>
                <a:gd name="T111" fmla="*/ 68 h 572"/>
                <a:gd name="T112" fmla="*/ 333 w 752"/>
                <a:gd name="T113" fmla="*/ 63 h 572"/>
                <a:gd name="T114" fmla="*/ 330 w 752"/>
                <a:gd name="T115" fmla="*/ 40 h 572"/>
                <a:gd name="T116" fmla="*/ 304 w 752"/>
                <a:gd name="T117" fmla="*/ 4 h 572"/>
                <a:gd name="T118" fmla="*/ 288 w 752"/>
                <a:gd name="T119" fmla="*/ 0 h 5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752"/>
                <a:gd name="T181" fmla="*/ 0 h 572"/>
                <a:gd name="T182" fmla="*/ 752 w 752"/>
                <a:gd name="T183" fmla="*/ 572 h 5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752" h="572">
                  <a:moveTo>
                    <a:pt x="288" y="0"/>
                  </a:moveTo>
                  <a:lnTo>
                    <a:pt x="271" y="11"/>
                  </a:lnTo>
                  <a:lnTo>
                    <a:pt x="264" y="26"/>
                  </a:lnTo>
                  <a:lnTo>
                    <a:pt x="297" y="49"/>
                  </a:lnTo>
                  <a:lnTo>
                    <a:pt x="307" y="66"/>
                  </a:lnTo>
                  <a:lnTo>
                    <a:pt x="300" y="80"/>
                  </a:lnTo>
                  <a:lnTo>
                    <a:pt x="243" y="85"/>
                  </a:lnTo>
                  <a:lnTo>
                    <a:pt x="227" y="108"/>
                  </a:lnTo>
                  <a:lnTo>
                    <a:pt x="229" y="115"/>
                  </a:lnTo>
                  <a:lnTo>
                    <a:pt x="250" y="122"/>
                  </a:lnTo>
                  <a:lnTo>
                    <a:pt x="262" y="139"/>
                  </a:lnTo>
                  <a:lnTo>
                    <a:pt x="248" y="162"/>
                  </a:lnTo>
                  <a:lnTo>
                    <a:pt x="231" y="160"/>
                  </a:lnTo>
                  <a:lnTo>
                    <a:pt x="205" y="136"/>
                  </a:lnTo>
                  <a:lnTo>
                    <a:pt x="175" y="127"/>
                  </a:lnTo>
                  <a:lnTo>
                    <a:pt x="144" y="129"/>
                  </a:lnTo>
                  <a:lnTo>
                    <a:pt x="90" y="162"/>
                  </a:lnTo>
                  <a:lnTo>
                    <a:pt x="92" y="207"/>
                  </a:lnTo>
                  <a:lnTo>
                    <a:pt x="106" y="217"/>
                  </a:lnTo>
                  <a:lnTo>
                    <a:pt x="97" y="252"/>
                  </a:lnTo>
                  <a:lnTo>
                    <a:pt x="35" y="268"/>
                  </a:lnTo>
                  <a:lnTo>
                    <a:pt x="12" y="297"/>
                  </a:lnTo>
                  <a:lnTo>
                    <a:pt x="12" y="344"/>
                  </a:lnTo>
                  <a:lnTo>
                    <a:pt x="22" y="358"/>
                  </a:lnTo>
                  <a:lnTo>
                    <a:pt x="0" y="378"/>
                  </a:lnTo>
                  <a:lnTo>
                    <a:pt x="14" y="386"/>
                  </a:lnTo>
                  <a:lnTo>
                    <a:pt x="94" y="402"/>
                  </a:lnTo>
                  <a:lnTo>
                    <a:pt x="128" y="402"/>
                  </a:lnTo>
                  <a:lnTo>
                    <a:pt x="173" y="459"/>
                  </a:lnTo>
                  <a:lnTo>
                    <a:pt x="285" y="454"/>
                  </a:lnTo>
                  <a:lnTo>
                    <a:pt x="329" y="524"/>
                  </a:lnTo>
                  <a:lnTo>
                    <a:pt x="368" y="508"/>
                  </a:lnTo>
                  <a:lnTo>
                    <a:pt x="483" y="524"/>
                  </a:lnTo>
                  <a:lnTo>
                    <a:pt x="491" y="572"/>
                  </a:lnTo>
                  <a:lnTo>
                    <a:pt x="572" y="553"/>
                  </a:lnTo>
                  <a:lnTo>
                    <a:pt x="601" y="528"/>
                  </a:lnTo>
                  <a:lnTo>
                    <a:pt x="645" y="516"/>
                  </a:lnTo>
                  <a:lnTo>
                    <a:pt x="656" y="494"/>
                  </a:lnTo>
                  <a:lnTo>
                    <a:pt x="752" y="487"/>
                  </a:lnTo>
                  <a:lnTo>
                    <a:pt x="693" y="417"/>
                  </a:lnTo>
                  <a:lnTo>
                    <a:pt x="645" y="443"/>
                  </a:lnTo>
                  <a:lnTo>
                    <a:pt x="561" y="373"/>
                  </a:lnTo>
                  <a:lnTo>
                    <a:pt x="579" y="347"/>
                  </a:lnTo>
                  <a:lnTo>
                    <a:pt x="645" y="347"/>
                  </a:lnTo>
                  <a:lnTo>
                    <a:pt x="638" y="285"/>
                  </a:lnTo>
                  <a:lnTo>
                    <a:pt x="638" y="237"/>
                  </a:lnTo>
                  <a:lnTo>
                    <a:pt x="627" y="148"/>
                  </a:lnTo>
                  <a:lnTo>
                    <a:pt x="498" y="86"/>
                  </a:lnTo>
                  <a:lnTo>
                    <a:pt x="505" y="63"/>
                  </a:lnTo>
                  <a:lnTo>
                    <a:pt x="481" y="36"/>
                  </a:lnTo>
                  <a:lnTo>
                    <a:pt x="460" y="45"/>
                  </a:lnTo>
                  <a:lnTo>
                    <a:pt x="432" y="49"/>
                  </a:lnTo>
                  <a:lnTo>
                    <a:pt x="380" y="26"/>
                  </a:lnTo>
                  <a:lnTo>
                    <a:pt x="365" y="21"/>
                  </a:lnTo>
                  <a:lnTo>
                    <a:pt x="387" y="47"/>
                  </a:lnTo>
                  <a:lnTo>
                    <a:pt x="378" y="68"/>
                  </a:lnTo>
                  <a:lnTo>
                    <a:pt x="333" y="63"/>
                  </a:lnTo>
                  <a:lnTo>
                    <a:pt x="330" y="40"/>
                  </a:lnTo>
                  <a:lnTo>
                    <a:pt x="304" y="4"/>
                  </a:lnTo>
                  <a:lnTo>
                    <a:pt x="288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09</a:t>
              </a:r>
            </a:p>
          </p:txBody>
        </p:sp>
        <p:sp>
          <p:nvSpPr>
            <p:cNvPr id="131" name="FR-32">
              <a:extLst>
                <a:ext uri="{FF2B5EF4-FFF2-40B4-BE49-F238E27FC236}">
                  <a16:creationId xmlns:a16="http://schemas.microsoft.com/office/drawing/2014/main" id="{72D75BAF-2536-4A47-96FE-CAB50C2D8EB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102496" y="5022112"/>
              <a:ext cx="794751" cy="563378"/>
            </a:xfrm>
            <a:custGeom>
              <a:avLst/>
              <a:gdLst>
                <a:gd name="T0" fmla="*/ 417 w 818"/>
                <a:gd name="T1" fmla="*/ 8 h 595"/>
                <a:gd name="T2" fmla="*/ 349 w 818"/>
                <a:gd name="T3" fmla="*/ 50 h 595"/>
                <a:gd name="T4" fmla="*/ 286 w 818"/>
                <a:gd name="T5" fmla="*/ 32 h 595"/>
                <a:gd name="T6" fmla="*/ 214 w 818"/>
                <a:gd name="T7" fmla="*/ 47 h 595"/>
                <a:gd name="T8" fmla="*/ 198 w 818"/>
                <a:gd name="T9" fmla="*/ 120 h 595"/>
                <a:gd name="T10" fmla="*/ 156 w 818"/>
                <a:gd name="T11" fmla="*/ 110 h 595"/>
                <a:gd name="T12" fmla="*/ 107 w 818"/>
                <a:gd name="T13" fmla="*/ 102 h 595"/>
                <a:gd name="T14" fmla="*/ 52 w 818"/>
                <a:gd name="T15" fmla="*/ 97 h 595"/>
                <a:gd name="T16" fmla="*/ 57 w 818"/>
                <a:gd name="T17" fmla="*/ 180 h 595"/>
                <a:gd name="T18" fmla="*/ 44 w 818"/>
                <a:gd name="T19" fmla="*/ 245 h 595"/>
                <a:gd name="T20" fmla="*/ 0 w 818"/>
                <a:gd name="T21" fmla="*/ 328 h 595"/>
                <a:gd name="T22" fmla="*/ 87 w 818"/>
                <a:gd name="T23" fmla="*/ 370 h 595"/>
                <a:gd name="T24" fmla="*/ 153 w 818"/>
                <a:gd name="T25" fmla="*/ 356 h 595"/>
                <a:gd name="T26" fmla="*/ 181 w 818"/>
                <a:gd name="T27" fmla="*/ 417 h 595"/>
                <a:gd name="T28" fmla="*/ 226 w 818"/>
                <a:gd name="T29" fmla="*/ 460 h 595"/>
                <a:gd name="T30" fmla="*/ 228 w 818"/>
                <a:gd name="T31" fmla="*/ 490 h 595"/>
                <a:gd name="T32" fmla="*/ 247 w 818"/>
                <a:gd name="T33" fmla="*/ 518 h 595"/>
                <a:gd name="T34" fmla="*/ 285 w 818"/>
                <a:gd name="T35" fmla="*/ 540 h 595"/>
                <a:gd name="T36" fmla="*/ 325 w 818"/>
                <a:gd name="T37" fmla="*/ 530 h 595"/>
                <a:gd name="T38" fmla="*/ 367 w 818"/>
                <a:gd name="T39" fmla="*/ 551 h 595"/>
                <a:gd name="T40" fmla="*/ 441 w 818"/>
                <a:gd name="T41" fmla="*/ 570 h 595"/>
                <a:gd name="T42" fmla="*/ 492 w 818"/>
                <a:gd name="T43" fmla="*/ 589 h 595"/>
                <a:gd name="T44" fmla="*/ 565 w 818"/>
                <a:gd name="T45" fmla="*/ 514 h 595"/>
                <a:gd name="T46" fmla="*/ 690 w 818"/>
                <a:gd name="T47" fmla="*/ 547 h 595"/>
                <a:gd name="T48" fmla="*/ 721 w 818"/>
                <a:gd name="T49" fmla="*/ 474 h 595"/>
                <a:gd name="T50" fmla="*/ 794 w 818"/>
                <a:gd name="T51" fmla="*/ 398 h 595"/>
                <a:gd name="T52" fmla="*/ 811 w 818"/>
                <a:gd name="T53" fmla="*/ 367 h 595"/>
                <a:gd name="T54" fmla="*/ 778 w 818"/>
                <a:gd name="T55" fmla="*/ 342 h 595"/>
                <a:gd name="T56" fmla="*/ 728 w 818"/>
                <a:gd name="T57" fmla="*/ 311 h 595"/>
                <a:gd name="T58" fmla="*/ 690 w 818"/>
                <a:gd name="T59" fmla="*/ 250 h 595"/>
                <a:gd name="T60" fmla="*/ 657 w 818"/>
                <a:gd name="T61" fmla="*/ 235 h 595"/>
                <a:gd name="T62" fmla="*/ 667 w 818"/>
                <a:gd name="T63" fmla="*/ 195 h 595"/>
                <a:gd name="T64" fmla="*/ 648 w 818"/>
                <a:gd name="T65" fmla="*/ 144 h 595"/>
                <a:gd name="T66" fmla="*/ 579 w 818"/>
                <a:gd name="T67" fmla="*/ 125 h 595"/>
                <a:gd name="T68" fmla="*/ 608 w 818"/>
                <a:gd name="T69" fmla="*/ 73 h 595"/>
                <a:gd name="T70" fmla="*/ 638 w 818"/>
                <a:gd name="T71" fmla="*/ 35 h 595"/>
                <a:gd name="T72" fmla="*/ 603 w 818"/>
                <a:gd name="T73" fmla="*/ 35 h 595"/>
                <a:gd name="T74" fmla="*/ 553 w 818"/>
                <a:gd name="T75" fmla="*/ 24 h 595"/>
                <a:gd name="T76" fmla="*/ 534 w 818"/>
                <a:gd name="T77" fmla="*/ 39 h 59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818"/>
                <a:gd name="T118" fmla="*/ 0 h 595"/>
                <a:gd name="T119" fmla="*/ 818 w 818"/>
                <a:gd name="T120" fmla="*/ 595 h 595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818" h="595">
                  <a:moveTo>
                    <a:pt x="495" y="0"/>
                  </a:moveTo>
                  <a:lnTo>
                    <a:pt x="417" y="8"/>
                  </a:lnTo>
                  <a:lnTo>
                    <a:pt x="396" y="45"/>
                  </a:lnTo>
                  <a:lnTo>
                    <a:pt x="349" y="50"/>
                  </a:lnTo>
                  <a:lnTo>
                    <a:pt x="305" y="57"/>
                  </a:lnTo>
                  <a:lnTo>
                    <a:pt x="286" y="32"/>
                  </a:lnTo>
                  <a:lnTo>
                    <a:pt x="245" y="73"/>
                  </a:lnTo>
                  <a:lnTo>
                    <a:pt x="214" y="47"/>
                  </a:lnTo>
                  <a:lnTo>
                    <a:pt x="196" y="86"/>
                  </a:lnTo>
                  <a:lnTo>
                    <a:pt x="198" y="120"/>
                  </a:lnTo>
                  <a:lnTo>
                    <a:pt x="169" y="128"/>
                  </a:lnTo>
                  <a:lnTo>
                    <a:pt x="156" y="110"/>
                  </a:lnTo>
                  <a:lnTo>
                    <a:pt x="143" y="70"/>
                  </a:lnTo>
                  <a:lnTo>
                    <a:pt x="107" y="102"/>
                  </a:lnTo>
                  <a:lnTo>
                    <a:pt x="81" y="91"/>
                  </a:lnTo>
                  <a:lnTo>
                    <a:pt x="52" y="97"/>
                  </a:lnTo>
                  <a:lnTo>
                    <a:pt x="26" y="128"/>
                  </a:lnTo>
                  <a:lnTo>
                    <a:pt x="57" y="180"/>
                  </a:lnTo>
                  <a:lnTo>
                    <a:pt x="36" y="201"/>
                  </a:lnTo>
                  <a:lnTo>
                    <a:pt x="44" y="245"/>
                  </a:lnTo>
                  <a:lnTo>
                    <a:pt x="18" y="279"/>
                  </a:lnTo>
                  <a:lnTo>
                    <a:pt x="0" y="328"/>
                  </a:lnTo>
                  <a:lnTo>
                    <a:pt x="21" y="365"/>
                  </a:lnTo>
                  <a:lnTo>
                    <a:pt x="87" y="370"/>
                  </a:lnTo>
                  <a:lnTo>
                    <a:pt x="113" y="356"/>
                  </a:lnTo>
                  <a:lnTo>
                    <a:pt x="153" y="356"/>
                  </a:lnTo>
                  <a:lnTo>
                    <a:pt x="151" y="400"/>
                  </a:lnTo>
                  <a:lnTo>
                    <a:pt x="181" y="417"/>
                  </a:lnTo>
                  <a:lnTo>
                    <a:pt x="212" y="422"/>
                  </a:lnTo>
                  <a:lnTo>
                    <a:pt x="226" y="460"/>
                  </a:lnTo>
                  <a:lnTo>
                    <a:pt x="233" y="467"/>
                  </a:lnTo>
                  <a:lnTo>
                    <a:pt x="228" y="490"/>
                  </a:lnTo>
                  <a:lnTo>
                    <a:pt x="219" y="500"/>
                  </a:lnTo>
                  <a:lnTo>
                    <a:pt x="247" y="518"/>
                  </a:lnTo>
                  <a:lnTo>
                    <a:pt x="249" y="540"/>
                  </a:lnTo>
                  <a:lnTo>
                    <a:pt x="285" y="540"/>
                  </a:lnTo>
                  <a:lnTo>
                    <a:pt x="294" y="530"/>
                  </a:lnTo>
                  <a:lnTo>
                    <a:pt x="325" y="530"/>
                  </a:lnTo>
                  <a:lnTo>
                    <a:pt x="334" y="551"/>
                  </a:lnTo>
                  <a:lnTo>
                    <a:pt x="367" y="551"/>
                  </a:lnTo>
                  <a:lnTo>
                    <a:pt x="377" y="570"/>
                  </a:lnTo>
                  <a:lnTo>
                    <a:pt x="441" y="570"/>
                  </a:lnTo>
                  <a:lnTo>
                    <a:pt x="488" y="595"/>
                  </a:lnTo>
                  <a:lnTo>
                    <a:pt x="492" y="589"/>
                  </a:lnTo>
                  <a:lnTo>
                    <a:pt x="518" y="575"/>
                  </a:lnTo>
                  <a:lnTo>
                    <a:pt x="565" y="514"/>
                  </a:lnTo>
                  <a:lnTo>
                    <a:pt x="653" y="521"/>
                  </a:lnTo>
                  <a:lnTo>
                    <a:pt x="690" y="547"/>
                  </a:lnTo>
                  <a:lnTo>
                    <a:pt x="702" y="530"/>
                  </a:lnTo>
                  <a:lnTo>
                    <a:pt x="721" y="474"/>
                  </a:lnTo>
                  <a:lnTo>
                    <a:pt x="744" y="420"/>
                  </a:lnTo>
                  <a:lnTo>
                    <a:pt x="794" y="398"/>
                  </a:lnTo>
                  <a:lnTo>
                    <a:pt x="818" y="389"/>
                  </a:lnTo>
                  <a:lnTo>
                    <a:pt x="811" y="367"/>
                  </a:lnTo>
                  <a:lnTo>
                    <a:pt x="787" y="365"/>
                  </a:lnTo>
                  <a:lnTo>
                    <a:pt x="778" y="342"/>
                  </a:lnTo>
                  <a:lnTo>
                    <a:pt x="758" y="342"/>
                  </a:lnTo>
                  <a:lnTo>
                    <a:pt x="728" y="311"/>
                  </a:lnTo>
                  <a:lnTo>
                    <a:pt x="730" y="290"/>
                  </a:lnTo>
                  <a:lnTo>
                    <a:pt x="690" y="250"/>
                  </a:lnTo>
                  <a:lnTo>
                    <a:pt x="683" y="224"/>
                  </a:lnTo>
                  <a:lnTo>
                    <a:pt x="657" y="235"/>
                  </a:lnTo>
                  <a:lnTo>
                    <a:pt x="650" y="221"/>
                  </a:lnTo>
                  <a:lnTo>
                    <a:pt x="667" y="195"/>
                  </a:lnTo>
                  <a:lnTo>
                    <a:pt x="648" y="177"/>
                  </a:lnTo>
                  <a:lnTo>
                    <a:pt x="648" y="144"/>
                  </a:lnTo>
                  <a:lnTo>
                    <a:pt x="631" y="127"/>
                  </a:lnTo>
                  <a:lnTo>
                    <a:pt x="579" y="125"/>
                  </a:lnTo>
                  <a:lnTo>
                    <a:pt x="579" y="94"/>
                  </a:lnTo>
                  <a:lnTo>
                    <a:pt x="608" y="73"/>
                  </a:lnTo>
                  <a:lnTo>
                    <a:pt x="608" y="49"/>
                  </a:lnTo>
                  <a:lnTo>
                    <a:pt x="638" y="35"/>
                  </a:lnTo>
                  <a:lnTo>
                    <a:pt x="622" y="26"/>
                  </a:lnTo>
                  <a:lnTo>
                    <a:pt x="603" y="35"/>
                  </a:lnTo>
                  <a:lnTo>
                    <a:pt x="565" y="35"/>
                  </a:lnTo>
                  <a:lnTo>
                    <a:pt x="553" y="24"/>
                  </a:lnTo>
                  <a:lnTo>
                    <a:pt x="547" y="26"/>
                  </a:lnTo>
                  <a:lnTo>
                    <a:pt x="534" y="39"/>
                  </a:lnTo>
                  <a:lnTo>
                    <a:pt x="495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32</a:t>
              </a:r>
            </a:p>
          </p:txBody>
        </p:sp>
        <p:sp>
          <p:nvSpPr>
            <p:cNvPr id="132" name="FR-31">
              <a:extLst>
                <a:ext uri="{FF2B5EF4-FFF2-40B4-BE49-F238E27FC236}">
                  <a16:creationId xmlns:a16="http://schemas.microsoft.com/office/drawing/2014/main" id="{6F4FCC58-BD84-4D23-A59E-A61364587B8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484327" y="5155618"/>
              <a:ext cx="848188" cy="873946"/>
            </a:xfrm>
            <a:custGeom>
              <a:avLst/>
              <a:gdLst>
                <a:gd name="T0" fmla="*/ 559 w 873"/>
                <a:gd name="T1" fmla="*/ 14 h 923"/>
                <a:gd name="T2" fmla="*/ 533 w 873"/>
                <a:gd name="T3" fmla="*/ 17 h 923"/>
                <a:gd name="T4" fmla="*/ 502 w 873"/>
                <a:gd name="T5" fmla="*/ 38 h 923"/>
                <a:gd name="T6" fmla="*/ 509 w 873"/>
                <a:gd name="T7" fmla="*/ 57 h 923"/>
                <a:gd name="T8" fmla="*/ 434 w 873"/>
                <a:gd name="T9" fmla="*/ 99 h 923"/>
                <a:gd name="T10" fmla="*/ 385 w 873"/>
                <a:gd name="T11" fmla="*/ 69 h 923"/>
                <a:gd name="T12" fmla="*/ 297 w 873"/>
                <a:gd name="T13" fmla="*/ 80 h 923"/>
                <a:gd name="T14" fmla="*/ 297 w 873"/>
                <a:gd name="T15" fmla="*/ 109 h 923"/>
                <a:gd name="T16" fmla="*/ 335 w 873"/>
                <a:gd name="T17" fmla="*/ 170 h 923"/>
                <a:gd name="T18" fmla="*/ 385 w 873"/>
                <a:gd name="T19" fmla="*/ 201 h 923"/>
                <a:gd name="T20" fmla="*/ 418 w 873"/>
                <a:gd name="T21" fmla="*/ 226 h 923"/>
                <a:gd name="T22" fmla="*/ 401 w 873"/>
                <a:gd name="T23" fmla="*/ 257 h 923"/>
                <a:gd name="T24" fmla="*/ 328 w 873"/>
                <a:gd name="T25" fmla="*/ 333 h 923"/>
                <a:gd name="T26" fmla="*/ 297 w 873"/>
                <a:gd name="T27" fmla="*/ 406 h 923"/>
                <a:gd name="T28" fmla="*/ 172 w 873"/>
                <a:gd name="T29" fmla="*/ 373 h 923"/>
                <a:gd name="T30" fmla="*/ 99 w 873"/>
                <a:gd name="T31" fmla="*/ 448 h 923"/>
                <a:gd name="T32" fmla="*/ 64 w 873"/>
                <a:gd name="T33" fmla="*/ 500 h 923"/>
                <a:gd name="T34" fmla="*/ 33 w 873"/>
                <a:gd name="T35" fmla="*/ 528 h 923"/>
                <a:gd name="T36" fmla="*/ 7 w 873"/>
                <a:gd name="T37" fmla="*/ 589 h 923"/>
                <a:gd name="T38" fmla="*/ 57 w 873"/>
                <a:gd name="T39" fmla="*/ 651 h 923"/>
                <a:gd name="T40" fmla="*/ 71 w 873"/>
                <a:gd name="T41" fmla="*/ 665 h 923"/>
                <a:gd name="T42" fmla="*/ 97 w 873"/>
                <a:gd name="T43" fmla="*/ 726 h 923"/>
                <a:gd name="T44" fmla="*/ 66 w 873"/>
                <a:gd name="T45" fmla="*/ 771 h 923"/>
                <a:gd name="T46" fmla="*/ 26 w 873"/>
                <a:gd name="T47" fmla="*/ 776 h 923"/>
                <a:gd name="T48" fmla="*/ 3 w 873"/>
                <a:gd name="T49" fmla="*/ 916 h 923"/>
                <a:gd name="T50" fmla="*/ 115 w 873"/>
                <a:gd name="T51" fmla="*/ 795 h 923"/>
                <a:gd name="T52" fmla="*/ 205 w 873"/>
                <a:gd name="T53" fmla="*/ 831 h 923"/>
                <a:gd name="T54" fmla="*/ 217 w 873"/>
                <a:gd name="T55" fmla="*/ 797 h 923"/>
                <a:gd name="T56" fmla="*/ 240 w 873"/>
                <a:gd name="T57" fmla="*/ 721 h 923"/>
                <a:gd name="T58" fmla="*/ 311 w 873"/>
                <a:gd name="T59" fmla="*/ 670 h 923"/>
                <a:gd name="T60" fmla="*/ 295 w 873"/>
                <a:gd name="T61" fmla="*/ 615 h 923"/>
                <a:gd name="T62" fmla="*/ 380 w 873"/>
                <a:gd name="T63" fmla="*/ 580 h 923"/>
                <a:gd name="T64" fmla="*/ 436 w 873"/>
                <a:gd name="T65" fmla="*/ 613 h 923"/>
                <a:gd name="T66" fmla="*/ 467 w 873"/>
                <a:gd name="T67" fmla="*/ 592 h 923"/>
                <a:gd name="T68" fmla="*/ 434 w 873"/>
                <a:gd name="T69" fmla="*/ 568 h 923"/>
                <a:gd name="T70" fmla="*/ 448 w 873"/>
                <a:gd name="T71" fmla="*/ 538 h 923"/>
                <a:gd name="T72" fmla="*/ 512 w 873"/>
                <a:gd name="T73" fmla="*/ 519 h 923"/>
                <a:gd name="T74" fmla="*/ 469 w 873"/>
                <a:gd name="T75" fmla="*/ 479 h 923"/>
                <a:gd name="T76" fmla="*/ 493 w 873"/>
                <a:gd name="T77" fmla="*/ 453 h 923"/>
                <a:gd name="T78" fmla="*/ 535 w 873"/>
                <a:gd name="T79" fmla="*/ 493 h 923"/>
                <a:gd name="T80" fmla="*/ 583 w 873"/>
                <a:gd name="T81" fmla="*/ 521 h 923"/>
                <a:gd name="T82" fmla="*/ 570 w 873"/>
                <a:gd name="T83" fmla="*/ 474 h 923"/>
                <a:gd name="T84" fmla="*/ 637 w 873"/>
                <a:gd name="T85" fmla="*/ 502 h 923"/>
                <a:gd name="T86" fmla="*/ 686 w 873"/>
                <a:gd name="T87" fmla="*/ 489 h 923"/>
                <a:gd name="T88" fmla="*/ 714 w 873"/>
                <a:gd name="T89" fmla="*/ 469 h 923"/>
                <a:gd name="T90" fmla="*/ 762 w 873"/>
                <a:gd name="T91" fmla="*/ 410 h 923"/>
                <a:gd name="T92" fmla="*/ 788 w 873"/>
                <a:gd name="T93" fmla="*/ 351 h 923"/>
                <a:gd name="T94" fmla="*/ 861 w 873"/>
                <a:gd name="T95" fmla="*/ 366 h 923"/>
                <a:gd name="T96" fmla="*/ 873 w 873"/>
                <a:gd name="T97" fmla="*/ 347 h 923"/>
                <a:gd name="T98" fmla="*/ 844 w 873"/>
                <a:gd name="T99" fmla="*/ 319 h 923"/>
                <a:gd name="T100" fmla="*/ 778 w 873"/>
                <a:gd name="T101" fmla="*/ 271 h 923"/>
                <a:gd name="T102" fmla="*/ 705 w 873"/>
                <a:gd name="T103" fmla="*/ 229 h 923"/>
                <a:gd name="T104" fmla="*/ 710 w 873"/>
                <a:gd name="T105" fmla="*/ 201 h 923"/>
                <a:gd name="T106" fmla="*/ 691 w 873"/>
                <a:gd name="T107" fmla="*/ 154 h 923"/>
                <a:gd name="T108" fmla="*/ 665 w 873"/>
                <a:gd name="T109" fmla="*/ 83 h 923"/>
                <a:gd name="T110" fmla="*/ 630 w 873"/>
                <a:gd name="T111" fmla="*/ 45 h 923"/>
                <a:gd name="T112" fmla="*/ 597 w 873"/>
                <a:gd name="T113" fmla="*/ 0 h 92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873"/>
                <a:gd name="T172" fmla="*/ 0 h 923"/>
                <a:gd name="T173" fmla="*/ 873 w 873"/>
                <a:gd name="T174" fmla="*/ 923 h 92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873" h="923">
                  <a:moveTo>
                    <a:pt x="597" y="0"/>
                  </a:moveTo>
                  <a:lnTo>
                    <a:pt x="559" y="14"/>
                  </a:lnTo>
                  <a:lnTo>
                    <a:pt x="547" y="33"/>
                  </a:lnTo>
                  <a:lnTo>
                    <a:pt x="533" y="17"/>
                  </a:lnTo>
                  <a:lnTo>
                    <a:pt x="507" y="14"/>
                  </a:lnTo>
                  <a:lnTo>
                    <a:pt x="502" y="38"/>
                  </a:lnTo>
                  <a:lnTo>
                    <a:pt x="486" y="45"/>
                  </a:lnTo>
                  <a:lnTo>
                    <a:pt x="509" y="57"/>
                  </a:lnTo>
                  <a:lnTo>
                    <a:pt x="493" y="83"/>
                  </a:lnTo>
                  <a:lnTo>
                    <a:pt x="434" y="99"/>
                  </a:lnTo>
                  <a:lnTo>
                    <a:pt x="408" y="69"/>
                  </a:lnTo>
                  <a:lnTo>
                    <a:pt x="385" y="69"/>
                  </a:lnTo>
                  <a:lnTo>
                    <a:pt x="365" y="80"/>
                  </a:lnTo>
                  <a:lnTo>
                    <a:pt x="297" y="80"/>
                  </a:lnTo>
                  <a:lnTo>
                    <a:pt x="290" y="83"/>
                  </a:lnTo>
                  <a:lnTo>
                    <a:pt x="297" y="109"/>
                  </a:lnTo>
                  <a:lnTo>
                    <a:pt x="337" y="149"/>
                  </a:lnTo>
                  <a:lnTo>
                    <a:pt x="335" y="170"/>
                  </a:lnTo>
                  <a:lnTo>
                    <a:pt x="365" y="201"/>
                  </a:lnTo>
                  <a:lnTo>
                    <a:pt x="385" y="201"/>
                  </a:lnTo>
                  <a:lnTo>
                    <a:pt x="394" y="224"/>
                  </a:lnTo>
                  <a:lnTo>
                    <a:pt x="418" y="226"/>
                  </a:lnTo>
                  <a:lnTo>
                    <a:pt x="425" y="248"/>
                  </a:lnTo>
                  <a:lnTo>
                    <a:pt x="401" y="257"/>
                  </a:lnTo>
                  <a:lnTo>
                    <a:pt x="351" y="279"/>
                  </a:lnTo>
                  <a:lnTo>
                    <a:pt x="328" y="333"/>
                  </a:lnTo>
                  <a:lnTo>
                    <a:pt x="309" y="389"/>
                  </a:lnTo>
                  <a:lnTo>
                    <a:pt x="297" y="406"/>
                  </a:lnTo>
                  <a:lnTo>
                    <a:pt x="260" y="380"/>
                  </a:lnTo>
                  <a:lnTo>
                    <a:pt x="172" y="373"/>
                  </a:lnTo>
                  <a:lnTo>
                    <a:pt x="125" y="434"/>
                  </a:lnTo>
                  <a:lnTo>
                    <a:pt x="99" y="448"/>
                  </a:lnTo>
                  <a:lnTo>
                    <a:pt x="83" y="471"/>
                  </a:lnTo>
                  <a:lnTo>
                    <a:pt x="64" y="500"/>
                  </a:lnTo>
                  <a:lnTo>
                    <a:pt x="64" y="516"/>
                  </a:lnTo>
                  <a:lnTo>
                    <a:pt x="33" y="528"/>
                  </a:lnTo>
                  <a:lnTo>
                    <a:pt x="10" y="568"/>
                  </a:lnTo>
                  <a:lnTo>
                    <a:pt x="7" y="589"/>
                  </a:lnTo>
                  <a:lnTo>
                    <a:pt x="50" y="620"/>
                  </a:lnTo>
                  <a:lnTo>
                    <a:pt x="57" y="651"/>
                  </a:lnTo>
                  <a:lnTo>
                    <a:pt x="43" y="674"/>
                  </a:lnTo>
                  <a:lnTo>
                    <a:pt x="71" y="665"/>
                  </a:lnTo>
                  <a:lnTo>
                    <a:pt x="85" y="677"/>
                  </a:lnTo>
                  <a:lnTo>
                    <a:pt x="97" y="726"/>
                  </a:lnTo>
                  <a:lnTo>
                    <a:pt x="64" y="745"/>
                  </a:lnTo>
                  <a:lnTo>
                    <a:pt x="66" y="771"/>
                  </a:lnTo>
                  <a:lnTo>
                    <a:pt x="50" y="787"/>
                  </a:lnTo>
                  <a:lnTo>
                    <a:pt x="26" y="776"/>
                  </a:lnTo>
                  <a:lnTo>
                    <a:pt x="0" y="776"/>
                  </a:lnTo>
                  <a:lnTo>
                    <a:pt x="3" y="916"/>
                  </a:lnTo>
                  <a:lnTo>
                    <a:pt x="109" y="923"/>
                  </a:lnTo>
                  <a:lnTo>
                    <a:pt x="115" y="795"/>
                  </a:lnTo>
                  <a:lnTo>
                    <a:pt x="151" y="800"/>
                  </a:lnTo>
                  <a:lnTo>
                    <a:pt x="205" y="831"/>
                  </a:lnTo>
                  <a:lnTo>
                    <a:pt x="227" y="811"/>
                  </a:lnTo>
                  <a:lnTo>
                    <a:pt x="217" y="797"/>
                  </a:lnTo>
                  <a:lnTo>
                    <a:pt x="217" y="750"/>
                  </a:lnTo>
                  <a:lnTo>
                    <a:pt x="240" y="721"/>
                  </a:lnTo>
                  <a:lnTo>
                    <a:pt x="302" y="705"/>
                  </a:lnTo>
                  <a:lnTo>
                    <a:pt x="311" y="670"/>
                  </a:lnTo>
                  <a:lnTo>
                    <a:pt x="297" y="660"/>
                  </a:lnTo>
                  <a:lnTo>
                    <a:pt x="295" y="615"/>
                  </a:lnTo>
                  <a:lnTo>
                    <a:pt x="349" y="582"/>
                  </a:lnTo>
                  <a:lnTo>
                    <a:pt x="380" y="580"/>
                  </a:lnTo>
                  <a:lnTo>
                    <a:pt x="410" y="589"/>
                  </a:lnTo>
                  <a:lnTo>
                    <a:pt x="436" y="613"/>
                  </a:lnTo>
                  <a:lnTo>
                    <a:pt x="453" y="615"/>
                  </a:lnTo>
                  <a:lnTo>
                    <a:pt x="467" y="592"/>
                  </a:lnTo>
                  <a:lnTo>
                    <a:pt x="455" y="575"/>
                  </a:lnTo>
                  <a:lnTo>
                    <a:pt x="434" y="568"/>
                  </a:lnTo>
                  <a:lnTo>
                    <a:pt x="432" y="561"/>
                  </a:lnTo>
                  <a:lnTo>
                    <a:pt x="448" y="538"/>
                  </a:lnTo>
                  <a:lnTo>
                    <a:pt x="505" y="533"/>
                  </a:lnTo>
                  <a:lnTo>
                    <a:pt x="512" y="519"/>
                  </a:lnTo>
                  <a:lnTo>
                    <a:pt x="502" y="502"/>
                  </a:lnTo>
                  <a:lnTo>
                    <a:pt x="469" y="479"/>
                  </a:lnTo>
                  <a:lnTo>
                    <a:pt x="476" y="464"/>
                  </a:lnTo>
                  <a:lnTo>
                    <a:pt x="493" y="453"/>
                  </a:lnTo>
                  <a:lnTo>
                    <a:pt x="509" y="457"/>
                  </a:lnTo>
                  <a:lnTo>
                    <a:pt x="535" y="493"/>
                  </a:lnTo>
                  <a:lnTo>
                    <a:pt x="538" y="516"/>
                  </a:lnTo>
                  <a:lnTo>
                    <a:pt x="583" y="521"/>
                  </a:lnTo>
                  <a:lnTo>
                    <a:pt x="592" y="500"/>
                  </a:lnTo>
                  <a:lnTo>
                    <a:pt x="570" y="474"/>
                  </a:lnTo>
                  <a:lnTo>
                    <a:pt x="585" y="479"/>
                  </a:lnTo>
                  <a:lnTo>
                    <a:pt x="637" y="502"/>
                  </a:lnTo>
                  <a:lnTo>
                    <a:pt x="665" y="498"/>
                  </a:lnTo>
                  <a:lnTo>
                    <a:pt x="686" y="489"/>
                  </a:lnTo>
                  <a:lnTo>
                    <a:pt x="681" y="484"/>
                  </a:lnTo>
                  <a:lnTo>
                    <a:pt x="714" y="469"/>
                  </a:lnTo>
                  <a:lnTo>
                    <a:pt x="721" y="428"/>
                  </a:lnTo>
                  <a:lnTo>
                    <a:pt x="762" y="410"/>
                  </a:lnTo>
                  <a:lnTo>
                    <a:pt x="751" y="384"/>
                  </a:lnTo>
                  <a:lnTo>
                    <a:pt x="788" y="351"/>
                  </a:lnTo>
                  <a:lnTo>
                    <a:pt x="806" y="384"/>
                  </a:lnTo>
                  <a:lnTo>
                    <a:pt x="861" y="366"/>
                  </a:lnTo>
                  <a:lnTo>
                    <a:pt x="872" y="364"/>
                  </a:lnTo>
                  <a:lnTo>
                    <a:pt x="873" y="347"/>
                  </a:lnTo>
                  <a:lnTo>
                    <a:pt x="873" y="314"/>
                  </a:lnTo>
                  <a:lnTo>
                    <a:pt x="844" y="319"/>
                  </a:lnTo>
                  <a:lnTo>
                    <a:pt x="809" y="309"/>
                  </a:lnTo>
                  <a:lnTo>
                    <a:pt x="778" y="271"/>
                  </a:lnTo>
                  <a:lnTo>
                    <a:pt x="766" y="255"/>
                  </a:lnTo>
                  <a:lnTo>
                    <a:pt x="705" y="229"/>
                  </a:lnTo>
                  <a:lnTo>
                    <a:pt x="691" y="208"/>
                  </a:lnTo>
                  <a:lnTo>
                    <a:pt x="710" y="201"/>
                  </a:lnTo>
                  <a:lnTo>
                    <a:pt x="710" y="175"/>
                  </a:lnTo>
                  <a:lnTo>
                    <a:pt x="691" y="154"/>
                  </a:lnTo>
                  <a:lnTo>
                    <a:pt x="667" y="116"/>
                  </a:lnTo>
                  <a:lnTo>
                    <a:pt x="665" y="83"/>
                  </a:lnTo>
                  <a:lnTo>
                    <a:pt x="658" y="78"/>
                  </a:lnTo>
                  <a:lnTo>
                    <a:pt x="630" y="45"/>
                  </a:lnTo>
                  <a:lnTo>
                    <a:pt x="618" y="10"/>
                  </a:lnTo>
                  <a:lnTo>
                    <a:pt x="597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31</a:t>
              </a:r>
            </a:p>
          </p:txBody>
        </p:sp>
        <p:sp>
          <p:nvSpPr>
            <p:cNvPr id="133" name="FR-82">
              <a:extLst>
                <a:ext uri="{FF2B5EF4-FFF2-40B4-BE49-F238E27FC236}">
                  <a16:creationId xmlns:a16="http://schemas.microsoft.com/office/drawing/2014/main" id="{EEADF538-A13E-433C-ABE7-1E21416A4E1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639779" y="4805282"/>
              <a:ext cx="659702" cy="444074"/>
            </a:xfrm>
            <a:custGeom>
              <a:avLst/>
              <a:gdLst>
                <a:gd name="T0" fmla="*/ 88 w 679"/>
                <a:gd name="T1" fmla="*/ 60 h 469"/>
                <a:gd name="T2" fmla="*/ 103 w 679"/>
                <a:gd name="T3" fmla="*/ 141 h 469"/>
                <a:gd name="T4" fmla="*/ 98 w 679"/>
                <a:gd name="T5" fmla="*/ 190 h 469"/>
                <a:gd name="T6" fmla="*/ 10 w 679"/>
                <a:gd name="T7" fmla="*/ 211 h 469"/>
                <a:gd name="T8" fmla="*/ 0 w 679"/>
                <a:gd name="T9" fmla="*/ 253 h 469"/>
                <a:gd name="T10" fmla="*/ 50 w 679"/>
                <a:gd name="T11" fmla="*/ 264 h 469"/>
                <a:gd name="T12" fmla="*/ 85 w 679"/>
                <a:gd name="T13" fmla="*/ 264 h 469"/>
                <a:gd name="T14" fmla="*/ 55 w 679"/>
                <a:gd name="T15" fmla="*/ 302 h 469"/>
                <a:gd name="T16" fmla="*/ 26 w 679"/>
                <a:gd name="T17" fmla="*/ 354 h 469"/>
                <a:gd name="T18" fmla="*/ 95 w 679"/>
                <a:gd name="T19" fmla="*/ 373 h 469"/>
                <a:gd name="T20" fmla="*/ 114 w 679"/>
                <a:gd name="T21" fmla="*/ 424 h 469"/>
                <a:gd name="T22" fmla="*/ 104 w 679"/>
                <a:gd name="T23" fmla="*/ 464 h 469"/>
                <a:gd name="T24" fmla="*/ 205 w 679"/>
                <a:gd name="T25" fmla="*/ 450 h 469"/>
                <a:gd name="T26" fmla="*/ 248 w 679"/>
                <a:gd name="T27" fmla="*/ 439 h 469"/>
                <a:gd name="T28" fmla="*/ 333 w 679"/>
                <a:gd name="T29" fmla="*/ 453 h 469"/>
                <a:gd name="T30" fmla="*/ 326 w 679"/>
                <a:gd name="T31" fmla="*/ 415 h 469"/>
                <a:gd name="T32" fmla="*/ 347 w 679"/>
                <a:gd name="T33" fmla="*/ 384 h 469"/>
                <a:gd name="T34" fmla="*/ 387 w 679"/>
                <a:gd name="T35" fmla="*/ 403 h 469"/>
                <a:gd name="T36" fmla="*/ 437 w 679"/>
                <a:gd name="T37" fmla="*/ 370 h 469"/>
                <a:gd name="T38" fmla="*/ 467 w 679"/>
                <a:gd name="T39" fmla="*/ 356 h 469"/>
                <a:gd name="T40" fmla="*/ 488 w 679"/>
                <a:gd name="T41" fmla="*/ 330 h 469"/>
                <a:gd name="T42" fmla="*/ 533 w 679"/>
                <a:gd name="T43" fmla="*/ 276 h 469"/>
                <a:gd name="T44" fmla="*/ 512 w 679"/>
                <a:gd name="T45" fmla="*/ 236 h 469"/>
                <a:gd name="T46" fmla="*/ 623 w 679"/>
                <a:gd name="T47" fmla="*/ 208 h 469"/>
                <a:gd name="T48" fmla="*/ 673 w 679"/>
                <a:gd name="T49" fmla="*/ 181 h 469"/>
                <a:gd name="T50" fmla="*/ 679 w 679"/>
                <a:gd name="T51" fmla="*/ 101 h 469"/>
                <a:gd name="T52" fmla="*/ 637 w 679"/>
                <a:gd name="T53" fmla="*/ 40 h 469"/>
                <a:gd name="T54" fmla="*/ 543 w 679"/>
                <a:gd name="T55" fmla="*/ 57 h 469"/>
                <a:gd name="T56" fmla="*/ 479 w 679"/>
                <a:gd name="T57" fmla="*/ 80 h 469"/>
                <a:gd name="T58" fmla="*/ 453 w 679"/>
                <a:gd name="T59" fmla="*/ 127 h 469"/>
                <a:gd name="T60" fmla="*/ 434 w 679"/>
                <a:gd name="T61" fmla="*/ 90 h 469"/>
                <a:gd name="T62" fmla="*/ 373 w 679"/>
                <a:gd name="T63" fmla="*/ 134 h 469"/>
                <a:gd name="T64" fmla="*/ 316 w 679"/>
                <a:gd name="T65" fmla="*/ 101 h 469"/>
                <a:gd name="T66" fmla="*/ 312 w 679"/>
                <a:gd name="T67" fmla="*/ 73 h 469"/>
                <a:gd name="T68" fmla="*/ 274 w 679"/>
                <a:gd name="T69" fmla="*/ 92 h 469"/>
                <a:gd name="T70" fmla="*/ 229 w 679"/>
                <a:gd name="T71" fmla="*/ 66 h 469"/>
                <a:gd name="T72" fmla="*/ 234 w 679"/>
                <a:gd name="T73" fmla="*/ 16 h 469"/>
                <a:gd name="T74" fmla="*/ 198 w 679"/>
                <a:gd name="T75" fmla="*/ 4 h 469"/>
                <a:gd name="T76" fmla="*/ 145 w 679"/>
                <a:gd name="T77" fmla="*/ 24 h 469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679"/>
                <a:gd name="T118" fmla="*/ 0 h 469"/>
                <a:gd name="T119" fmla="*/ 679 w 679"/>
                <a:gd name="T120" fmla="*/ 469 h 469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679" h="469">
                  <a:moveTo>
                    <a:pt x="106" y="0"/>
                  </a:moveTo>
                  <a:lnTo>
                    <a:pt x="88" y="60"/>
                  </a:lnTo>
                  <a:lnTo>
                    <a:pt x="116" y="91"/>
                  </a:lnTo>
                  <a:lnTo>
                    <a:pt x="103" y="141"/>
                  </a:lnTo>
                  <a:lnTo>
                    <a:pt x="88" y="159"/>
                  </a:lnTo>
                  <a:lnTo>
                    <a:pt x="98" y="190"/>
                  </a:lnTo>
                  <a:lnTo>
                    <a:pt x="49" y="201"/>
                  </a:lnTo>
                  <a:lnTo>
                    <a:pt x="10" y="211"/>
                  </a:lnTo>
                  <a:lnTo>
                    <a:pt x="20" y="247"/>
                  </a:lnTo>
                  <a:lnTo>
                    <a:pt x="0" y="253"/>
                  </a:lnTo>
                  <a:lnTo>
                    <a:pt x="12" y="264"/>
                  </a:lnTo>
                  <a:lnTo>
                    <a:pt x="50" y="264"/>
                  </a:lnTo>
                  <a:lnTo>
                    <a:pt x="69" y="255"/>
                  </a:lnTo>
                  <a:lnTo>
                    <a:pt x="85" y="264"/>
                  </a:lnTo>
                  <a:lnTo>
                    <a:pt x="55" y="278"/>
                  </a:lnTo>
                  <a:lnTo>
                    <a:pt x="55" y="302"/>
                  </a:lnTo>
                  <a:lnTo>
                    <a:pt x="26" y="323"/>
                  </a:lnTo>
                  <a:lnTo>
                    <a:pt x="26" y="354"/>
                  </a:lnTo>
                  <a:lnTo>
                    <a:pt x="78" y="356"/>
                  </a:lnTo>
                  <a:lnTo>
                    <a:pt x="95" y="373"/>
                  </a:lnTo>
                  <a:lnTo>
                    <a:pt x="95" y="406"/>
                  </a:lnTo>
                  <a:lnTo>
                    <a:pt x="114" y="424"/>
                  </a:lnTo>
                  <a:lnTo>
                    <a:pt x="97" y="450"/>
                  </a:lnTo>
                  <a:lnTo>
                    <a:pt x="104" y="464"/>
                  </a:lnTo>
                  <a:lnTo>
                    <a:pt x="137" y="450"/>
                  </a:lnTo>
                  <a:lnTo>
                    <a:pt x="205" y="450"/>
                  </a:lnTo>
                  <a:lnTo>
                    <a:pt x="225" y="439"/>
                  </a:lnTo>
                  <a:lnTo>
                    <a:pt x="248" y="439"/>
                  </a:lnTo>
                  <a:lnTo>
                    <a:pt x="274" y="469"/>
                  </a:lnTo>
                  <a:lnTo>
                    <a:pt x="333" y="453"/>
                  </a:lnTo>
                  <a:lnTo>
                    <a:pt x="349" y="427"/>
                  </a:lnTo>
                  <a:lnTo>
                    <a:pt x="326" y="415"/>
                  </a:lnTo>
                  <a:lnTo>
                    <a:pt x="342" y="408"/>
                  </a:lnTo>
                  <a:lnTo>
                    <a:pt x="347" y="384"/>
                  </a:lnTo>
                  <a:lnTo>
                    <a:pt x="373" y="387"/>
                  </a:lnTo>
                  <a:lnTo>
                    <a:pt x="387" y="403"/>
                  </a:lnTo>
                  <a:lnTo>
                    <a:pt x="399" y="384"/>
                  </a:lnTo>
                  <a:lnTo>
                    <a:pt x="437" y="370"/>
                  </a:lnTo>
                  <a:lnTo>
                    <a:pt x="454" y="378"/>
                  </a:lnTo>
                  <a:lnTo>
                    <a:pt x="467" y="356"/>
                  </a:lnTo>
                  <a:lnTo>
                    <a:pt x="444" y="330"/>
                  </a:lnTo>
                  <a:lnTo>
                    <a:pt x="488" y="330"/>
                  </a:lnTo>
                  <a:lnTo>
                    <a:pt x="503" y="304"/>
                  </a:lnTo>
                  <a:lnTo>
                    <a:pt x="533" y="276"/>
                  </a:lnTo>
                  <a:lnTo>
                    <a:pt x="503" y="276"/>
                  </a:lnTo>
                  <a:lnTo>
                    <a:pt x="512" y="236"/>
                  </a:lnTo>
                  <a:lnTo>
                    <a:pt x="592" y="226"/>
                  </a:lnTo>
                  <a:lnTo>
                    <a:pt x="623" y="208"/>
                  </a:lnTo>
                  <a:lnTo>
                    <a:pt x="660" y="194"/>
                  </a:lnTo>
                  <a:lnTo>
                    <a:pt x="673" y="181"/>
                  </a:lnTo>
                  <a:lnTo>
                    <a:pt x="658" y="144"/>
                  </a:lnTo>
                  <a:lnTo>
                    <a:pt x="679" y="101"/>
                  </a:lnTo>
                  <a:lnTo>
                    <a:pt x="642" y="99"/>
                  </a:lnTo>
                  <a:lnTo>
                    <a:pt x="637" y="40"/>
                  </a:lnTo>
                  <a:lnTo>
                    <a:pt x="580" y="66"/>
                  </a:lnTo>
                  <a:lnTo>
                    <a:pt x="543" y="57"/>
                  </a:lnTo>
                  <a:lnTo>
                    <a:pt x="519" y="85"/>
                  </a:lnTo>
                  <a:lnTo>
                    <a:pt x="479" y="80"/>
                  </a:lnTo>
                  <a:lnTo>
                    <a:pt x="472" y="127"/>
                  </a:lnTo>
                  <a:lnTo>
                    <a:pt x="453" y="127"/>
                  </a:lnTo>
                  <a:lnTo>
                    <a:pt x="441" y="101"/>
                  </a:lnTo>
                  <a:lnTo>
                    <a:pt x="434" y="90"/>
                  </a:lnTo>
                  <a:lnTo>
                    <a:pt x="413" y="92"/>
                  </a:lnTo>
                  <a:lnTo>
                    <a:pt x="373" y="134"/>
                  </a:lnTo>
                  <a:lnTo>
                    <a:pt x="323" y="132"/>
                  </a:lnTo>
                  <a:lnTo>
                    <a:pt x="316" y="101"/>
                  </a:lnTo>
                  <a:lnTo>
                    <a:pt x="316" y="78"/>
                  </a:lnTo>
                  <a:lnTo>
                    <a:pt x="312" y="73"/>
                  </a:lnTo>
                  <a:lnTo>
                    <a:pt x="295" y="92"/>
                  </a:lnTo>
                  <a:lnTo>
                    <a:pt x="274" y="92"/>
                  </a:lnTo>
                  <a:lnTo>
                    <a:pt x="250" y="66"/>
                  </a:lnTo>
                  <a:lnTo>
                    <a:pt x="229" y="66"/>
                  </a:lnTo>
                  <a:lnTo>
                    <a:pt x="215" y="38"/>
                  </a:lnTo>
                  <a:lnTo>
                    <a:pt x="234" y="16"/>
                  </a:lnTo>
                  <a:lnTo>
                    <a:pt x="232" y="3"/>
                  </a:lnTo>
                  <a:lnTo>
                    <a:pt x="198" y="4"/>
                  </a:lnTo>
                  <a:lnTo>
                    <a:pt x="203" y="13"/>
                  </a:lnTo>
                  <a:lnTo>
                    <a:pt x="145" y="24"/>
                  </a:lnTo>
                  <a:lnTo>
                    <a:pt x="106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82</a:t>
              </a:r>
            </a:p>
          </p:txBody>
        </p:sp>
        <p:sp>
          <p:nvSpPr>
            <p:cNvPr id="134" name="FR-12">
              <a:extLst>
                <a:ext uri="{FF2B5EF4-FFF2-40B4-BE49-F238E27FC236}">
                  <a16:creationId xmlns:a16="http://schemas.microsoft.com/office/drawing/2014/main" id="{A5483CE3-9748-4AC9-80F4-078CE0640A8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245073" y="4410444"/>
              <a:ext cx="845273" cy="889096"/>
            </a:xfrm>
            <a:custGeom>
              <a:avLst/>
              <a:gdLst>
                <a:gd name="T0" fmla="*/ 402 w 870"/>
                <a:gd name="T1" fmla="*/ 63 h 939"/>
                <a:gd name="T2" fmla="*/ 384 w 870"/>
                <a:gd name="T3" fmla="*/ 125 h 939"/>
                <a:gd name="T4" fmla="*/ 358 w 870"/>
                <a:gd name="T5" fmla="*/ 191 h 939"/>
                <a:gd name="T6" fmla="*/ 262 w 870"/>
                <a:gd name="T7" fmla="*/ 224 h 939"/>
                <a:gd name="T8" fmla="*/ 218 w 870"/>
                <a:gd name="T9" fmla="*/ 213 h 939"/>
                <a:gd name="T10" fmla="*/ 188 w 870"/>
                <a:gd name="T11" fmla="*/ 249 h 939"/>
                <a:gd name="T12" fmla="*/ 167 w 870"/>
                <a:gd name="T13" fmla="*/ 283 h 939"/>
                <a:gd name="T14" fmla="*/ 110 w 870"/>
                <a:gd name="T15" fmla="*/ 295 h 939"/>
                <a:gd name="T16" fmla="*/ 45 w 870"/>
                <a:gd name="T17" fmla="*/ 339 h 939"/>
                <a:gd name="T18" fmla="*/ 0 w 870"/>
                <a:gd name="T19" fmla="*/ 361 h 939"/>
                <a:gd name="T20" fmla="*/ 33 w 870"/>
                <a:gd name="T21" fmla="*/ 443 h 939"/>
                <a:gd name="T22" fmla="*/ 19 w 870"/>
                <a:gd name="T23" fmla="*/ 516 h 939"/>
                <a:gd name="T24" fmla="*/ 35 w 870"/>
                <a:gd name="T25" fmla="*/ 561 h 939"/>
                <a:gd name="T26" fmla="*/ 73 w 870"/>
                <a:gd name="T27" fmla="*/ 591 h 939"/>
                <a:gd name="T28" fmla="*/ 113 w 870"/>
                <a:gd name="T29" fmla="*/ 582 h 939"/>
                <a:gd name="T30" fmla="*/ 202 w 870"/>
                <a:gd name="T31" fmla="*/ 613 h 939"/>
                <a:gd name="T32" fmla="*/ 309 w 870"/>
                <a:gd name="T33" fmla="*/ 676 h 939"/>
                <a:gd name="T34" fmla="*/ 370 w 870"/>
                <a:gd name="T35" fmla="*/ 749 h 939"/>
                <a:gd name="T36" fmla="*/ 393 w 870"/>
                <a:gd name="T37" fmla="*/ 818 h 939"/>
                <a:gd name="T38" fmla="*/ 440 w 870"/>
                <a:gd name="T39" fmla="*/ 905 h 939"/>
                <a:gd name="T40" fmla="*/ 514 w 870"/>
                <a:gd name="T41" fmla="*/ 921 h 939"/>
                <a:gd name="T42" fmla="*/ 549 w 870"/>
                <a:gd name="T43" fmla="*/ 908 h 939"/>
                <a:gd name="T44" fmla="*/ 598 w 870"/>
                <a:gd name="T45" fmla="*/ 939 h 939"/>
                <a:gd name="T46" fmla="*/ 664 w 870"/>
                <a:gd name="T47" fmla="*/ 939 h 939"/>
                <a:gd name="T48" fmla="*/ 660 w 870"/>
                <a:gd name="T49" fmla="*/ 836 h 939"/>
                <a:gd name="T50" fmla="*/ 723 w 870"/>
                <a:gd name="T51" fmla="*/ 858 h 939"/>
                <a:gd name="T52" fmla="*/ 756 w 870"/>
                <a:gd name="T53" fmla="*/ 814 h 939"/>
                <a:gd name="T54" fmla="*/ 822 w 870"/>
                <a:gd name="T55" fmla="*/ 788 h 939"/>
                <a:gd name="T56" fmla="*/ 870 w 870"/>
                <a:gd name="T57" fmla="*/ 729 h 939"/>
                <a:gd name="T58" fmla="*/ 819 w 870"/>
                <a:gd name="T59" fmla="*/ 678 h 939"/>
                <a:gd name="T60" fmla="*/ 775 w 870"/>
                <a:gd name="T61" fmla="*/ 641 h 939"/>
                <a:gd name="T62" fmla="*/ 804 w 870"/>
                <a:gd name="T63" fmla="*/ 596 h 939"/>
                <a:gd name="T64" fmla="*/ 811 w 870"/>
                <a:gd name="T65" fmla="*/ 560 h 939"/>
                <a:gd name="T66" fmla="*/ 752 w 870"/>
                <a:gd name="T67" fmla="*/ 541 h 939"/>
                <a:gd name="T68" fmla="*/ 697 w 870"/>
                <a:gd name="T69" fmla="*/ 434 h 939"/>
                <a:gd name="T70" fmla="*/ 660 w 870"/>
                <a:gd name="T71" fmla="*/ 346 h 939"/>
                <a:gd name="T72" fmla="*/ 587 w 870"/>
                <a:gd name="T73" fmla="*/ 199 h 939"/>
                <a:gd name="T74" fmla="*/ 554 w 870"/>
                <a:gd name="T75" fmla="*/ 125 h 939"/>
                <a:gd name="T76" fmla="*/ 491 w 870"/>
                <a:gd name="T77" fmla="*/ 59 h 939"/>
                <a:gd name="T78" fmla="*/ 476 w 870"/>
                <a:gd name="T79" fmla="*/ 0 h 939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870"/>
                <a:gd name="T121" fmla="*/ 0 h 939"/>
                <a:gd name="T122" fmla="*/ 870 w 870"/>
                <a:gd name="T123" fmla="*/ 939 h 939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870" h="939">
                  <a:moveTo>
                    <a:pt x="476" y="0"/>
                  </a:moveTo>
                  <a:lnTo>
                    <a:pt x="402" y="63"/>
                  </a:lnTo>
                  <a:lnTo>
                    <a:pt x="402" y="125"/>
                  </a:lnTo>
                  <a:lnTo>
                    <a:pt x="384" y="125"/>
                  </a:lnTo>
                  <a:lnTo>
                    <a:pt x="377" y="184"/>
                  </a:lnTo>
                  <a:lnTo>
                    <a:pt x="358" y="191"/>
                  </a:lnTo>
                  <a:lnTo>
                    <a:pt x="344" y="224"/>
                  </a:lnTo>
                  <a:lnTo>
                    <a:pt x="262" y="224"/>
                  </a:lnTo>
                  <a:lnTo>
                    <a:pt x="255" y="213"/>
                  </a:lnTo>
                  <a:lnTo>
                    <a:pt x="218" y="213"/>
                  </a:lnTo>
                  <a:lnTo>
                    <a:pt x="196" y="250"/>
                  </a:lnTo>
                  <a:lnTo>
                    <a:pt x="188" y="249"/>
                  </a:lnTo>
                  <a:lnTo>
                    <a:pt x="184" y="264"/>
                  </a:lnTo>
                  <a:lnTo>
                    <a:pt x="167" y="283"/>
                  </a:lnTo>
                  <a:lnTo>
                    <a:pt x="120" y="283"/>
                  </a:lnTo>
                  <a:lnTo>
                    <a:pt x="110" y="295"/>
                  </a:lnTo>
                  <a:lnTo>
                    <a:pt x="87" y="292"/>
                  </a:lnTo>
                  <a:lnTo>
                    <a:pt x="45" y="339"/>
                  </a:lnTo>
                  <a:lnTo>
                    <a:pt x="30" y="335"/>
                  </a:lnTo>
                  <a:lnTo>
                    <a:pt x="0" y="361"/>
                  </a:lnTo>
                  <a:lnTo>
                    <a:pt x="9" y="408"/>
                  </a:lnTo>
                  <a:lnTo>
                    <a:pt x="33" y="443"/>
                  </a:lnTo>
                  <a:lnTo>
                    <a:pt x="15" y="462"/>
                  </a:lnTo>
                  <a:lnTo>
                    <a:pt x="19" y="516"/>
                  </a:lnTo>
                  <a:lnTo>
                    <a:pt x="56" y="518"/>
                  </a:lnTo>
                  <a:lnTo>
                    <a:pt x="35" y="561"/>
                  </a:lnTo>
                  <a:lnTo>
                    <a:pt x="52" y="603"/>
                  </a:lnTo>
                  <a:lnTo>
                    <a:pt x="73" y="591"/>
                  </a:lnTo>
                  <a:lnTo>
                    <a:pt x="82" y="613"/>
                  </a:lnTo>
                  <a:lnTo>
                    <a:pt x="113" y="582"/>
                  </a:lnTo>
                  <a:lnTo>
                    <a:pt x="158" y="580"/>
                  </a:lnTo>
                  <a:lnTo>
                    <a:pt x="202" y="613"/>
                  </a:lnTo>
                  <a:lnTo>
                    <a:pt x="280" y="627"/>
                  </a:lnTo>
                  <a:lnTo>
                    <a:pt x="309" y="676"/>
                  </a:lnTo>
                  <a:lnTo>
                    <a:pt x="349" y="695"/>
                  </a:lnTo>
                  <a:lnTo>
                    <a:pt x="370" y="749"/>
                  </a:lnTo>
                  <a:lnTo>
                    <a:pt x="367" y="771"/>
                  </a:lnTo>
                  <a:lnTo>
                    <a:pt x="393" y="818"/>
                  </a:lnTo>
                  <a:lnTo>
                    <a:pt x="393" y="844"/>
                  </a:lnTo>
                  <a:lnTo>
                    <a:pt x="440" y="905"/>
                  </a:lnTo>
                  <a:lnTo>
                    <a:pt x="485" y="928"/>
                  </a:lnTo>
                  <a:lnTo>
                    <a:pt x="514" y="921"/>
                  </a:lnTo>
                  <a:lnTo>
                    <a:pt x="528" y="903"/>
                  </a:lnTo>
                  <a:lnTo>
                    <a:pt x="549" y="908"/>
                  </a:lnTo>
                  <a:lnTo>
                    <a:pt x="598" y="939"/>
                  </a:lnTo>
                  <a:lnTo>
                    <a:pt x="620" y="939"/>
                  </a:lnTo>
                  <a:lnTo>
                    <a:pt x="664" y="939"/>
                  </a:lnTo>
                  <a:lnTo>
                    <a:pt x="660" y="862"/>
                  </a:lnTo>
                  <a:lnTo>
                    <a:pt x="660" y="836"/>
                  </a:lnTo>
                  <a:lnTo>
                    <a:pt x="682" y="836"/>
                  </a:lnTo>
                  <a:lnTo>
                    <a:pt x="723" y="858"/>
                  </a:lnTo>
                  <a:lnTo>
                    <a:pt x="763" y="858"/>
                  </a:lnTo>
                  <a:lnTo>
                    <a:pt x="756" y="814"/>
                  </a:lnTo>
                  <a:lnTo>
                    <a:pt x="778" y="795"/>
                  </a:lnTo>
                  <a:lnTo>
                    <a:pt x="822" y="788"/>
                  </a:lnTo>
                  <a:lnTo>
                    <a:pt x="822" y="751"/>
                  </a:lnTo>
                  <a:lnTo>
                    <a:pt x="870" y="729"/>
                  </a:lnTo>
                  <a:lnTo>
                    <a:pt x="859" y="678"/>
                  </a:lnTo>
                  <a:lnTo>
                    <a:pt x="819" y="678"/>
                  </a:lnTo>
                  <a:lnTo>
                    <a:pt x="782" y="670"/>
                  </a:lnTo>
                  <a:lnTo>
                    <a:pt x="775" y="641"/>
                  </a:lnTo>
                  <a:lnTo>
                    <a:pt x="804" y="633"/>
                  </a:lnTo>
                  <a:lnTo>
                    <a:pt x="804" y="596"/>
                  </a:lnTo>
                  <a:lnTo>
                    <a:pt x="833" y="571"/>
                  </a:lnTo>
                  <a:lnTo>
                    <a:pt x="811" y="560"/>
                  </a:lnTo>
                  <a:lnTo>
                    <a:pt x="749" y="571"/>
                  </a:lnTo>
                  <a:lnTo>
                    <a:pt x="752" y="541"/>
                  </a:lnTo>
                  <a:lnTo>
                    <a:pt x="708" y="523"/>
                  </a:lnTo>
                  <a:lnTo>
                    <a:pt x="697" y="434"/>
                  </a:lnTo>
                  <a:lnTo>
                    <a:pt x="697" y="372"/>
                  </a:lnTo>
                  <a:lnTo>
                    <a:pt x="660" y="346"/>
                  </a:lnTo>
                  <a:lnTo>
                    <a:pt x="664" y="294"/>
                  </a:lnTo>
                  <a:lnTo>
                    <a:pt x="587" y="199"/>
                  </a:lnTo>
                  <a:lnTo>
                    <a:pt x="579" y="125"/>
                  </a:lnTo>
                  <a:lnTo>
                    <a:pt x="554" y="125"/>
                  </a:lnTo>
                  <a:lnTo>
                    <a:pt x="542" y="51"/>
                  </a:lnTo>
                  <a:lnTo>
                    <a:pt x="491" y="59"/>
                  </a:lnTo>
                  <a:lnTo>
                    <a:pt x="484" y="11"/>
                  </a:lnTo>
                  <a:lnTo>
                    <a:pt x="476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12</a:t>
              </a:r>
            </a:p>
          </p:txBody>
        </p:sp>
        <p:sp>
          <p:nvSpPr>
            <p:cNvPr id="135" name="FR-81">
              <a:extLst>
                <a:ext uri="{FF2B5EF4-FFF2-40B4-BE49-F238E27FC236}">
                  <a16:creationId xmlns:a16="http://schemas.microsoft.com/office/drawing/2014/main" id="{5DD8F3E9-6D67-42AD-B26A-258EC34BA13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071160" y="4959619"/>
              <a:ext cx="754917" cy="570006"/>
            </a:xfrm>
            <a:custGeom>
              <a:avLst/>
              <a:gdLst>
                <a:gd name="T0" fmla="*/ 292 w 777"/>
                <a:gd name="T1" fmla="*/ 2 h 602"/>
                <a:gd name="T2" fmla="*/ 252 w 777"/>
                <a:gd name="T3" fmla="*/ 11 h 602"/>
                <a:gd name="T4" fmla="*/ 229 w 777"/>
                <a:gd name="T5" fmla="*/ 18 h 602"/>
                <a:gd name="T6" fmla="*/ 179 w 777"/>
                <a:gd name="T7" fmla="*/ 45 h 602"/>
                <a:gd name="T8" fmla="*/ 68 w 777"/>
                <a:gd name="T9" fmla="*/ 73 h 602"/>
                <a:gd name="T10" fmla="*/ 89 w 777"/>
                <a:gd name="T11" fmla="*/ 113 h 602"/>
                <a:gd name="T12" fmla="*/ 44 w 777"/>
                <a:gd name="T13" fmla="*/ 167 h 602"/>
                <a:gd name="T14" fmla="*/ 23 w 777"/>
                <a:gd name="T15" fmla="*/ 193 h 602"/>
                <a:gd name="T16" fmla="*/ 14 w 777"/>
                <a:gd name="T17" fmla="*/ 217 h 602"/>
                <a:gd name="T18" fmla="*/ 54 w 777"/>
                <a:gd name="T19" fmla="*/ 285 h 602"/>
                <a:gd name="T20" fmla="*/ 63 w 777"/>
                <a:gd name="T21" fmla="*/ 323 h 602"/>
                <a:gd name="T22" fmla="*/ 106 w 777"/>
                <a:gd name="T23" fmla="*/ 382 h 602"/>
                <a:gd name="T24" fmla="*/ 87 w 777"/>
                <a:gd name="T25" fmla="*/ 415 h 602"/>
                <a:gd name="T26" fmla="*/ 162 w 777"/>
                <a:gd name="T27" fmla="*/ 462 h 602"/>
                <a:gd name="T28" fmla="*/ 205 w 777"/>
                <a:gd name="T29" fmla="*/ 516 h 602"/>
                <a:gd name="T30" fmla="*/ 269 w 777"/>
                <a:gd name="T31" fmla="*/ 521 h 602"/>
                <a:gd name="T32" fmla="*/ 268 w 777"/>
                <a:gd name="T33" fmla="*/ 571 h 602"/>
                <a:gd name="T34" fmla="*/ 279 w 777"/>
                <a:gd name="T35" fmla="*/ 587 h 602"/>
                <a:gd name="T36" fmla="*/ 379 w 777"/>
                <a:gd name="T37" fmla="*/ 602 h 602"/>
                <a:gd name="T38" fmla="*/ 405 w 777"/>
                <a:gd name="T39" fmla="*/ 554 h 602"/>
                <a:gd name="T40" fmla="*/ 563 w 777"/>
                <a:gd name="T41" fmla="*/ 569 h 602"/>
                <a:gd name="T42" fmla="*/ 637 w 777"/>
                <a:gd name="T43" fmla="*/ 503 h 602"/>
                <a:gd name="T44" fmla="*/ 607 w 777"/>
                <a:gd name="T45" fmla="*/ 429 h 602"/>
                <a:gd name="T46" fmla="*/ 666 w 777"/>
                <a:gd name="T47" fmla="*/ 421 h 602"/>
                <a:gd name="T48" fmla="*/ 777 w 777"/>
                <a:gd name="T49" fmla="*/ 359 h 602"/>
                <a:gd name="T50" fmla="*/ 707 w 777"/>
                <a:gd name="T51" fmla="*/ 323 h 602"/>
                <a:gd name="T52" fmla="*/ 664 w 777"/>
                <a:gd name="T53" fmla="*/ 348 h 602"/>
                <a:gd name="T54" fmla="*/ 572 w 777"/>
                <a:gd name="T55" fmla="*/ 264 h 602"/>
                <a:gd name="T56" fmla="*/ 546 w 777"/>
                <a:gd name="T57" fmla="*/ 191 h 602"/>
                <a:gd name="T58" fmla="*/ 528 w 777"/>
                <a:gd name="T59" fmla="*/ 115 h 602"/>
                <a:gd name="T60" fmla="*/ 459 w 777"/>
                <a:gd name="T61" fmla="*/ 47 h 602"/>
                <a:gd name="T62" fmla="*/ 337 w 777"/>
                <a:gd name="T63" fmla="*/ 0 h 60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777"/>
                <a:gd name="T97" fmla="*/ 0 h 602"/>
                <a:gd name="T98" fmla="*/ 777 w 777"/>
                <a:gd name="T99" fmla="*/ 602 h 60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777" h="602">
                  <a:moveTo>
                    <a:pt x="337" y="0"/>
                  </a:moveTo>
                  <a:lnTo>
                    <a:pt x="292" y="2"/>
                  </a:lnTo>
                  <a:lnTo>
                    <a:pt x="261" y="33"/>
                  </a:lnTo>
                  <a:lnTo>
                    <a:pt x="252" y="11"/>
                  </a:lnTo>
                  <a:lnTo>
                    <a:pt x="231" y="23"/>
                  </a:lnTo>
                  <a:lnTo>
                    <a:pt x="229" y="18"/>
                  </a:lnTo>
                  <a:lnTo>
                    <a:pt x="216" y="31"/>
                  </a:lnTo>
                  <a:lnTo>
                    <a:pt x="179" y="45"/>
                  </a:lnTo>
                  <a:lnTo>
                    <a:pt x="148" y="63"/>
                  </a:lnTo>
                  <a:lnTo>
                    <a:pt x="68" y="73"/>
                  </a:lnTo>
                  <a:lnTo>
                    <a:pt x="59" y="113"/>
                  </a:lnTo>
                  <a:lnTo>
                    <a:pt x="89" y="113"/>
                  </a:lnTo>
                  <a:lnTo>
                    <a:pt x="59" y="141"/>
                  </a:lnTo>
                  <a:lnTo>
                    <a:pt x="44" y="167"/>
                  </a:lnTo>
                  <a:lnTo>
                    <a:pt x="0" y="167"/>
                  </a:lnTo>
                  <a:lnTo>
                    <a:pt x="23" y="193"/>
                  </a:lnTo>
                  <a:lnTo>
                    <a:pt x="10" y="215"/>
                  </a:lnTo>
                  <a:lnTo>
                    <a:pt x="14" y="217"/>
                  </a:lnTo>
                  <a:lnTo>
                    <a:pt x="26" y="252"/>
                  </a:lnTo>
                  <a:lnTo>
                    <a:pt x="54" y="285"/>
                  </a:lnTo>
                  <a:lnTo>
                    <a:pt x="61" y="290"/>
                  </a:lnTo>
                  <a:lnTo>
                    <a:pt x="63" y="323"/>
                  </a:lnTo>
                  <a:lnTo>
                    <a:pt x="87" y="361"/>
                  </a:lnTo>
                  <a:lnTo>
                    <a:pt x="106" y="382"/>
                  </a:lnTo>
                  <a:lnTo>
                    <a:pt x="106" y="408"/>
                  </a:lnTo>
                  <a:lnTo>
                    <a:pt x="87" y="415"/>
                  </a:lnTo>
                  <a:lnTo>
                    <a:pt x="101" y="436"/>
                  </a:lnTo>
                  <a:lnTo>
                    <a:pt x="162" y="462"/>
                  </a:lnTo>
                  <a:lnTo>
                    <a:pt x="174" y="478"/>
                  </a:lnTo>
                  <a:lnTo>
                    <a:pt x="205" y="516"/>
                  </a:lnTo>
                  <a:lnTo>
                    <a:pt x="240" y="526"/>
                  </a:lnTo>
                  <a:lnTo>
                    <a:pt x="269" y="521"/>
                  </a:lnTo>
                  <a:lnTo>
                    <a:pt x="269" y="554"/>
                  </a:lnTo>
                  <a:lnTo>
                    <a:pt x="268" y="571"/>
                  </a:lnTo>
                  <a:lnTo>
                    <a:pt x="283" y="569"/>
                  </a:lnTo>
                  <a:lnTo>
                    <a:pt x="279" y="587"/>
                  </a:lnTo>
                  <a:lnTo>
                    <a:pt x="331" y="587"/>
                  </a:lnTo>
                  <a:lnTo>
                    <a:pt x="379" y="602"/>
                  </a:lnTo>
                  <a:lnTo>
                    <a:pt x="383" y="554"/>
                  </a:lnTo>
                  <a:lnTo>
                    <a:pt x="405" y="554"/>
                  </a:lnTo>
                  <a:lnTo>
                    <a:pt x="486" y="569"/>
                  </a:lnTo>
                  <a:lnTo>
                    <a:pt x="563" y="569"/>
                  </a:lnTo>
                  <a:lnTo>
                    <a:pt x="622" y="551"/>
                  </a:lnTo>
                  <a:lnTo>
                    <a:pt x="637" y="503"/>
                  </a:lnTo>
                  <a:lnTo>
                    <a:pt x="596" y="466"/>
                  </a:lnTo>
                  <a:lnTo>
                    <a:pt x="607" y="429"/>
                  </a:lnTo>
                  <a:lnTo>
                    <a:pt x="629" y="396"/>
                  </a:lnTo>
                  <a:lnTo>
                    <a:pt x="666" y="421"/>
                  </a:lnTo>
                  <a:lnTo>
                    <a:pt x="762" y="388"/>
                  </a:lnTo>
                  <a:lnTo>
                    <a:pt x="777" y="359"/>
                  </a:lnTo>
                  <a:lnTo>
                    <a:pt x="728" y="328"/>
                  </a:lnTo>
                  <a:lnTo>
                    <a:pt x="707" y="323"/>
                  </a:lnTo>
                  <a:lnTo>
                    <a:pt x="693" y="341"/>
                  </a:lnTo>
                  <a:lnTo>
                    <a:pt x="664" y="348"/>
                  </a:lnTo>
                  <a:lnTo>
                    <a:pt x="619" y="325"/>
                  </a:lnTo>
                  <a:lnTo>
                    <a:pt x="572" y="264"/>
                  </a:lnTo>
                  <a:lnTo>
                    <a:pt x="572" y="238"/>
                  </a:lnTo>
                  <a:lnTo>
                    <a:pt x="546" y="191"/>
                  </a:lnTo>
                  <a:lnTo>
                    <a:pt x="549" y="169"/>
                  </a:lnTo>
                  <a:lnTo>
                    <a:pt x="528" y="115"/>
                  </a:lnTo>
                  <a:lnTo>
                    <a:pt x="488" y="96"/>
                  </a:lnTo>
                  <a:lnTo>
                    <a:pt x="459" y="47"/>
                  </a:lnTo>
                  <a:lnTo>
                    <a:pt x="381" y="33"/>
                  </a:lnTo>
                  <a:lnTo>
                    <a:pt x="337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81</a:t>
              </a:r>
            </a:p>
          </p:txBody>
        </p:sp>
        <p:sp>
          <p:nvSpPr>
            <p:cNvPr id="136" name="FR-01">
              <a:extLst>
                <a:ext uri="{FF2B5EF4-FFF2-40B4-BE49-F238E27FC236}">
                  <a16:creationId xmlns:a16="http://schemas.microsoft.com/office/drawing/2014/main" id="{D30A6B1D-D596-4E61-987C-7843A353B5A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728673" y="3263804"/>
              <a:ext cx="723826" cy="633445"/>
            </a:xfrm>
            <a:custGeom>
              <a:avLst/>
              <a:gdLst>
                <a:gd name="T0" fmla="*/ 130 w 745"/>
                <a:gd name="T1" fmla="*/ 0 h 669"/>
                <a:gd name="T2" fmla="*/ 102 w 745"/>
                <a:gd name="T3" fmla="*/ 3 h 669"/>
                <a:gd name="T4" fmla="*/ 83 w 745"/>
                <a:gd name="T5" fmla="*/ 37 h 669"/>
                <a:gd name="T6" fmla="*/ 34 w 745"/>
                <a:gd name="T7" fmla="*/ 229 h 669"/>
                <a:gd name="T8" fmla="*/ 27 w 745"/>
                <a:gd name="T9" fmla="*/ 245 h 669"/>
                <a:gd name="T10" fmla="*/ 22 w 745"/>
                <a:gd name="T11" fmla="*/ 306 h 669"/>
                <a:gd name="T12" fmla="*/ 8 w 745"/>
                <a:gd name="T13" fmla="*/ 326 h 669"/>
                <a:gd name="T14" fmla="*/ 8 w 745"/>
                <a:gd name="T15" fmla="*/ 414 h 669"/>
                <a:gd name="T16" fmla="*/ 0 w 745"/>
                <a:gd name="T17" fmla="*/ 434 h 669"/>
                <a:gd name="T18" fmla="*/ 50 w 745"/>
                <a:gd name="T19" fmla="*/ 464 h 669"/>
                <a:gd name="T20" fmla="*/ 70 w 745"/>
                <a:gd name="T21" fmla="*/ 467 h 669"/>
                <a:gd name="T22" fmla="*/ 102 w 745"/>
                <a:gd name="T23" fmla="*/ 496 h 669"/>
                <a:gd name="T24" fmla="*/ 107 w 745"/>
                <a:gd name="T25" fmla="*/ 541 h 669"/>
                <a:gd name="T26" fmla="*/ 141 w 745"/>
                <a:gd name="T27" fmla="*/ 530 h 669"/>
                <a:gd name="T28" fmla="*/ 194 w 745"/>
                <a:gd name="T29" fmla="*/ 545 h 669"/>
                <a:gd name="T30" fmla="*/ 195 w 745"/>
                <a:gd name="T31" fmla="*/ 535 h 669"/>
                <a:gd name="T32" fmla="*/ 220 w 745"/>
                <a:gd name="T33" fmla="*/ 535 h 669"/>
                <a:gd name="T34" fmla="*/ 257 w 745"/>
                <a:gd name="T35" fmla="*/ 569 h 669"/>
                <a:gd name="T36" fmla="*/ 291 w 745"/>
                <a:gd name="T37" fmla="*/ 552 h 669"/>
                <a:gd name="T38" fmla="*/ 308 w 745"/>
                <a:gd name="T39" fmla="*/ 502 h 669"/>
                <a:gd name="T40" fmla="*/ 325 w 745"/>
                <a:gd name="T41" fmla="*/ 482 h 669"/>
                <a:gd name="T42" fmla="*/ 348 w 745"/>
                <a:gd name="T43" fmla="*/ 484 h 669"/>
                <a:gd name="T44" fmla="*/ 370 w 745"/>
                <a:gd name="T45" fmla="*/ 504 h 669"/>
                <a:gd name="T46" fmla="*/ 382 w 745"/>
                <a:gd name="T47" fmla="*/ 541 h 669"/>
                <a:gd name="T48" fmla="*/ 487 w 745"/>
                <a:gd name="T49" fmla="*/ 669 h 669"/>
                <a:gd name="T50" fmla="*/ 518 w 745"/>
                <a:gd name="T51" fmla="*/ 646 h 669"/>
                <a:gd name="T52" fmla="*/ 523 w 745"/>
                <a:gd name="T53" fmla="*/ 598 h 669"/>
                <a:gd name="T54" fmla="*/ 558 w 745"/>
                <a:gd name="T55" fmla="*/ 592 h 669"/>
                <a:gd name="T56" fmla="*/ 558 w 745"/>
                <a:gd name="T57" fmla="*/ 507 h 669"/>
                <a:gd name="T58" fmla="*/ 575 w 745"/>
                <a:gd name="T59" fmla="*/ 493 h 669"/>
                <a:gd name="T60" fmla="*/ 580 w 745"/>
                <a:gd name="T61" fmla="*/ 417 h 669"/>
                <a:gd name="T62" fmla="*/ 587 w 745"/>
                <a:gd name="T63" fmla="*/ 422 h 669"/>
                <a:gd name="T64" fmla="*/ 586 w 745"/>
                <a:gd name="T65" fmla="*/ 394 h 669"/>
                <a:gd name="T66" fmla="*/ 572 w 745"/>
                <a:gd name="T67" fmla="*/ 368 h 669"/>
                <a:gd name="T68" fmla="*/ 578 w 745"/>
                <a:gd name="T69" fmla="*/ 295 h 669"/>
                <a:gd name="T70" fmla="*/ 603 w 745"/>
                <a:gd name="T71" fmla="*/ 309 h 669"/>
                <a:gd name="T72" fmla="*/ 617 w 745"/>
                <a:gd name="T73" fmla="*/ 283 h 669"/>
                <a:gd name="T74" fmla="*/ 643 w 745"/>
                <a:gd name="T75" fmla="*/ 275 h 669"/>
                <a:gd name="T76" fmla="*/ 669 w 745"/>
                <a:gd name="T77" fmla="*/ 254 h 669"/>
                <a:gd name="T78" fmla="*/ 640 w 745"/>
                <a:gd name="T79" fmla="*/ 254 h 669"/>
                <a:gd name="T80" fmla="*/ 640 w 745"/>
                <a:gd name="T81" fmla="*/ 204 h 669"/>
                <a:gd name="T82" fmla="*/ 672 w 745"/>
                <a:gd name="T83" fmla="*/ 186 h 669"/>
                <a:gd name="T84" fmla="*/ 718 w 745"/>
                <a:gd name="T85" fmla="*/ 181 h 669"/>
                <a:gd name="T86" fmla="*/ 721 w 745"/>
                <a:gd name="T87" fmla="*/ 155 h 669"/>
                <a:gd name="T88" fmla="*/ 705 w 745"/>
                <a:gd name="T89" fmla="*/ 144 h 669"/>
                <a:gd name="T90" fmla="*/ 745 w 745"/>
                <a:gd name="T91" fmla="*/ 95 h 669"/>
                <a:gd name="T92" fmla="*/ 739 w 745"/>
                <a:gd name="T93" fmla="*/ 79 h 669"/>
                <a:gd name="T94" fmla="*/ 695 w 745"/>
                <a:gd name="T95" fmla="*/ 56 h 669"/>
                <a:gd name="T96" fmla="*/ 586 w 745"/>
                <a:gd name="T97" fmla="*/ 175 h 669"/>
                <a:gd name="T98" fmla="*/ 511 w 745"/>
                <a:gd name="T99" fmla="*/ 175 h 669"/>
                <a:gd name="T100" fmla="*/ 511 w 745"/>
                <a:gd name="T101" fmla="*/ 144 h 669"/>
                <a:gd name="T102" fmla="*/ 469 w 745"/>
                <a:gd name="T103" fmla="*/ 123 h 669"/>
                <a:gd name="T104" fmla="*/ 420 w 745"/>
                <a:gd name="T105" fmla="*/ 177 h 669"/>
                <a:gd name="T106" fmla="*/ 380 w 745"/>
                <a:gd name="T107" fmla="*/ 183 h 669"/>
                <a:gd name="T108" fmla="*/ 380 w 745"/>
                <a:gd name="T109" fmla="*/ 146 h 669"/>
                <a:gd name="T110" fmla="*/ 347 w 745"/>
                <a:gd name="T111" fmla="*/ 131 h 669"/>
                <a:gd name="T112" fmla="*/ 295 w 745"/>
                <a:gd name="T113" fmla="*/ 58 h 669"/>
                <a:gd name="T114" fmla="*/ 248 w 745"/>
                <a:gd name="T115" fmla="*/ 39 h 669"/>
                <a:gd name="T116" fmla="*/ 232 w 745"/>
                <a:gd name="T117" fmla="*/ 6 h 669"/>
                <a:gd name="T118" fmla="*/ 206 w 745"/>
                <a:gd name="T119" fmla="*/ 0 h 669"/>
                <a:gd name="T120" fmla="*/ 180 w 745"/>
                <a:gd name="T121" fmla="*/ 19 h 669"/>
                <a:gd name="T122" fmla="*/ 159 w 745"/>
                <a:gd name="T123" fmla="*/ 24 h 669"/>
                <a:gd name="T124" fmla="*/ 130 w 745"/>
                <a:gd name="T125" fmla="*/ 0 h 66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745"/>
                <a:gd name="T190" fmla="*/ 0 h 669"/>
                <a:gd name="T191" fmla="*/ 745 w 745"/>
                <a:gd name="T192" fmla="*/ 669 h 669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745" h="669">
                  <a:moveTo>
                    <a:pt x="130" y="0"/>
                  </a:moveTo>
                  <a:lnTo>
                    <a:pt x="102" y="3"/>
                  </a:lnTo>
                  <a:lnTo>
                    <a:pt x="83" y="37"/>
                  </a:lnTo>
                  <a:lnTo>
                    <a:pt x="34" y="229"/>
                  </a:lnTo>
                  <a:lnTo>
                    <a:pt x="27" y="245"/>
                  </a:lnTo>
                  <a:lnTo>
                    <a:pt x="22" y="306"/>
                  </a:lnTo>
                  <a:lnTo>
                    <a:pt x="8" y="326"/>
                  </a:lnTo>
                  <a:lnTo>
                    <a:pt x="8" y="414"/>
                  </a:lnTo>
                  <a:lnTo>
                    <a:pt x="0" y="434"/>
                  </a:lnTo>
                  <a:lnTo>
                    <a:pt x="50" y="464"/>
                  </a:lnTo>
                  <a:lnTo>
                    <a:pt x="70" y="467"/>
                  </a:lnTo>
                  <a:lnTo>
                    <a:pt x="102" y="496"/>
                  </a:lnTo>
                  <a:lnTo>
                    <a:pt x="107" y="541"/>
                  </a:lnTo>
                  <a:lnTo>
                    <a:pt x="141" y="530"/>
                  </a:lnTo>
                  <a:lnTo>
                    <a:pt x="194" y="545"/>
                  </a:lnTo>
                  <a:lnTo>
                    <a:pt x="195" y="535"/>
                  </a:lnTo>
                  <a:lnTo>
                    <a:pt x="220" y="535"/>
                  </a:lnTo>
                  <a:lnTo>
                    <a:pt x="257" y="569"/>
                  </a:lnTo>
                  <a:lnTo>
                    <a:pt x="291" y="552"/>
                  </a:lnTo>
                  <a:lnTo>
                    <a:pt x="308" y="502"/>
                  </a:lnTo>
                  <a:lnTo>
                    <a:pt x="325" y="482"/>
                  </a:lnTo>
                  <a:lnTo>
                    <a:pt x="348" y="484"/>
                  </a:lnTo>
                  <a:lnTo>
                    <a:pt x="370" y="504"/>
                  </a:lnTo>
                  <a:lnTo>
                    <a:pt x="382" y="541"/>
                  </a:lnTo>
                  <a:lnTo>
                    <a:pt x="487" y="669"/>
                  </a:lnTo>
                  <a:lnTo>
                    <a:pt x="518" y="646"/>
                  </a:lnTo>
                  <a:lnTo>
                    <a:pt x="523" y="598"/>
                  </a:lnTo>
                  <a:lnTo>
                    <a:pt x="558" y="592"/>
                  </a:lnTo>
                  <a:lnTo>
                    <a:pt x="558" y="507"/>
                  </a:lnTo>
                  <a:lnTo>
                    <a:pt x="575" y="493"/>
                  </a:lnTo>
                  <a:lnTo>
                    <a:pt x="580" y="417"/>
                  </a:lnTo>
                  <a:lnTo>
                    <a:pt x="587" y="422"/>
                  </a:lnTo>
                  <a:lnTo>
                    <a:pt x="586" y="394"/>
                  </a:lnTo>
                  <a:lnTo>
                    <a:pt x="572" y="368"/>
                  </a:lnTo>
                  <a:lnTo>
                    <a:pt x="578" y="295"/>
                  </a:lnTo>
                  <a:lnTo>
                    <a:pt x="603" y="309"/>
                  </a:lnTo>
                  <a:lnTo>
                    <a:pt x="617" y="283"/>
                  </a:lnTo>
                  <a:lnTo>
                    <a:pt x="643" y="275"/>
                  </a:lnTo>
                  <a:lnTo>
                    <a:pt x="669" y="254"/>
                  </a:lnTo>
                  <a:lnTo>
                    <a:pt x="640" y="254"/>
                  </a:lnTo>
                  <a:lnTo>
                    <a:pt x="640" y="204"/>
                  </a:lnTo>
                  <a:lnTo>
                    <a:pt x="672" y="186"/>
                  </a:lnTo>
                  <a:lnTo>
                    <a:pt x="718" y="181"/>
                  </a:lnTo>
                  <a:lnTo>
                    <a:pt x="721" y="155"/>
                  </a:lnTo>
                  <a:lnTo>
                    <a:pt x="705" y="144"/>
                  </a:lnTo>
                  <a:lnTo>
                    <a:pt x="745" y="95"/>
                  </a:lnTo>
                  <a:lnTo>
                    <a:pt x="739" y="79"/>
                  </a:lnTo>
                  <a:lnTo>
                    <a:pt x="695" y="56"/>
                  </a:lnTo>
                  <a:lnTo>
                    <a:pt x="586" y="175"/>
                  </a:lnTo>
                  <a:lnTo>
                    <a:pt x="511" y="175"/>
                  </a:lnTo>
                  <a:lnTo>
                    <a:pt x="511" y="144"/>
                  </a:lnTo>
                  <a:lnTo>
                    <a:pt x="469" y="123"/>
                  </a:lnTo>
                  <a:lnTo>
                    <a:pt x="420" y="177"/>
                  </a:lnTo>
                  <a:lnTo>
                    <a:pt x="380" y="183"/>
                  </a:lnTo>
                  <a:lnTo>
                    <a:pt x="380" y="146"/>
                  </a:lnTo>
                  <a:lnTo>
                    <a:pt x="347" y="131"/>
                  </a:lnTo>
                  <a:lnTo>
                    <a:pt x="295" y="58"/>
                  </a:lnTo>
                  <a:lnTo>
                    <a:pt x="248" y="39"/>
                  </a:lnTo>
                  <a:lnTo>
                    <a:pt x="232" y="6"/>
                  </a:lnTo>
                  <a:lnTo>
                    <a:pt x="206" y="0"/>
                  </a:lnTo>
                  <a:lnTo>
                    <a:pt x="180" y="19"/>
                  </a:lnTo>
                  <a:lnTo>
                    <a:pt x="159" y="24"/>
                  </a:lnTo>
                  <a:lnTo>
                    <a:pt x="130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01</a:t>
              </a:r>
            </a:p>
          </p:txBody>
        </p:sp>
        <p:sp>
          <p:nvSpPr>
            <p:cNvPr id="137" name="FR-38">
              <a:extLst>
                <a:ext uri="{FF2B5EF4-FFF2-40B4-BE49-F238E27FC236}">
                  <a16:creationId xmlns:a16="http://schemas.microsoft.com/office/drawing/2014/main" id="{DCC2012D-F680-479A-A8E7-40415BC2ABB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751020" y="3720188"/>
              <a:ext cx="855961" cy="838912"/>
            </a:xfrm>
            <a:custGeom>
              <a:avLst/>
              <a:gdLst>
                <a:gd name="T0" fmla="*/ 285 w 881"/>
                <a:gd name="T1" fmla="*/ 20 h 886"/>
                <a:gd name="T2" fmla="*/ 234 w 881"/>
                <a:gd name="T3" fmla="*/ 87 h 886"/>
                <a:gd name="T4" fmla="*/ 172 w 881"/>
                <a:gd name="T5" fmla="*/ 53 h 886"/>
                <a:gd name="T6" fmla="*/ 206 w 881"/>
                <a:gd name="T7" fmla="*/ 122 h 886"/>
                <a:gd name="T8" fmla="*/ 76 w 881"/>
                <a:gd name="T9" fmla="*/ 212 h 886"/>
                <a:gd name="T10" fmla="*/ 56 w 881"/>
                <a:gd name="T11" fmla="*/ 269 h 886"/>
                <a:gd name="T12" fmla="*/ 8 w 881"/>
                <a:gd name="T13" fmla="*/ 314 h 886"/>
                <a:gd name="T14" fmla="*/ 0 w 881"/>
                <a:gd name="T15" fmla="*/ 397 h 886"/>
                <a:gd name="T16" fmla="*/ 62 w 881"/>
                <a:gd name="T17" fmla="*/ 444 h 886"/>
                <a:gd name="T18" fmla="*/ 130 w 881"/>
                <a:gd name="T19" fmla="*/ 407 h 886"/>
                <a:gd name="T20" fmla="*/ 217 w 881"/>
                <a:gd name="T21" fmla="*/ 447 h 886"/>
                <a:gd name="T22" fmla="*/ 234 w 881"/>
                <a:gd name="T23" fmla="*/ 515 h 886"/>
                <a:gd name="T24" fmla="*/ 226 w 881"/>
                <a:gd name="T25" fmla="*/ 595 h 886"/>
                <a:gd name="T26" fmla="*/ 251 w 881"/>
                <a:gd name="T27" fmla="*/ 603 h 886"/>
                <a:gd name="T28" fmla="*/ 356 w 881"/>
                <a:gd name="T29" fmla="*/ 634 h 886"/>
                <a:gd name="T30" fmla="*/ 393 w 881"/>
                <a:gd name="T31" fmla="*/ 597 h 886"/>
                <a:gd name="T32" fmla="*/ 404 w 881"/>
                <a:gd name="T33" fmla="*/ 810 h 886"/>
                <a:gd name="T34" fmla="*/ 455 w 881"/>
                <a:gd name="T35" fmla="*/ 824 h 886"/>
                <a:gd name="T36" fmla="*/ 515 w 881"/>
                <a:gd name="T37" fmla="*/ 864 h 886"/>
                <a:gd name="T38" fmla="*/ 557 w 881"/>
                <a:gd name="T39" fmla="*/ 880 h 886"/>
                <a:gd name="T40" fmla="*/ 607 w 881"/>
                <a:gd name="T41" fmla="*/ 878 h 886"/>
                <a:gd name="T42" fmla="*/ 587 w 881"/>
                <a:gd name="T43" fmla="*/ 836 h 886"/>
                <a:gd name="T44" fmla="*/ 672 w 881"/>
                <a:gd name="T45" fmla="*/ 815 h 886"/>
                <a:gd name="T46" fmla="*/ 693 w 881"/>
                <a:gd name="T47" fmla="*/ 766 h 886"/>
                <a:gd name="T48" fmla="*/ 751 w 881"/>
                <a:gd name="T49" fmla="*/ 747 h 886"/>
                <a:gd name="T50" fmla="*/ 831 w 881"/>
                <a:gd name="T51" fmla="*/ 735 h 886"/>
                <a:gd name="T52" fmla="*/ 881 w 881"/>
                <a:gd name="T53" fmla="*/ 680 h 886"/>
                <a:gd name="T54" fmla="*/ 850 w 881"/>
                <a:gd name="T55" fmla="*/ 636 h 886"/>
                <a:gd name="T56" fmla="*/ 787 w 881"/>
                <a:gd name="T57" fmla="*/ 617 h 886"/>
                <a:gd name="T58" fmla="*/ 816 w 881"/>
                <a:gd name="T59" fmla="*/ 547 h 886"/>
                <a:gd name="T60" fmla="*/ 772 w 881"/>
                <a:gd name="T61" fmla="*/ 510 h 886"/>
                <a:gd name="T62" fmla="*/ 761 w 881"/>
                <a:gd name="T63" fmla="*/ 504 h 886"/>
                <a:gd name="T64" fmla="*/ 738 w 881"/>
                <a:gd name="T65" fmla="*/ 458 h 886"/>
                <a:gd name="T66" fmla="*/ 775 w 881"/>
                <a:gd name="T67" fmla="*/ 390 h 886"/>
                <a:gd name="T68" fmla="*/ 719 w 881"/>
                <a:gd name="T69" fmla="*/ 300 h 886"/>
                <a:gd name="T70" fmla="*/ 685 w 881"/>
                <a:gd name="T71" fmla="*/ 320 h 886"/>
                <a:gd name="T72" fmla="*/ 631 w 881"/>
                <a:gd name="T73" fmla="*/ 277 h 886"/>
                <a:gd name="T74" fmla="*/ 625 w 881"/>
                <a:gd name="T75" fmla="*/ 337 h 886"/>
                <a:gd name="T76" fmla="*/ 594 w 881"/>
                <a:gd name="T77" fmla="*/ 328 h 886"/>
                <a:gd name="T78" fmla="*/ 498 w 881"/>
                <a:gd name="T79" fmla="*/ 257 h 886"/>
                <a:gd name="T80" fmla="*/ 467 w 881"/>
                <a:gd name="T81" fmla="*/ 201 h 886"/>
                <a:gd name="T82" fmla="*/ 359 w 881"/>
                <a:gd name="T83" fmla="*/ 59 h 886"/>
                <a:gd name="T84" fmla="*/ 325 w 881"/>
                <a:gd name="T85" fmla="*/ 2 h 88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881"/>
                <a:gd name="T130" fmla="*/ 0 h 886"/>
                <a:gd name="T131" fmla="*/ 881 w 881"/>
                <a:gd name="T132" fmla="*/ 886 h 88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881" h="886">
                  <a:moveTo>
                    <a:pt x="302" y="0"/>
                  </a:moveTo>
                  <a:lnTo>
                    <a:pt x="285" y="20"/>
                  </a:lnTo>
                  <a:lnTo>
                    <a:pt x="268" y="70"/>
                  </a:lnTo>
                  <a:lnTo>
                    <a:pt x="234" y="87"/>
                  </a:lnTo>
                  <a:lnTo>
                    <a:pt x="197" y="53"/>
                  </a:lnTo>
                  <a:lnTo>
                    <a:pt x="172" y="53"/>
                  </a:lnTo>
                  <a:lnTo>
                    <a:pt x="169" y="90"/>
                  </a:lnTo>
                  <a:lnTo>
                    <a:pt x="206" y="122"/>
                  </a:lnTo>
                  <a:lnTo>
                    <a:pt x="150" y="195"/>
                  </a:lnTo>
                  <a:lnTo>
                    <a:pt x="76" y="212"/>
                  </a:lnTo>
                  <a:lnTo>
                    <a:pt x="19" y="232"/>
                  </a:lnTo>
                  <a:lnTo>
                    <a:pt x="56" y="269"/>
                  </a:lnTo>
                  <a:lnTo>
                    <a:pt x="65" y="286"/>
                  </a:lnTo>
                  <a:lnTo>
                    <a:pt x="8" y="314"/>
                  </a:lnTo>
                  <a:lnTo>
                    <a:pt x="2" y="396"/>
                  </a:lnTo>
                  <a:lnTo>
                    <a:pt x="0" y="397"/>
                  </a:lnTo>
                  <a:lnTo>
                    <a:pt x="16" y="430"/>
                  </a:lnTo>
                  <a:lnTo>
                    <a:pt x="62" y="444"/>
                  </a:lnTo>
                  <a:lnTo>
                    <a:pt x="93" y="433"/>
                  </a:lnTo>
                  <a:lnTo>
                    <a:pt x="130" y="407"/>
                  </a:lnTo>
                  <a:lnTo>
                    <a:pt x="178" y="447"/>
                  </a:lnTo>
                  <a:lnTo>
                    <a:pt x="217" y="447"/>
                  </a:lnTo>
                  <a:lnTo>
                    <a:pt x="246" y="487"/>
                  </a:lnTo>
                  <a:lnTo>
                    <a:pt x="234" y="515"/>
                  </a:lnTo>
                  <a:lnTo>
                    <a:pt x="240" y="555"/>
                  </a:lnTo>
                  <a:lnTo>
                    <a:pt x="226" y="595"/>
                  </a:lnTo>
                  <a:lnTo>
                    <a:pt x="232" y="609"/>
                  </a:lnTo>
                  <a:lnTo>
                    <a:pt x="251" y="603"/>
                  </a:lnTo>
                  <a:lnTo>
                    <a:pt x="297" y="617"/>
                  </a:lnTo>
                  <a:lnTo>
                    <a:pt x="356" y="634"/>
                  </a:lnTo>
                  <a:lnTo>
                    <a:pt x="382" y="617"/>
                  </a:lnTo>
                  <a:lnTo>
                    <a:pt x="393" y="597"/>
                  </a:lnTo>
                  <a:lnTo>
                    <a:pt x="402" y="597"/>
                  </a:lnTo>
                  <a:lnTo>
                    <a:pt x="404" y="810"/>
                  </a:lnTo>
                  <a:lnTo>
                    <a:pt x="418" y="824"/>
                  </a:lnTo>
                  <a:lnTo>
                    <a:pt x="455" y="824"/>
                  </a:lnTo>
                  <a:lnTo>
                    <a:pt x="489" y="844"/>
                  </a:lnTo>
                  <a:lnTo>
                    <a:pt x="515" y="864"/>
                  </a:lnTo>
                  <a:lnTo>
                    <a:pt x="540" y="866"/>
                  </a:lnTo>
                  <a:lnTo>
                    <a:pt x="557" y="880"/>
                  </a:lnTo>
                  <a:lnTo>
                    <a:pt x="604" y="886"/>
                  </a:lnTo>
                  <a:lnTo>
                    <a:pt x="607" y="878"/>
                  </a:lnTo>
                  <a:lnTo>
                    <a:pt x="587" y="867"/>
                  </a:lnTo>
                  <a:lnTo>
                    <a:pt x="587" y="836"/>
                  </a:lnTo>
                  <a:lnTo>
                    <a:pt x="652" y="836"/>
                  </a:lnTo>
                  <a:lnTo>
                    <a:pt x="672" y="815"/>
                  </a:lnTo>
                  <a:lnTo>
                    <a:pt x="660" y="792"/>
                  </a:lnTo>
                  <a:lnTo>
                    <a:pt x="693" y="766"/>
                  </a:lnTo>
                  <a:lnTo>
                    <a:pt x="717" y="776"/>
                  </a:lnTo>
                  <a:lnTo>
                    <a:pt x="751" y="747"/>
                  </a:lnTo>
                  <a:lnTo>
                    <a:pt x="810" y="758"/>
                  </a:lnTo>
                  <a:lnTo>
                    <a:pt x="831" y="735"/>
                  </a:lnTo>
                  <a:lnTo>
                    <a:pt x="881" y="737"/>
                  </a:lnTo>
                  <a:lnTo>
                    <a:pt x="881" y="680"/>
                  </a:lnTo>
                  <a:lnTo>
                    <a:pt x="860" y="670"/>
                  </a:lnTo>
                  <a:lnTo>
                    <a:pt x="850" y="636"/>
                  </a:lnTo>
                  <a:lnTo>
                    <a:pt x="795" y="630"/>
                  </a:lnTo>
                  <a:lnTo>
                    <a:pt x="787" y="617"/>
                  </a:lnTo>
                  <a:lnTo>
                    <a:pt x="797" y="563"/>
                  </a:lnTo>
                  <a:lnTo>
                    <a:pt x="816" y="547"/>
                  </a:lnTo>
                  <a:lnTo>
                    <a:pt x="801" y="527"/>
                  </a:lnTo>
                  <a:lnTo>
                    <a:pt x="772" y="510"/>
                  </a:lnTo>
                  <a:lnTo>
                    <a:pt x="755" y="527"/>
                  </a:lnTo>
                  <a:lnTo>
                    <a:pt x="761" y="504"/>
                  </a:lnTo>
                  <a:lnTo>
                    <a:pt x="761" y="481"/>
                  </a:lnTo>
                  <a:lnTo>
                    <a:pt x="738" y="458"/>
                  </a:lnTo>
                  <a:lnTo>
                    <a:pt x="750" y="405"/>
                  </a:lnTo>
                  <a:lnTo>
                    <a:pt x="775" y="390"/>
                  </a:lnTo>
                  <a:lnTo>
                    <a:pt x="772" y="354"/>
                  </a:lnTo>
                  <a:lnTo>
                    <a:pt x="719" y="300"/>
                  </a:lnTo>
                  <a:lnTo>
                    <a:pt x="699" y="300"/>
                  </a:lnTo>
                  <a:lnTo>
                    <a:pt x="685" y="320"/>
                  </a:lnTo>
                  <a:lnTo>
                    <a:pt x="651" y="275"/>
                  </a:lnTo>
                  <a:lnTo>
                    <a:pt x="631" y="277"/>
                  </a:lnTo>
                  <a:lnTo>
                    <a:pt x="614" y="314"/>
                  </a:lnTo>
                  <a:lnTo>
                    <a:pt x="625" y="337"/>
                  </a:lnTo>
                  <a:lnTo>
                    <a:pt x="617" y="345"/>
                  </a:lnTo>
                  <a:lnTo>
                    <a:pt x="594" y="328"/>
                  </a:lnTo>
                  <a:lnTo>
                    <a:pt x="529" y="314"/>
                  </a:lnTo>
                  <a:lnTo>
                    <a:pt x="498" y="257"/>
                  </a:lnTo>
                  <a:lnTo>
                    <a:pt x="498" y="235"/>
                  </a:lnTo>
                  <a:lnTo>
                    <a:pt x="467" y="201"/>
                  </a:lnTo>
                  <a:lnTo>
                    <a:pt x="463" y="186"/>
                  </a:lnTo>
                  <a:lnTo>
                    <a:pt x="359" y="59"/>
                  </a:lnTo>
                  <a:lnTo>
                    <a:pt x="347" y="22"/>
                  </a:lnTo>
                  <a:lnTo>
                    <a:pt x="325" y="2"/>
                  </a:lnTo>
                  <a:lnTo>
                    <a:pt x="302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38</a:t>
              </a:r>
            </a:p>
          </p:txBody>
        </p:sp>
        <p:sp>
          <p:nvSpPr>
            <p:cNvPr id="138" name="FR-74">
              <a:extLst>
                <a:ext uri="{FF2B5EF4-FFF2-40B4-BE49-F238E27FC236}">
                  <a16:creationId xmlns:a16="http://schemas.microsoft.com/office/drawing/2014/main" id="{7E2E406F-D37B-44B0-9EC2-178E4FC072B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284416" y="3309253"/>
              <a:ext cx="620839" cy="526451"/>
            </a:xfrm>
            <a:custGeom>
              <a:avLst/>
              <a:gdLst>
                <a:gd name="T0" fmla="*/ 396 w 639"/>
                <a:gd name="T1" fmla="*/ 0 h 556"/>
                <a:gd name="T2" fmla="*/ 337 w 639"/>
                <a:gd name="T3" fmla="*/ 11 h 556"/>
                <a:gd name="T4" fmla="*/ 279 w 639"/>
                <a:gd name="T5" fmla="*/ 57 h 556"/>
                <a:gd name="T6" fmla="*/ 264 w 639"/>
                <a:gd name="T7" fmla="*/ 34 h 556"/>
                <a:gd name="T8" fmla="*/ 235 w 639"/>
                <a:gd name="T9" fmla="*/ 36 h 556"/>
                <a:gd name="T10" fmla="*/ 209 w 639"/>
                <a:gd name="T11" fmla="*/ 94 h 556"/>
                <a:gd name="T12" fmla="*/ 212 w 639"/>
                <a:gd name="T13" fmla="*/ 117 h 556"/>
                <a:gd name="T14" fmla="*/ 240 w 639"/>
                <a:gd name="T15" fmla="*/ 141 h 556"/>
                <a:gd name="T16" fmla="*/ 188 w 639"/>
                <a:gd name="T17" fmla="*/ 175 h 556"/>
                <a:gd name="T18" fmla="*/ 154 w 639"/>
                <a:gd name="T19" fmla="*/ 206 h 556"/>
                <a:gd name="T20" fmla="*/ 97 w 639"/>
                <a:gd name="T21" fmla="*/ 206 h 556"/>
                <a:gd name="T22" fmla="*/ 71 w 639"/>
                <a:gd name="T23" fmla="*/ 227 h 556"/>
                <a:gd name="T24" fmla="*/ 45 w 639"/>
                <a:gd name="T25" fmla="*/ 235 h 556"/>
                <a:gd name="T26" fmla="*/ 31 w 639"/>
                <a:gd name="T27" fmla="*/ 261 h 556"/>
                <a:gd name="T28" fmla="*/ 6 w 639"/>
                <a:gd name="T29" fmla="*/ 247 h 556"/>
                <a:gd name="T30" fmla="*/ 0 w 639"/>
                <a:gd name="T31" fmla="*/ 320 h 556"/>
                <a:gd name="T32" fmla="*/ 14 w 639"/>
                <a:gd name="T33" fmla="*/ 346 h 556"/>
                <a:gd name="T34" fmla="*/ 15 w 639"/>
                <a:gd name="T35" fmla="*/ 374 h 556"/>
                <a:gd name="T36" fmla="*/ 36 w 639"/>
                <a:gd name="T37" fmla="*/ 391 h 556"/>
                <a:gd name="T38" fmla="*/ 36 w 639"/>
                <a:gd name="T39" fmla="*/ 465 h 556"/>
                <a:gd name="T40" fmla="*/ 88 w 639"/>
                <a:gd name="T41" fmla="*/ 473 h 556"/>
                <a:gd name="T42" fmla="*/ 107 w 639"/>
                <a:gd name="T43" fmla="*/ 510 h 556"/>
                <a:gd name="T44" fmla="*/ 153 w 639"/>
                <a:gd name="T45" fmla="*/ 516 h 556"/>
                <a:gd name="T46" fmla="*/ 161 w 639"/>
                <a:gd name="T47" fmla="*/ 499 h 556"/>
                <a:gd name="T48" fmla="*/ 184 w 639"/>
                <a:gd name="T49" fmla="*/ 499 h 556"/>
                <a:gd name="T50" fmla="*/ 223 w 639"/>
                <a:gd name="T51" fmla="*/ 541 h 556"/>
                <a:gd name="T52" fmla="*/ 238 w 639"/>
                <a:gd name="T53" fmla="*/ 556 h 556"/>
                <a:gd name="T54" fmla="*/ 283 w 639"/>
                <a:gd name="T55" fmla="*/ 547 h 556"/>
                <a:gd name="T56" fmla="*/ 294 w 639"/>
                <a:gd name="T57" fmla="*/ 524 h 556"/>
                <a:gd name="T58" fmla="*/ 306 w 639"/>
                <a:gd name="T59" fmla="*/ 479 h 556"/>
                <a:gd name="T60" fmla="*/ 331 w 639"/>
                <a:gd name="T61" fmla="*/ 459 h 556"/>
                <a:gd name="T62" fmla="*/ 351 w 639"/>
                <a:gd name="T63" fmla="*/ 400 h 556"/>
                <a:gd name="T64" fmla="*/ 376 w 639"/>
                <a:gd name="T65" fmla="*/ 383 h 556"/>
                <a:gd name="T66" fmla="*/ 396 w 639"/>
                <a:gd name="T67" fmla="*/ 388 h 556"/>
                <a:gd name="T68" fmla="*/ 402 w 639"/>
                <a:gd name="T69" fmla="*/ 405 h 556"/>
                <a:gd name="T70" fmla="*/ 388 w 639"/>
                <a:gd name="T71" fmla="*/ 422 h 556"/>
                <a:gd name="T72" fmla="*/ 413 w 639"/>
                <a:gd name="T73" fmla="*/ 454 h 556"/>
                <a:gd name="T74" fmla="*/ 456 w 639"/>
                <a:gd name="T75" fmla="*/ 454 h 556"/>
                <a:gd name="T76" fmla="*/ 481 w 639"/>
                <a:gd name="T77" fmla="*/ 496 h 556"/>
                <a:gd name="T78" fmla="*/ 476 w 639"/>
                <a:gd name="T79" fmla="*/ 510 h 556"/>
                <a:gd name="T80" fmla="*/ 501 w 639"/>
                <a:gd name="T81" fmla="*/ 493 h 556"/>
                <a:gd name="T82" fmla="*/ 521 w 639"/>
                <a:gd name="T83" fmla="*/ 471 h 556"/>
                <a:gd name="T84" fmla="*/ 538 w 639"/>
                <a:gd name="T85" fmla="*/ 473 h 556"/>
                <a:gd name="T86" fmla="*/ 540 w 639"/>
                <a:gd name="T87" fmla="*/ 427 h 556"/>
                <a:gd name="T88" fmla="*/ 628 w 639"/>
                <a:gd name="T89" fmla="*/ 391 h 556"/>
                <a:gd name="T90" fmla="*/ 639 w 639"/>
                <a:gd name="T91" fmla="*/ 365 h 556"/>
                <a:gd name="T92" fmla="*/ 633 w 639"/>
                <a:gd name="T93" fmla="*/ 307 h 556"/>
                <a:gd name="T94" fmla="*/ 576 w 639"/>
                <a:gd name="T95" fmla="*/ 248 h 556"/>
                <a:gd name="T96" fmla="*/ 558 w 639"/>
                <a:gd name="T97" fmla="*/ 258 h 556"/>
                <a:gd name="T98" fmla="*/ 558 w 639"/>
                <a:gd name="T99" fmla="*/ 234 h 556"/>
                <a:gd name="T100" fmla="*/ 558 w 639"/>
                <a:gd name="T101" fmla="*/ 196 h 556"/>
                <a:gd name="T102" fmla="*/ 508 w 639"/>
                <a:gd name="T103" fmla="*/ 172 h 556"/>
                <a:gd name="T104" fmla="*/ 506 w 639"/>
                <a:gd name="T105" fmla="*/ 151 h 556"/>
                <a:gd name="T106" fmla="*/ 535 w 639"/>
                <a:gd name="T107" fmla="*/ 120 h 556"/>
                <a:gd name="T108" fmla="*/ 535 w 639"/>
                <a:gd name="T109" fmla="*/ 84 h 556"/>
                <a:gd name="T110" fmla="*/ 488 w 639"/>
                <a:gd name="T111" fmla="*/ 34 h 556"/>
                <a:gd name="T112" fmla="*/ 485 w 639"/>
                <a:gd name="T113" fmla="*/ 0 h 556"/>
                <a:gd name="T114" fmla="*/ 396 w 639"/>
                <a:gd name="T115" fmla="*/ 0 h 55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39"/>
                <a:gd name="T175" fmla="*/ 0 h 556"/>
                <a:gd name="T176" fmla="*/ 639 w 639"/>
                <a:gd name="T177" fmla="*/ 556 h 55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39" h="556">
                  <a:moveTo>
                    <a:pt x="396" y="0"/>
                  </a:moveTo>
                  <a:lnTo>
                    <a:pt x="337" y="11"/>
                  </a:lnTo>
                  <a:lnTo>
                    <a:pt x="279" y="57"/>
                  </a:lnTo>
                  <a:lnTo>
                    <a:pt x="264" y="34"/>
                  </a:lnTo>
                  <a:lnTo>
                    <a:pt x="235" y="36"/>
                  </a:lnTo>
                  <a:lnTo>
                    <a:pt x="209" y="94"/>
                  </a:lnTo>
                  <a:lnTo>
                    <a:pt x="212" y="117"/>
                  </a:lnTo>
                  <a:lnTo>
                    <a:pt x="240" y="141"/>
                  </a:lnTo>
                  <a:lnTo>
                    <a:pt x="188" y="175"/>
                  </a:lnTo>
                  <a:lnTo>
                    <a:pt x="154" y="206"/>
                  </a:lnTo>
                  <a:lnTo>
                    <a:pt x="97" y="206"/>
                  </a:lnTo>
                  <a:lnTo>
                    <a:pt x="71" y="227"/>
                  </a:lnTo>
                  <a:lnTo>
                    <a:pt x="45" y="235"/>
                  </a:lnTo>
                  <a:lnTo>
                    <a:pt x="31" y="261"/>
                  </a:lnTo>
                  <a:lnTo>
                    <a:pt x="6" y="247"/>
                  </a:lnTo>
                  <a:lnTo>
                    <a:pt x="0" y="320"/>
                  </a:lnTo>
                  <a:lnTo>
                    <a:pt x="14" y="346"/>
                  </a:lnTo>
                  <a:lnTo>
                    <a:pt x="15" y="374"/>
                  </a:lnTo>
                  <a:lnTo>
                    <a:pt x="36" y="391"/>
                  </a:lnTo>
                  <a:lnTo>
                    <a:pt x="36" y="465"/>
                  </a:lnTo>
                  <a:lnTo>
                    <a:pt x="88" y="473"/>
                  </a:lnTo>
                  <a:lnTo>
                    <a:pt x="107" y="510"/>
                  </a:lnTo>
                  <a:lnTo>
                    <a:pt x="153" y="516"/>
                  </a:lnTo>
                  <a:lnTo>
                    <a:pt x="161" y="499"/>
                  </a:lnTo>
                  <a:lnTo>
                    <a:pt x="184" y="499"/>
                  </a:lnTo>
                  <a:lnTo>
                    <a:pt x="223" y="541"/>
                  </a:lnTo>
                  <a:lnTo>
                    <a:pt x="238" y="556"/>
                  </a:lnTo>
                  <a:lnTo>
                    <a:pt x="283" y="547"/>
                  </a:lnTo>
                  <a:lnTo>
                    <a:pt x="294" y="524"/>
                  </a:lnTo>
                  <a:lnTo>
                    <a:pt x="306" y="479"/>
                  </a:lnTo>
                  <a:lnTo>
                    <a:pt x="331" y="459"/>
                  </a:lnTo>
                  <a:lnTo>
                    <a:pt x="351" y="400"/>
                  </a:lnTo>
                  <a:lnTo>
                    <a:pt x="376" y="383"/>
                  </a:lnTo>
                  <a:lnTo>
                    <a:pt x="396" y="388"/>
                  </a:lnTo>
                  <a:lnTo>
                    <a:pt x="402" y="405"/>
                  </a:lnTo>
                  <a:lnTo>
                    <a:pt x="388" y="422"/>
                  </a:lnTo>
                  <a:lnTo>
                    <a:pt x="413" y="454"/>
                  </a:lnTo>
                  <a:lnTo>
                    <a:pt x="456" y="454"/>
                  </a:lnTo>
                  <a:lnTo>
                    <a:pt x="481" y="496"/>
                  </a:lnTo>
                  <a:lnTo>
                    <a:pt x="476" y="510"/>
                  </a:lnTo>
                  <a:lnTo>
                    <a:pt x="501" y="493"/>
                  </a:lnTo>
                  <a:lnTo>
                    <a:pt x="521" y="471"/>
                  </a:lnTo>
                  <a:lnTo>
                    <a:pt x="538" y="473"/>
                  </a:lnTo>
                  <a:lnTo>
                    <a:pt x="540" y="427"/>
                  </a:lnTo>
                  <a:lnTo>
                    <a:pt x="628" y="391"/>
                  </a:lnTo>
                  <a:lnTo>
                    <a:pt x="639" y="365"/>
                  </a:lnTo>
                  <a:lnTo>
                    <a:pt x="633" y="307"/>
                  </a:lnTo>
                  <a:lnTo>
                    <a:pt x="576" y="248"/>
                  </a:lnTo>
                  <a:lnTo>
                    <a:pt x="558" y="258"/>
                  </a:lnTo>
                  <a:lnTo>
                    <a:pt x="558" y="234"/>
                  </a:lnTo>
                  <a:lnTo>
                    <a:pt x="558" y="196"/>
                  </a:lnTo>
                  <a:lnTo>
                    <a:pt x="508" y="172"/>
                  </a:lnTo>
                  <a:lnTo>
                    <a:pt x="506" y="151"/>
                  </a:lnTo>
                  <a:lnTo>
                    <a:pt x="535" y="120"/>
                  </a:lnTo>
                  <a:lnTo>
                    <a:pt x="535" y="84"/>
                  </a:lnTo>
                  <a:lnTo>
                    <a:pt x="488" y="34"/>
                  </a:lnTo>
                  <a:lnTo>
                    <a:pt x="485" y="0"/>
                  </a:lnTo>
                  <a:lnTo>
                    <a:pt x="396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74</a:t>
              </a:r>
            </a:p>
          </p:txBody>
        </p:sp>
        <p:sp>
          <p:nvSpPr>
            <p:cNvPr id="139" name="FR-42">
              <a:extLst>
                <a:ext uri="{FF2B5EF4-FFF2-40B4-BE49-F238E27FC236}">
                  <a16:creationId xmlns:a16="http://schemas.microsoft.com/office/drawing/2014/main" id="{54D6C70F-8A79-4F88-BAD3-9D649807825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195277" y="3458856"/>
              <a:ext cx="565459" cy="733812"/>
            </a:xfrm>
            <a:custGeom>
              <a:avLst/>
              <a:gdLst>
                <a:gd name="T0" fmla="*/ 49 w 582"/>
                <a:gd name="T1" fmla="*/ 8 h 775"/>
                <a:gd name="T2" fmla="*/ 60 w 582"/>
                <a:gd name="T3" fmla="*/ 73 h 775"/>
                <a:gd name="T4" fmla="*/ 2 w 582"/>
                <a:gd name="T5" fmla="*/ 224 h 775"/>
                <a:gd name="T6" fmla="*/ 42 w 582"/>
                <a:gd name="T7" fmla="*/ 281 h 775"/>
                <a:gd name="T8" fmla="*/ 10 w 582"/>
                <a:gd name="T9" fmla="*/ 362 h 775"/>
                <a:gd name="T10" fmla="*/ 70 w 582"/>
                <a:gd name="T11" fmla="*/ 471 h 775"/>
                <a:gd name="T12" fmla="*/ 161 w 582"/>
                <a:gd name="T13" fmla="*/ 602 h 775"/>
                <a:gd name="T14" fmla="*/ 119 w 582"/>
                <a:gd name="T15" fmla="*/ 680 h 775"/>
                <a:gd name="T16" fmla="*/ 250 w 582"/>
                <a:gd name="T17" fmla="*/ 656 h 775"/>
                <a:gd name="T18" fmla="*/ 362 w 582"/>
                <a:gd name="T19" fmla="*/ 690 h 775"/>
                <a:gd name="T20" fmla="*/ 398 w 582"/>
                <a:gd name="T21" fmla="*/ 737 h 775"/>
                <a:gd name="T22" fmla="*/ 455 w 582"/>
                <a:gd name="T23" fmla="*/ 768 h 775"/>
                <a:gd name="T24" fmla="*/ 512 w 582"/>
                <a:gd name="T25" fmla="*/ 709 h 775"/>
                <a:gd name="T26" fmla="*/ 580 w 582"/>
                <a:gd name="T27" fmla="*/ 590 h 775"/>
                <a:gd name="T28" fmla="*/ 552 w 582"/>
                <a:gd name="T29" fmla="*/ 584 h 775"/>
                <a:gd name="T30" fmla="*/ 500 w 582"/>
                <a:gd name="T31" fmla="*/ 581 h 775"/>
                <a:gd name="T32" fmla="*/ 520 w 582"/>
                <a:gd name="T33" fmla="*/ 522 h 775"/>
                <a:gd name="T34" fmla="*/ 359 w 582"/>
                <a:gd name="T35" fmla="*/ 440 h 775"/>
                <a:gd name="T36" fmla="*/ 376 w 582"/>
                <a:gd name="T37" fmla="*/ 403 h 775"/>
                <a:gd name="T38" fmla="*/ 356 w 582"/>
                <a:gd name="T39" fmla="*/ 372 h 775"/>
                <a:gd name="T40" fmla="*/ 373 w 582"/>
                <a:gd name="T41" fmla="*/ 310 h 775"/>
                <a:gd name="T42" fmla="*/ 339 w 582"/>
                <a:gd name="T43" fmla="*/ 247 h 775"/>
                <a:gd name="T44" fmla="*/ 316 w 582"/>
                <a:gd name="T45" fmla="*/ 199 h 775"/>
                <a:gd name="T46" fmla="*/ 322 w 582"/>
                <a:gd name="T47" fmla="*/ 140 h 775"/>
                <a:gd name="T48" fmla="*/ 379 w 582"/>
                <a:gd name="T49" fmla="*/ 89 h 775"/>
                <a:gd name="T50" fmla="*/ 376 w 582"/>
                <a:gd name="T51" fmla="*/ 43 h 775"/>
                <a:gd name="T52" fmla="*/ 362 w 582"/>
                <a:gd name="T53" fmla="*/ 7 h 775"/>
                <a:gd name="T54" fmla="*/ 323 w 582"/>
                <a:gd name="T55" fmla="*/ 60 h 775"/>
                <a:gd name="T56" fmla="*/ 286 w 582"/>
                <a:gd name="T57" fmla="*/ 65 h 775"/>
                <a:gd name="T58" fmla="*/ 172 w 582"/>
                <a:gd name="T59" fmla="*/ 71 h 775"/>
                <a:gd name="T60" fmla="*/ 146 w 582"/>
                <a:gd name="T61" fmla="*/ 52 h 775"/>
                <a:gd name="T62" fmla="*/ 104 w 582"/>
                <a:gd name="T63" fmla="*/ 3 h 775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582"/>
                <a:gd name="T97" fmla="*/ 0 h 775"/>
                <a:gd name="T98" fmla="*/ 582 w 582"/>
                <a:gd name="T99" fmla="*/ 775 h 775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582" h="775">
                  <a:moveTo>
                    <a:pt x="96" y="0"/>
                  </a:moveTo>
                  <a:lnTo>
                    <a:pt x="49" y="8"/>
                  </a:lnTo>
                  <a:lnTo>
                    <a:pt x="42" y="37"/>
                  </a:lnTo>
                  <a:lnTo>
                    <a:pt x="60" y="73"/>
                  </a:lnTo>
                  <a:lnTo>
                    <a:pt x="65" y="221"/>
                  </a:lnTo>
                  <a:lnTo>
                    <a:pt x="2" y="224"/>
                  </a:lnTo>
                  <a:lnTo>
                    <a:pt x="0" y="248"/>
                  </a:lnTo>
                  <a:lnTo>
                    <a:pt x="42" y="281"/>
                  </a:lnTo>
                  <a:lnTo>
                    <a:pt x="18" y="305"/>
                  </a:lnTo>
                  <a:lnTo>
                    <a:pt x="10" y="362"/>
                  </a:lnTo>
                  <a:lnTo>
                    <a:pt x="42" y="404"/>
                  </a:lnTo>
                  <a:lnTo>
                    <a:pt x="70" y="471"/>
                  </a:lnTo>
                  <a:lnTo>
                    <a:pt x="138" y="516"/>
                  </a:lnTo>
                  <a:lnTo>
                    <a:pt x="161" y="602"/>
                  </a:lnTo>
                  <a:lnTo>
                    <a:pt x="112" y="648"/>
                  </a:lnTo>
                  <a:lnTo>
                    <a:pt x="119" y="680"/>
                  </a:lnTo>
                  <a:lnTo>
                    <a:pt x="192" y="703"/>
                  </a:lnTo>
                  <a:lnTo>
                    <a:pt x="250" y="656"/>
                  </a:lnTo>
                  <a:lnTo>
                    <a:pt x="278" y="654"/>
                  </a:lnTo>
                  <a:lnTo>
                    <a:pt x="362" y="690"/>
                  </a:lnTo>
                  <a:lnTo>
                    <a:pt x="357" y="740"/>
                  </a:lnTo>
                  <a:lnTo>
                    <a:pt x="398" y="737"/>
                  </a:lnTo>
                  <a:lnTo>
                    <a:pt x="431" y="775"/>
                  </a:lnTo>
                  <a:lnTo>
                    <a:pt x="455" y="768"/>
                  </a:lnTo>
                  <a:lnTo>
                    <a:pt x="500" y="760"/>
                  </a:lnTo>
                  <a:lnTo>
                    <a:pt x="512" y="709"/>
                  </a:lnTo>
                  <a:lnTo>
                    <a:pt x="574" y="672"/>
                  </a:lnTo>
                  <a:lnTo>
                    <a:pt x="580" y="590"/>
                  </a:lnTo>
                  <a:lnTo>
                    <a:pt x="582" y="589"/>
                  </a:lnTo>
                  <a:lnTo>
                    <a:pt x="552" y="584"/>
                  </a:lnTo>
                  <a:lnTo>
                    <a:pt x="523" y="596"/>
                  </a:lnTo>
                  <a:lnTo>
                    <a:pt x="500" y="581"/>
                  </a:lnTo>
                  <a:lnTo>
                    <a:pt x="529" y="548"/>
                  </a:lnTo>
                  <a:lnTo>
                    <a:pt x="520" y="522"/>
                  </a:lnTo>
                  <a:lnTo>
                    <a:pt x="432" y="508"/>
                  </a:lnTo>
                  <a:lnTo>
                    <a:pt x="359" y="440"/>
                  </a:lnTo>
                  <a:lnTo>
                    <a:pt x="359" y="417"/>
                  </a:lnTo>
                  <a:lnTo>
                    <a:pt x="376" y="403"/>
                  </a:lnTo>
                  <a:lnTo>
                    <a:pt x="376" y="383"/>
                  </a:lnTo>
                  <a:lnTo>
                    <a:pt x="356" y="372"/>
                  </a:lnTo>
                  <a:lnTo>
                    <a:pt x="373" y="346"/>
                  </a:lnTo>
                  <a:lnTo>
                    <a:pt x="373" y="310"/>
                  </a:lnTo>
                  <a:lnTo>
                    <a:pt x="339" y="278"/>
                  </a:lnTo>
                  <a:lnTo>
                    <a:pt x="339" y="247"/>
                  </a:lnTo>
                  <a:lnTo>
                    <a:pt x="316" y="225"/>
                  </a:lnTo>
                  <a:lnTo>
                    <a:pt x="316" y="199"/>
                  </a:lnTo>
                  <a:lnTo>
                    <a:pt x="305" y="157"/>
                  </a:lnTo>
                  <a:lnTo>
                    <a:pt x="322" y="140"/>
                  </a:lnTo>
                  <a:lnTo>
                    <a:pt x="325" y="89"/>
                  </a:lnTo>
                  <a:lnTo>
                    <a:pt x="379" y="89"/>
                  </a:lnTo>
                  <a:lnTo>
                    <a:pt x="393" y="72"/>
                  </a:lnTo>
                  <a:lnTo>
                    <a:pt x="376" y="43"/>
                  </a:lnTo>
                  <a:lnTo>
                    <a:pt x="376" y="18"/>
                  </a:lnTo>
                  <a:lnTo>
                    <a:pt x="362" y="7"/>
                  </a:lnTo>
                  <a:lnTo>
                    <a:pt x="352" y="60"/>
                  </a:lnTo>
                  <a:lnTo>
                    <a:pt x="323" y="60"/>
                  </a:lnTo>
                  <a:lnTo>
                    <a:pt x="302" y="81"/>
                  </a:lnTo>
                  <a:lnTo>
                    <a:pt x="286" y="65"/>
                  </a:lnTo>
                  <a:lnTo>
                    <a:pt x="203" y="52"/>
                  </a:lnTo>
                  <a:lnTo>
                    <a:pt x="172" y="71"/>
                  </a:lnTo>
                  <a:lnTo>
                    <a:pt x="151" y="71"/>
                  </a:lnTo>
                  <a:lnTo>
                    <a:pt x="146" y="52"/>
                  </a:lnTo>
                  <a:lnTo>
                    <a:pt x="107" y="44"/>
                  </a:lnTo>
                  <a:lnTo>
                    <a:pt x="104" y="3"/>
                  </a:lnTo>
                  <a:lnTo>
                    <a:pt x="96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42</a:t>
              </a:r>
            </a:p>
          </p:txBody>
        </p:sp>
        <p:sp>
          <p:nvSpPr>
            <p:cNvPr id="140" name="FR-69">
              <a:extLst>
                <a:ext uri="{FF2B5EF4-FFF2-40B4-BE49-F238E27FC236}">
                  <a16:creationId xmlns:a16="http://schemas.microsoft.com/office/drawing/2014/main" id="{85DC08A7-5028-4977-A09B-200579B2DC6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91608" y="3424770"/>
              <a:ext cx="459557" cy="598411"/>
            </a:xfrm>
            <a:custGeom>
              <a:avLst/>
              <a:gdLst>
                <a:gd name="T0" fmla="*/ 221 w 473"/>
                <a:gd name="T1" fmla="*/ 0 h 632"/>
                <a:gd name="T2" fmla="*/ 192 w 473"/>
                <a:gd name="T3" fmla="*/ 2 h 632"/>
                <a:gd name="T4" fmla="*/ 169 w 473"/>
                <a:gd name="T5" fmla="*/ 26 h 632"/>
                <a:gd name="T6" fmla="*/ 153 w 473"/>
                <a:gd name="T7" fmla="*/ 5 h 632"/>
                <a:gd name="T8" fmla="*/ 130 w 473"/>
                <a:gd name="T9" fmla="*/ 26 h 632"/>
                <a:gd name="T10" fmla="*/ 98 w 473"/>
                <a:gd name="T11" fmla="*/ 5 h 632"/>
                <a:gd name="T12" fmla="*/ 72 w 473"/>
                <a:gd name="T13" fmla="*/ 5 h 632"/>
                <a:gd name="T14" fmla="*/ 62 w 473"/>
                <a:gd name="T15" fmla="*/ 13 h 632"/>
                <a:gd name="T16" fmla="*/ 57 w 473"/>
                <a:gd name="T17" fmla="*/ 43 h 632"/>
                <a:gd name="T18" fmla="*/ 71 w 473"/>
                <a:gd name="T19" fmla="*/ 54 h 632"/>
                <a:gd name="T20" fmla="*/ 71 w 473"/>
                <a:gd name="T21" fmla="*/ 79 h 632"/>
                <a:gd name="T22" fmla="*/ 88 w 473"/>
                <a:gd name="T23" fmla="*/ 108 h 632"/>
                <a:gd name="T24" fmla="*/ 74 w 473"/>
                <a:gd name="T25" fmla="*/ 125 h 632"/>
                <a:gd name="T26" fmla="*/ 20 w 473"/>
                <a:gd name="T27" fmla="*/ 125 h 632"/>
                <a:gd name="T28" fmla="*/ 17 w 473"/>
                <a:gd name="T29" fmla="*/ 176 h 632"/>
                <a:gd name="T30" fmla="*/ 0 w 473"/>
                <a:gd name="T31" fmla="*/ 193 h 632"/>
                <a:gd name="T32" fmla="*/ 11 w 473"/>
                <a:gd name="T33" fmla="*/ 235 h 632"/>
                <a:gd name="T34" fmla="*/ 11 w 473"/>
                <a:gd name="T35" fmla="*/ 261 h 632"/>
                <a:gd name="T36" fmla="*/ 34 w 473"/>
                <a:gd name="T37" fmla="*/ 283 h 632"/>
                <a:gd name="T38" fmla="*/ 34 w 473"/>
                <a:gd name="T39" fmla="*/ 314 h 632"/>
                <a:gd name="T40" fmla="*/ 68 w 473"/>
                <a:gd name="T41" fmla="*/ 346 h 632"/>
                <a:gd name="T42" fmla="*/ 68 w 473"/>
                <a:gd name="T43" fmla="*/ 382 h 632"/>
                <a:gd name="T44" fmla="*/ 51 w 473"/>
                <a:gd name="T45" fmla="*/ 408 h 632"/>
                <a:gd name="T46" fmla="*/ 71 w 473"/>
                <a:gd name="T47" fmla="*/ 419 h 632"/>
                <a:gd name="T48" fmla="*/ 71 w 473"/>
                <a:gd name="T49" fmla="*/ 439 h 632"/>
                <a:gd name="T50" fmla="*/ 54 w 473"/>
                <a:gd name="T51" fmla="*/ 453 h 632"/>
                <a:gd name="T52" fmla="*/ 54 w 473"/>
                <a:gd name="T53" fmla="*/ 476 h 632"/>
                <a:gd name="T54" fmla="*/ 127 w 473"/>
                <a:gd name="T55" fmla="*/ 544 h 632"/>
                <a:gd name="T56" fmla="*/ 215 w 473"/>
                <a:gd name="T57" fmla="*/ 558 h 632"/>
                <a:gd name="T58" fmla="*/ 224 w 473"/>
                <a:gd name="T59" fmla="*/ 584 h 632"/>
                <a:gd name="T60" fmla="*/ 195 w 473"/>
                <a:gd name="T61" fmla="*/ 617 h 632"/>
                <a:gd name="T62" fmla="*/ 218 w 473"/>
                <a:gd name="T63" fmla="*/ 632 h 632"/>
                <a:gd name="T64" fmla="*/ 247 w 473"/>
                <a:gd name="T65" fmla="*/ 620 h 632"/>
                <a:gd name="T66" fmla="*/ 277 w 473"/>
                <a:gd name="T67" fmla="*/ 625 h 632"/>
                <a:gd name="T68" fmla="*/ 332 w 473"/>
                <a:gd name="T69" fmla="*/ 598 h 632"/>
                <a:gd name="T70" fmla="*/ 323 w 473"/>
                <a:gd name="T71" fmla="*/ 581 h 632"/>
                <a:gd name="T72" fmla="*/ 286 w 473"/>
                <a:gd name="T73" fmla="*/ 544 h 632"/>
                <a:gd name="T74" fmla="*/ 343 w 473"/>
                <a:gd name="T75" fmla="*/ 524 h 632"/>
                <a:gd name="T76" fmla="*/ 417 w 473"/>
                <a:gd name="T77" fmla="*/ 507 h 632"/>
                <a:gd name="T78" fmla="*/ 473 w 473"/>
                <a:gd name="T79" fmla="*/ 434 h 632"/>
                <a:gd name="T80" fmla="*/ 436 w 473"/>
                <a:gd name="T81" fmla="*/ 402 h 632"/>
                <a:gd name="T82" fmla="*/ 438 w 473"/>
                <a:gd name="T83" fmla="*/ 375 h 632"/>
                <a:gd name="T84" fmla="*/ 385 w 473"/>
                <a:gd name="T85" fmla="*/ 360 h 632"/>
                <a:gd name="T86" fmla="*/ 351 w 473"/>
                <a:gd name="T87" fmla="*/ 371 h 632"/>
                <a:gd name="T88" fmla="*/ 346 w 473"/>
                <a:gd name="T89" fmla="*/ 326 h 632"/>
                <a:gd name="T90" fmla="*/ 314 w 473"/>
                <a:gd name="T91" fmla="*/ 297 h 632"/>
                <a:gd name="T92" fmla="*/ 294 w 473"/>
                <a:gd name="T93" fmla="*/ 294 h 632"/>
                <a:gd name="T94" fmla="*/ 244 w 473"/>
                <a:gd name="T95" fmla="*/ 264 h 632"/>
                <a:gd name="T96" fmla="*/ 252 w 473"/>
                <a:gd name="T97" fmla="*/ 244 h 632"/>
                <a:gd name="T98" fmla="*/ 252 w 473"/>
                <a:gd name="T99" fmla="*/ 156 h 632"/>
                <a:gd name="T100" fmla="*/ 266 w 473"/>
                <a:gd name="T101" fmla="*/ 136 h 632"/>
                <a:gd name="T102" fmla="*/ 271 w 473"/>
                <a:gd name="T103" fmla="*/ 75 h 632"/>
                <a:gd name="T104" fmla="*/ 262 w 473"/>
                <a:gd name="T105" fmla="*/ 96 h 632"/>
                <a:gd name="T106" fmla="*/ 244 w 473"/>
                <a:gd name="T107" fmla="*/ 94 h 632"/>
                <a:gd name="T108" fmla="*/ 234 w 473"/>
                <a:gd name="T109" fmla="*/ 42 h 632"/>
                <a:gd name="T110" fmla="*/ 221 w 473"/>
                <a:gd name="T111" fmla="*/ 0 h 63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73"/>
                <a:gd name="T169" fmla="*/ 0 h 632"/>
                <a:gd name="T170" fmla="*/ 473 w 473"/>
                <a:gd name="T171" fmla="*/ 632 h 63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73" h="632">
                  <a:moveTo>
                    <a:pt x="221" y="0"/>
                  </a:moveTo>
                  <a:lnTo>
                    <a:pt x="192" y="2"/>
                  </a:lnTo>
                  <a:lnTo>
                    <a:pt x="169" y="26"/>
                  </a:lnTo>
                  <a:lnTo>
                    <a:pt x="153" y="5"/>
                  </a:lnTo>
                  <a:lnTo>
                    <a:pt x="130" y="26"/>
                  </a:lnTo>
                  <a:lnTo>
                    <a:pt x="98" y="5"/>
                  </a:lnTo>
                  <a:lnTo>
                    <a:pt x="72" y="5"/>
                  </a:lnTo>
                  <a:lnTo>
                    <a:pt x="62" y="13"/>
                  </a:lnTo>
                  <a:lnTo>
                    <a:pt x="57" y="43"/>
                  </a:lnTo>
                  <a:lnTo>
                    <a:pt x="71" y="54"/>
                  </a:lnTo>
                  <a:lnTo>
                    <a:pt x="71" y="79"/>
                  </a:lnTo>
                  <a:lnTo>
                    <a:pt x="88" y="108"/>
                  </a:lnTo>
                  <a:lnTo>
                    <a:pt x="74" y="125"/>
                  </a:lnTo>
                  <a:lnTo>
                    <a:pt x="20" y="125"/>
                  </a:lnTo>
                  <a:lnTo>
                    <a:pt x="17" y="176"/>
                  </a:lnTo>
                  <a:lnTo>
                    <a:pt x="0" y="193"/>
                  </a:lnTo>
                  <a:lnTo>
                    <a:pt x="11" y="235"/>
                  </a:lnTo>
                  <a:lnTo>
                    <a:pt x="11" y="261"/>
                  </a:lnTo>
                  <a:lnTo>
                    <a:pt x="34" y="283"/>
                  </a:lnTo>
                  <a:lnTo>
                    <a:pt x="34" y="314"/>
                  </a:lnTo>
                  <a:lnTo>
                    <a:pt x="68" y="346"/>
                  </a:lnTo>
                  <a:lnTo>
                    <a:pt x="68" y="382"/>
                  </a:lnTo>
                  <a:lnTo>
                    <a:pt x="51" y="408"/>
                  </a:lnTo>
                  <a:lnTo>
                    <a:pt x="71" y="419"/>
                  </a:lnTo>
                  <a:lnTo>
                    <a:pt x="71" y="439"/>
                  </a:lnTo>
                  <a:lnTo>
                    <a:pt x="54" y="453"/>
                  </a:lnTo>
                  <a:lnTo>
                    <a:pt x="54" y="476"/>
                  </a:lnTo>
                  <a:lnTo>
                    <a:pt x="127" y="544"/>
                  </a:lnTo>
                  <a:lnTo>
                    <a:pt x="215" y="558"/>
                  </a:lnTo>
                  <a:lnTo>
                    <a:pt x="224" y="584"/>
                  </a:lnTo>
                  <a:lnTo>
                    <a:pt x="195" y="617"/>
                  </a:lnTo>
                  <a:lnTo>
                    <a:pt x="218" y="632"/>
                  </a:lnTo>
                  <a:lnTo>
                    <a:pt x="247" y="620"/>
                  </a:lnTo>
                  <a:lnTo>
                    <a:pt x="277" y="625"/>
                  </a:lnTo>
                  <a:lnTo>
                    <a:pt x="332" y="598"/>
                  </a:lnTo>
                  <a:lnTo>
                    <a:pt x="323" y="581"/>
                  </a:lnTo>
                  <a:lnTo>
                    <a:pt x="286" y="544"/>
                  </a:lnTo>
                  <a:lnTo>
                    <a:pt x="343" y="524"/>
                  </a:lnTo>
                  <a:lnTo>
                    <a:pt x="417" y="507"/>
                  </a:lnTo>
                  <a:lnTo>
                    <a:pt x="473" y="434"/>
                  </a:lnTo>
                  <a:lnTo>
                    <a:pt x="436" y="402"/>
                  </a:lnTo>
                  <a:lnTo>
                    <a:pt x="438" y="375"/>
                  </a:lnTo>
                  <a:lnTo>
                    <a:pt x="385" y="360"/>
                  </a:lnTo>
                  <a:lnTo>
                    <a:pt x="351" y="371"/>
                  </a:lnTo>
                  <a:lnTo>
                    <a:pt x="346" y="326"/>
                  </a:lnTo>
                  <a:lnTo>
                    <a:pt x="314" y="297"/>
                  </a:lnTo>
                  <a:lnTo>
                    <a:pt x="294" y="294"/>
                  </a:lnTo>
                  <a:lnTo>
                    <a:pt x="244" y="264"/>
                  </a:lnTo>
                  <a:lnTo>
                    <a:pt x="252" y="244"/>
                  </a:lnTo>
                  <a:lnTo>
                    <a:pt x="252" y="156"/>
                  </a:lnTo>
                  <a:lnTo>
                    <a:pt x="266" y="136"/>
                  </a:lnTo>
                  <a:lnTo>
                    <a:pt x="271" y="75"/>
                  </a:lnTo>
                  <a:lnTo>
                    <a:pt x="262" y="96"/>
                  </a:lnTo>
                  <a:lnTo>
                    <a:pt x="244" y="94"/>
                  </a:lnTo>
                  <a:lnTo>
                    <a:pt x="234" y="42"/>
                  </a:lnTo>
                  <a:lnTo>
                    <a:pt x="221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69</a:t>
              </a:r>
            </a:p>
          </p:txBody>
        </p:sp>
        <p:sp>
          <p:nvSpPr>
            <p:cNvPr id="141" name="FR-73">
              <a:extLst>
                <a:ext uri="{FF2B5EF4-FFF2-40B4-BE49-F238E27FC236}">
                  <a16:creationId xmlns:a16="http://schemas.microsoft.com/office/drawing/2014/main" id="{67067A7A-8328-4869-82E6-526A5545764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200861" y="3658642"/>
              <a:ext cx="808353" cy="623977"/>
            </a:xfrm>
            <a:custGeom>
              <a:avLst/>
              <a:gdLst>
                <a:gd name="T0" fmla="*/ 89 w 832"/>
                <a:gd name="T1" fmla="*/ 76 h 659"/>
                <a:gd name="T2" fmla="*/ 72 w 832"/>
                <a:gd name="T3" fmla="*/ 175 h 659"/>
                <a:gd name="T4" fmla="*/ 32 w 832"/>
                <a:gd name="T5" fmla="*/ 229 h 659"/>
                <a:gd name="T6" fmla="*/ 0 w 832"/>
                <a:gd name="T7" fmla="*/ 251 h 659"/>
                <a:gd name="T8" fmla="*/ 35 w 832"/>
                <a:gd name="T9" fmla="*/ 300 h 659"/>
                <a:gd name="T10" fmla="*/ 66 w 832"/>
                <a:gd name="T11" fmla="*/ 379 h 659"/>
                <a:gd name="T12" fmla="*/ 154 w 832"/>
                <a:gd name="T13" fmla="*/ 410 h 659"/>
                <a:gd name="T14" fmla="*/ 151 w 832"/>
                <a:gd name="T15" fmla="*/ 379 h 659"/>
                <a:gd name="T16" fmla="*/ 188 w 832"/>
                <a:gd name="T17" fmla="*/ 340 h 659"/>
                <a:gd name="T18" fmla="*/ 236 w 832"/>
                <a:gd name="T19" fmla="*/ 365 h 659"/>
                <a:gd name="T20" fmla="*/ 309 w 832"/>
                <a:gd name="T21" fmla="*/ 419 h 659"/>
                <a:gd name="T22" fmla="*/ 287 w 832"/>
                <a:gd name="T23" fmla="*/ 470 h 659"/>
                <a:gd name="T24" fmla="*/ 298 w 832"/>
                <a:gd name="T25" fmla="*/ 546 h 659"/>
                <a:gd name="T26" fmla="*/ 292 w 832"/>
                <a:gd name="T27" fmla="*/ 592 h 659"/>
                <a:gd name="T28" fmla="*/ 338 w 832"/>
                <a:gd name="T29" fmla="*/ 592 h 659"/>
                <a:gd name="T30" fmla="*/ 400 w 832"/>
                <a:gd name="T31" fmla="*/ 607 h 659"/>
                <a:gd name="T32" fmla="*/ 423 w 832"/>
                <a:gd name="T33" fmla="*/ 659 h 659"/>
                <a:gd name="T34" fmla="*/ 475 w 832"/>
                <a:gd name="T35" fmla="*/ 615 h 659"/>
                <a:gd name="T36" fmla="*/ 549 w 832"/>
                <a:gd name="T37" fmla="*/ 607 h 659"/>
                <a:gd name="T38" fmla="*/ 626 w 832"/>
                <a:gd name="T39" fmla="*/ 574 h 659"/>
                <a:gd name="T40" fmla="*/ 683 w 832"/>
                <a:gd name="T41" fmla="*/ 592 h 659"/>
                <a:gd name="T42" fmla="*/ 719 w 832"/>
                <a:gd name="T43" fmla="*/ 542 h 659"/>
                <a:gd name="T44" fmla="*/ 800 w 832"/>
                <a:gd name="T45" fmla="*/ 501 h 659"/>
                <a:gd name="T46" fmla="*/ 795 w 832"/>
                <a:gd name="T47" fmla="*/ 436 h 659"/>
                <a:gd name="T48" fmla="*/ 798 w 832"/>
                <a:gd name="T49" fmla="*/ 360 h 659"/>
                <a:gd name="T50" fmla="*/ 717 w 832"/>
                <a:gd name="T51" fmla="*/ 282 h 659"/>
                <a:gd name="T52" fmla="*/ 714 w 832"/>
                <a:gd name="T53" fmla="*/ 187 h 659"/>
                <a:gd name="T54" fmla="*/ 713 w 832"/>
                <a:gd name="T55" fmla="*/ 186 h 659"/>
                <a:gd name="T56" fmla="*/ 712 w 832"/>
                <a:gd name="T57" fmla="*/ 186 h 659"/>
                <a:gd name="T58" fmla="*/ 712 w 832"/>
                <a:gd name="T59" fmla="*/ 186 h 659"/>
                <a:gd name="T60" fmla="*/ 623 w 832"/>
                <a:gd name="T61" fmla="*/ 147 h 659"/>
                <a:gd name="T62" fmla="*/ 607 w 832"/>
                <a:gd name="T63" fmla="*/ 102 h 659"/>
                <a:gd name="T64" fmla="*/ 562 w 832"/>
                <a:gd name="T65" fmla="*/ 141 h 659"/>
                <a:gd name="T66" fmla="*/ 542 w 832"/>
                <a:gd name="T67" fmla="*/ 85 h 659"/>
                <a:gd name="T68" fmla="*/ 474 w 832"/>
                <a:gd name="T69" fmla="*/ 53 h 659"/>
                <a:gd name="T70" fmla="*/ 482 w 832"/>
                <a:gd name="T71" fmla="*/ 19 h 659"/>
                <a:gd name="T72" fmla="*/ 437 w 832"/>
                <a:gd name="T73" fmla="*/ 31 h 659"/>
                <a:gd name="T74" fmla="*/ 392 w 832"/>
                <a:gd name="T75" fmla="*/ 110 h 659"/>
                <a:gd name="T76" fmla="*/ 369 w 832"/>
                <a:gd name="T77" fmla="*/ 178 h 659"/>
                <a:gd name="T78" fmla="*/ 309 w 832"/>
                <a:gd name="T79" fmla="*/ 172 h 659"/>
                <a:gd name="T80" fmla="*/ 247 w 832"/>
                <a:gd name="T81" fmla="*/ 130 h 659"/>
                <a:gd name="T82" fmla="*/ 193 w 832"/>
                <a:gd name="T83" fmla="*/ 141 h 659"/>
                <a:gd name="T84" fmla="*/ 122 w 832"/>
                <a:gd name="T85" fmla="*/ 96 h 659"/>
                <a:gd name="T86" fmla="*/ 94 w 832"/>
                <a:gd name="T87" fmla="*/ 0 h 65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832"/>
                <a:gd name="T133" fmla="*/ 0 h 659"/>
                <a:gd name="T134" fmla="*/ 832 w 832"/>
                <a:gd name="T135" fmla="*/ 659 h 659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832" h="659">
                  <a:moveTo>
                    <a:pt x="94" y="0"/>
                  </a:moveTo>
                  <a:lnTo>
                    <a:pt x="89" y="76"/>
                  </a:lnTo>
                  <a:lnTo>
                    <a:pt x="72" y="90"/>
                  </a:lnTo>
                  <a:lnTo>
                    <a:pt x="72" y="175"/>
                  </a:lnTo>
                  <a:lnTo>
                    <a:pt x="37" y="181"/>
                  </a:lnTo>
                  <a:lnTo>
                    <a:pt x="32" y="229"/>
                  </a:lnTo>
                  <a:lnTo>
                    <a:pt x="1" y="252"/>
                  </a:lnTo>
                  <a:lnTo>
                    <a:pt x="0" y="251"/>
                  </a:lnTo>
                  <a:lnTo>
                    <a:pt x="4" y="266"/>
                  </a:lnTo>
                  <a:lnTo>
                    <a:pt x="35" y="300"/>
                  </a:lnTo>
                  <a:lnTo>
                    <a:pt x="35" y="322"/>
                  </a:lnTo>
                  <a:lnTo>
                    <a:pt x="66" y="379"/>
                  </a:lnTo>
                  <a:lnTo>
                    <a:pt x="131" y="393"/>
                  </a:lnTo>
                  <a:lnTo>
                    <a:pt x="154" y="410"/>
                  </a:lnTo>
                  <a:lnTo>
                    <a:pt x="162" y="402"/>
                  </a:lnTo>
                  <a:lnTo>
                    <a:pt x="151" y="379"/>
                  </a:lnTo>
                  <a:lnTo>
                    <a:pt x="168" y="342"/>
                  </a:lnTo>
                  <a:lnTo>
                    <a:pt x="188" y="340"/>
                  </a:lnTo>
                  <a:lnTo>
                    <a:pt x="222" y="385"/>
                  </a:lnTo>
                  <a:lnTo>
                    <a:pt x="236" y="365"/>
                  </a:lnTo>
                  <a:lnTo>
                    <a:pt x="256" y="365"/>
                  </a:lnTo>
                  <a:lnTo>
                    <a:pt x="309" y="419"/>
                  </a:lnTo>
                  <a:lnTo>
                    <a:pt x="312" y="455"/>
                  </a:lnTo>
                  <a:lnTo>
                    <a:pt x="287" y="470"/>
                  </a:lnTo>
                  <a:lnTo>
                    <a:pt x="275" y="523"/>
                  </a:lnTo>
                  <a:lnTo>
                    <a:pt x="298" y="546"/>
                  </a:lnTo>
                  <a:lnTo>
                    <a:pt x="298" y="569"/>
                  </a:lnTo>
                  <a:lnTo>
                    <a:pt x="292" y="592"/>
                  </a:lnTo>
                  <a:lnTo>
                    <a:pt x="309" y="575"/>
                  </a:lnTo>
                  <a:lnTo>
                    <a:pt x="338" y="592"/>
                  </a:lnTo>
                  <a:lnTo>
                    <a:pt x="353" y="612"/>
                  </a:lnTo>
                  <a:lnTo>
                    <a:pt x="400" y="607"/>
                  </a:lnTo>
                  <a:lnTo>
                    <a:pt x="415" y="622"/>
                  </a:lnTo>
                  <a:lnTo>
                    <a:pt x="423" y="659"/>
                  </a:lnTo>
                  <a:lnTo>
                    <a:pt x="470" y="654"/>
                  </a:lnTo>
                  <a:lnTo>
                    <a:pt x="475" y="615"/>
                  </a:lnTo>
                  <a:lnTo>
                    <a:pt x="499" y="604"/>
                  </a:lnTo>
                  <a:lnTo>
                    <a:pt x="549" y="607"/>
                  </a:lnTo>
                  <a:lnTo>
                    <a:pt x="548" y="605"/>
                  </a:lnTo>
                  <a:lnTo>
                    <a:pt x="626" y="574"/>
                  </a:lnTo>
                  <a:lnTo>
                    <a:pt x="654" y="592"/>
                  </a:lnTo>
                  <a:lnTo>
                    <a:pt x="683" y="592"/>
                  </a:lnTo>
                  <a:lnTo>
                    <a:pt x="686" y="561"/>
                  </a:lnTo>
                  <a:lnTo>
                    <a:pt x="719" y="542"/>
                  </a:lnTo>
                  <a:lnTo>
                    <a:pt x="732" y="527"/>
                  </a:lnTo>
                  <a:lnTo>
                    <a:pt x="800" y="501"/>
                  </a:lnTo>
                  <a:lnTo>
                    <a:pt x="808" y="457"/>
                  </a:lnTo>
                  <a:lnTo>
                    <a:pt x="795" y="436"/>
                  </a:lnTo>
                  <a:lnTo>
                    <a:pt x="832" y="373"/>
                  </a:lnTo>
                  <a:lnTo>
                    <a:pt x="798" y="360"/>
                  </a:lnTo>
                  <a:lnTo>
                    <a:pt x="787" y="324"/>
                  </a:lnTo>
                  <a:lnTo>
                    <a:pt x="717" y="282"/>
                  </a:lnTo>
                  <a:cubicBezTo>
                    <a:pt x="717" y="282"/>
                    <a:pt x="721" y="202"/>
                    <a:pt x="714" y="188"/>
                  </a:cubicBezTo>
                  <a:cubicBezTo>
                    <a:pt x="714" y="187"/>
                    <a:pt x="714" y="187"/>
                    <a:pt x="714" y="187"/>
                  </a:cubicBezTo>
                  <a:lnTo>
                    <a:pt x="713" y="186"/>
                  </a:lnTo>
                  <a:lnTo>
                    <a:pt x="712" y="186"/>
                  </a:lnTo>
                  <a:cubicBezTo>
                    <a:pt x="701" y="188"/>
                    <a:pt x="677" y="198"/>
                    <a:pt x="662" y="191"/>
                  </a:cubicBezTo>
                  <a:lnTo>
                    <a:pt x="623" y="147"/>
                  </a:lnTo>
                  <a:lnTo>
                    <a:pt x="624" y="104"/>
                  </a:lnTo>
                  <a:lnTo>
                    <a:pt x="607" y="102"/>
                  </a:lnTo>
                  <a:lnTo>
                    <a:pt x="587" y="124"/>
                  </a:lnTo>
                  <a:lnTo>
                    <a:pt x="562" y="141"/>
                  </a:lnTo>
                  <a:lnTo>
                    <a:pt x="567" y="127"/>
                  </a:lnTo>
                  <a:lnTo>
                    <a:pt x="542" y="85"/>
                  </a:lnTo>
                  <a:lnTo>
                    <a:pt x="499" y="85"/>
                  </a:lnTo>
                  <a:lnTo>
                    <a:pt x="474" y="53"/>
                  </a:lnTo>
                  <a:lnTo>
                    <a:pt x="488" y="36"/>
                  </a:lnTo>
                  <a:lnTo>
                    <a:pt x="482" y="19"/>
                  </a:lnTo>
                  <a:lnTo>
                    <a:pt x="462" y="14"/>
                  </a:lnTo>
                  <a:lnTo>
                    <a:pt x="437" y="31"/>
                  </a:lnTo>
                  <a:lnTo>
                    <a:pt x="417" y="90"/>
                  </a:lnTo>
                  <a:lnTo>
                    <a:pt x="392" y="110"/>
                  </a:lnTo>
                  <a:lnTo>
                    <a:pt x="380" y="155"/>
                  </a:lnTo>
                  <a:lnTo>
                    <a:pt x="369" y="178"/>
                  </a:lnTo>
                  <a:lnTo>
                    <a:pt x="324" y="187"/>
                  </a:lnTo>
                  <a:lnTo>
                    <a:pt x="309" y="172"/>
                  </a:lnTo>
                  <a:lnTo>
                    <a:pt x="270" y="130"/>
                  </a:lnTo>
                  <a:lnTo>
                    <a:pt x="247" y="130"/>
                  </a:lnTo>
                  <a:lnTo>
                    <a:pt x="239" y="147"/>
                  </a:lnTo>
                  <a:lnTo>
                    <a:pt x="193" y="141"/>
                  </a:lnTo>
                  <a:lnTo>
                    <a:pt x="174" y="104"/>
                  </a:lnTo>
                  <a:lnTo>
                    <a:pt x="122" y="96"/>
                  </a:lnTo>
                  <a:lnTo>
                    <a:pt x="122" y="22"/>
                  </a:lnTo>
                  <a:lnTo>
                    <a:pt x="94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73</a:t>
              </a:r>
            </a:p>
          </p:txBody>
        </p:sp>
        <p:sp>
          <p:nvSpPr>
            <p:cNvPr id="142" name="FR-07">
              <a:extLst>
                <a:ext uri="{FF2B5EF4-FFF2-40B4-BE49-F238E27FC236}">
                  <a16:creationId xmlns:a16="http://schemas.microsoft.com/office/drawing/2014/main" id="{0B2C8D1A-A6B0-46AF-8DE0-E402D28BF06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303122" y="4096089"/>
              <a:ext cx="532425" cy="791570"/>
            </a:xfrm>
            <a:custGeom>
              <a:avLst/>
              <a:gdLst>
                <a:gd name="T0" fmla="*/ 461 w 548"/>
                <a:gd name="T1" fmla="*/ 0 h 836"/>
                <a:gd name="T2" fmla="*/ 401 w 548"/>
                <a:gd name="T3" fmla="*/ 36 h 836"/>
                <a:gd name="T4" fmla="*/ 389 w 548"/>
                <a:gd name="T5" fmla="*/ 87 h 836"/>
                <a:gd name="T6" fmla="*/ 344 w 548"/>
                <a:gd name="T7" fmla="*/ 95 h 836"/>
                <a:gd name="T8" fmla="*/ 320 w 548"/>
                <a:gd name="T9" fmla="*/ 102 h 836"/>
                <a:gd name="T10" fmla="*/ 321 w 548"/>
                <a:gd name="T11" fmla="*/ 103 h 836"/>
                <a:gd name="T12" fmla="*/ 306 w 548"/>
                <a:gd name="T13" fmla="*/ 166 h 836"/>
                <a:gd name="T14" fmla="*/ 269 w 548"/>
                <a:gd name="T15" fmla="*/ 181 h 836"/>
                <a:gd name="T16" fmla="*/ 253 w 548"/>
                <a:gd name="T17" fmla="*/ 208 h 836"/>
                <a:gd name="T18" fmla="*/ 264 w 548"/>
                <a:gd name="T19" fmla="*/ 241 h 836"/>
                <a:gd name="T20" fmla="*/ 271 w 548"/>
                <a:gd name="T21" fmla="*/ 260 h 836"/>
                <a:gd name="T22" fmla="*/ 233 w 548"/>
                <a:gd name="T23" fmla="*/ 260 h 836"/>
                <a:gd name="T24" fmla="*/ 230 w 548"/>
                <a:gd name="T25" fmla="*/ 309 h 836"/>
                <a:gd name="T26" fmla="*/ 188 w 548"/>
                <a:gd name="T27" fmla="*/ 312 h 836"/>
                <a:gd name="T28" fmla="*/ 167 w 548"/>
                <a:gd name="T29" fmla="*/ 377 h 836"/>
                <a:gd name="T30" fmla="*/ 105 w 548"/>
                <a:gd name="T31" fmla="*/ 377 h 836"/>
                <a:gd name="T32" fmla="*/ 37 w 548"/>
                <a:gd name="T33" fmla="*/ 426 h 836"/>
                <a:gd name="T34" fmla="*/ 0 w 548"/>
                <a:gd name="T35" fmla="*/ 486 h 836"/>
                <a:gd name="T36" fmla="*/ 6 w 548"/>
                <a:gd name="T37" fmla="*/ 494 h 836"/>
                <a:gd name="T38" fmla="*/ 24 w 548"/>
                <a:gd name="T39" fmla="*/ 590 h 836"/>
                <a:gd name="T40" fmla="*/ 68 w 548"/>
                <a:gd name="T41" fmla="*/ 638 h 836"/>
                <a:gd name="T42" fmla="*/ 61 w 548"/>
                <a:gd name="T43" fmla="*/ 693 h 836"/>
                <a:gd name="T44" fmla="*/ 116 w 548"/>
                <a:gd name="T45" fmla="*/ 726 h 836"/>
                <a:gd name="T46" fmla="*/ 116 w 548"/>
                <a:gd name="T47" fmla="*/ 800 h 836"/>
                <a:gd name="T48" fmla="*/ 146 w 548"/>
                <a:gd name="T49" fmla="*/ 785 h 836"/>
                <a:gd name="T50" fmla="*/ 208 w 548"/>
                <a:gd name="T51" fmla="*/ 825 h 836"/>
                <a:gd name="T52" fmla="*/ 238 w 548"/>
                <a:gd name="T53" fmla="*/ 836 h 836"/>
                <a:gd name="T54" fmla="*/ 245 w 548"/>
                <a:gd name="T55" fmla="*/ 785 h 836"/>
                <a:gd name="T56" fmla="*/ 282 w 548"/>
                <a:gd name="T57" fmla="*/ 778 h 836"/>
                <a:gd name="T58" fmla="*/ 293 w 548"/>
                <a:gd name="T59" fmla="*/ 818 h 836"/>
                <a:gd name="T60" fmla="*/ 330 w 548"/>
                <a:gd name="T61" fmla="*/ 814 h 836"/>
                <a:gd name="T62" fmla="*/ 337 w 548"/>
                <a:gd name="T63" fmla="*/ 774 h 836"/>
                <a:gd name="T64" fmla="*/ 422 w 548"/>
                <a:gd name="T65" fmla="*/ 821 h 836"/>
                <a:gd name="T66" fmla="*/ 436 w 548"/>
                <a:gd name="T67" fmla="*/ 793 h 836"/>
                <a:gd name="T68" fmla="*/ 471 w 548"/>
                <a:gd name="T69" fmla="*/ 788 h 836"/>
                <a:gd name="T70" fmla="*/ 474 w 548"/>
                <a:gd name="T71" fmla="*/ 733 h 836"/>
                <a:gd name="T72" fmla="*/ 466 w 548"/>
                <a:gd name="T73" fmla="*/ 721 h 836"/>
                <a:gd name="T74" fmla="*/ 455 w 548"/>
                <a:gd name="T75" fmla="*/ 719 h 836"/>
                <a:gd name="T76" fmla="*/ 455 w 548"/>
                <a:gd name="T77" fmla="*/ 699 h 836"/>
                <a:gd name="T78" fmla="*/ 463 w 548"/>
                <a:gd name="T79" fmla="*/ 679 h 836"/>
                <a:gd name="T80" fmla="*/ 449 w 548"/>
                <a:gd name="T81" fmla="*/ 656 h 836"/>
                <a:gd name="T82" fmla="*/ 457 w 548"/>
                <a:gd name="T83" fmla="*/ 605 h 836"/>
                <a:gd name="T84" fmla="*/ 491 w 548"/>
                <a:gd name="T85" fmla="*/ 565 h 836"/>
                <a:gd name="T86" fmla="*/ 491 w 548"/>
                <a:gd name="T87" fmla="*/ 509 h 836"/>
                <a:gd name="T88" fmla="*/ 477 w 548"/>
                <a:gd name="T89" fmla="*/ 444 h 836"/>
                <a:gd name="T90" fmla="*/ 503 w 548"/>
                <a:gd name="T91" fmla="*/ 438 h 836"/>
                <a:gd name="T92" fmla="*/ 508 w 548"/>
                <a:gd name="T93" fmla="*/ 410 h 836"/>
                <a:gd name="T94" fmla="*/ 534 w 548"/>
                <a:gd name="T95" fmla="*/ 362 h 836"/>
                <a:gd name="T96" fmla="*/ 548 w 548"/>
                <a:gd name="T97" fmla="*/ 325 h 836"/>
                <a:gd name="T98" fmla="*/ 526 w 548"/>
                <a:gd name="T99" fmla="*/ 268 h 836"/>
                <a:gd name="T100" fmla="*/ 511 w 548"/>
                <a:gd name="T101" fmla="*/ 223 h 836"/>
                <a:gd name="T102" fmla="*/ 491 w 548"/>
                <a:gd name="T103" fmla="*/ 144 h 836"/>
                <a:gd name="T104" fmla="*/ 491 w 548"/>
                <a:gd name="T105" fmla="*/ 38 h 836"/>
                <a:gd name="T106" fmla="*/ 477 w 548"/>
                <a:gd name="T107" fmla="*/ 33 h 836"/>
                <a:gd name="T108" fmla="*/ 461 w 548"/>
                <a:gd name="T109" fmla="*/ 0 h 8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48"/>
                <a:gd name="T166" fmla="*/ 0 h 836"/>
                <a:gd name="T167" fmla="*/ 548 w 548"/>
                <a:gd name="T168" fmla="*/ 836 h 8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48" h="836">
                  <a:moveTo>
                    <a:pt x="461" y="0"/>
                  </a:moveTo>
                  <a:lnTo>
                    <a:pt x="401" y="36"/>
                  </a:lnTo>
                  <a:lnTo>
                    <a:pt x="389" y="87"/>
                  </a:lnTo>
                  <a:lnTo>
                    <a:pt x="344" y="95"/>
                  </a:lnTo>
                  <a:lnTo>
                    <a:pt x="320" y="102"/>
                  </a:lnTo>
                  <a:lnTo>
                    <a:pt x="321" y="103"/>
                  </a:lnTo>
                  <a:lnTo>
                    <a:pt x="306" y="166"/>
                  </a:lnTo>
                  <a:lnTo>
                    <a:pt x="269" y="181"/>
                  </a:lnTo>
                  <a:lnTo>
                    <a:pt x="253" y="208"/>
                  </a:lnTo>
                  <a:lnTo>
                    <a:pt x="264" y="241"/>
                  </a:lnTo>
                  <a:lnTo>
                    <a:pt x="271" y="260"/>
                  </a:lnTo>
                  <a:lnTo>
                    <a:pt x="233" y="260"/>
                  </a:lnTo>
                  <a:lnTo>
                    <a:pt x="230" y="309"/>
                  </a:lnTo>
                  <a:lnTo>
                    <a:pt x="188" y="312"/>
                  </a:lnTo>
                  <a:lnTo>
                    <a:pt x="167" y="377"/>
                  </a:lnTo>
                  <a:lnTo>
                    <a:pt x="105" y="377"/>
                  </a:lnTo>
                  <a:lnTo>
                    <a:pt x="37" y="426"/>
                  </a:lnTo>
                  <a:lnTo>
                    <a:pt x="0" y="486"/>
                  </a:lnTo>
                  <a:lnTo>
                    <a:pt x="6" y="494"/>
                  </a:lnTo>
                  <a:lnTo>
                    <a:pt x="24" y="590"/>
                  </a:lnTo>
                  <a:lnTo>
                    <a:pt x="68" y="638"/>
                  </a:lnTo>
                  <a:lnTo>
                    <a:pt x="61" y="693"/>
                  </a:lnTo>
                  <a:lnTo>
                    <a:pt x="116" y="726"/>
                  </a:lnTo>
                  <a:lnTo>
                    <a:pt x="116" y="800"/>
                  </a:lnTo>
                  <a:lnTo>
                    <a:pt x="146" y="785"/>
                  </a:lnTo>
                  <a:lnTo>
                    <a:pt x="208" y="825"/>
                  </a:lnTo>
                  <a:lnTo>
                    <a:pt x="238" y="836"/>
                  </a:lnTo>
                  <a:lnTo>
                    <a:pt x="245" y="785"/>
                  </a:lnTo>
                  <a:lnTo>
                    <a:pt x="282" y="778"/>
                  </a:lnTo>
                  <a:lnTo>
                    <a:pt x="293" y="818"/>
                  </a:lnTo>
                  <a:lnTo>
                    <a:pt x="330" y="814"/>
                  </a:lnTo>
                  <a:lnTo>
                    <a:pt x="337" y="774"/>
                  </a:lnTo>
                  <a:lnTo>
                    <a:pt x="422" y="821"/>
                  </a:lnTo>
                  <a:lnTo>
                    <a:pt x="436" y="793"/>
                  </a:lnTo>
                  <a:lnTo>
                    <a:pt x="471" y="788"/>
                  </a:lnTo>
                  <a:lnTo>
                    <a:pt x="474" y="733"/>
                  </a:lnTo>
                  <a:lnTo>
                    <a:pt x="466" y="721"/>
                  </a:lnTo>
                  <a:lnTo>
                    <a:pt x="455" y="719"/>
                  </a:lnTo>
                  <a:lnTo>
                    <a:pt x="455" y="699"/>
                  </a:lnTo>
                  <a:lnTo>
                    <a:pt x="463" y="679"/>
                  </a:lnTo>
                  <a:lnTo>
                    <a:pt x="449" y="656"/>
                  </a:lnTo>
                  <a:lnTo>
                    <a:pt x="457" y="605"/>
                  </a:lnTo>
                  <a:lnTo>
                    <a:pt x="491" y="565"/>
                  </a:lnTo>
                  <a:lnTo>
                    <a:pt x="491" y="509"/>
                  </a:lnTo>
                  <a:lnTo>
                    <a:pt x="477" y="444"/>
                  </a:lnTo>
                  <a:lnTo>
                    <a:pt x="503" y="438"/>
                  </a:lnTo>
                  <a:lnTo>
                    <a:pt x="508" y="410"/>
                  </a:lnTo>
                  <a:lnTo>
                    <a:pt x="534" y="362"/>
                  </a:lnTo>
                  <a:lnTo>
                    <a:pt x="548" y="325"/>
                  </a:lnTo>
                  <a:lnTo>
                    <a:pt x="526" y="268"/>
                  </a:lnTo>
                  <a:lnTo>
                    <a:pt x="511" y="223"/>
                  </a:lnTo>
                  <a:lnTo>
                    <a:pt x="491" y="144"/>
                  </a:lnTo>
                  <a:lnTo>
                    <a:pt x="491" y="38"/>
                  </a:lnTo>
                  <a:lnTo>
                    <a:pt x="477" y="33"/>
                  </a:lnTo>
                  <a:lnTo>
                    <a:pt x="461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07</a:t>
              </a:r>
            </a:p>
          </p:txBody>
        </p:sp>
        <p:sp>
          <p:nvSpPr>
            <p:cNvPr id="143" name="FR-26">
              <a:extLst>
                <a:ext uri="{FF2B5EF4-FFF2-40B4-BE49-F238E27FC236}">
                  <a16:creationId xmlns:a16="http://schemas.microsoft.com/office/drawing/2014/main" id="{3856D8AD-F22E-4EF5-924F-862EA293C77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739361" y="4105557"/>
              <a:ext cx="598492" cy="870158"/>
            </a:xfrm>
            <a:custGeom>
              <a:avLst/>
              <a:gdLst>
                <a:gd name="T0" fmla="*/ 105 w 616"/>
                <a:gd name="T1" fmla="*/ 26 h 919"/>
                <a:gd name="T2" fmla="*/ 42 w 616"/>
                <a:gd name="T3" fmla="*/ 28 h 919"/>
                <a:gd name="T4" fmla="*/ 62 w 616"/>
                <a:gd name="T5" fmla="*/ 213 h 919"/>
                <a:gd name="T6" fmla="*/ 99 w 616"/>
                <a:gd name="T7" fmla="*/ 315 h 919"/>
                <a:gd name="T8" fmla="*/ 59 w 616"/>
                <a:gd name="T9" fmla="*/ 400 h 919"/>
                <a:gd name="T10" fmla="*/ 28 w 616"/>
                <a:gd name="T11" fmla="*/ 434 h 919"/>
                <a:gd name="T12" fmla="*/ 42 w 616"/>
                <a:gd name="T13" fmla="*/ 555 h 919"/>
                <a:gd name="T14" fmla="*/ 0 w 616"/>
                <a:gd name="T15" fmla="*/ 646 h 919"/>
                <a:gd name="T16" fmla="*/ 6 w 616"/>
                <a:gd name="T17" fmla="*/ 689 h 919"/>
                <a:gd name="T18" fmla="*/ 17 w 616"/>
                <a:gd name="T19" fmla="*/ 711 h 919"/>
                <a:gd name="T20" fmla="*/ 22 w 616"/>
                <a:gd name="T21" fmla="*/ 778 h 919"/>
                <a:gd name="T22" fmla="*/ 72 w 616"/>
                <a:gd name="T23" fmla="*/ 791 h 919"/>
                <a:gd name="T24" fmla="*/ 75 w 616"/>
                <a:gd name="T25" fmla="*/ 856 h 919"/>
                <a:gd name="T26" fmla="*/ 148 w 616"/>
                <a:gd name="T27" fmla="*/ 815 h 919"/>
                <a:gd name="T28" fmla="*/ 112 w 616"/>
                <a:gd name="T29" fmla="*/ 788 h 919"/>
                <a:gd name="T30" fmla="*/ 132 w 616"/>
                <a:gd name="T31" fmla="*/ 698 h 919"/>
                <a:gd name="T32" fmla="*/ 205 w 616"/>
                <a:gd name="T33" fmla="*/ 729 h 919"/>
                <a:gd name="T34" fmla="*/ 179 w 616"/>
                <a:gd name="T35" fmla="*/ 796 h 919"/>
                <a:gd name="T36" fmla="*/ 265 w 616"/>
                <a:gd name="T37" fmla="*/ 773 h 919"/>
                <a:gd name="T38" fmla="*/ 252 w 616"/>
                <a:gd name="T39" fmla="*/ 843 h 919"/>
                <a:gd name="T40" fmla="*/ 380 w 616"/>
                <a:gd name="T41" fmla="*/ 854 h 919"/>
                <a:gd name="T42" fmla="*/ 429 w 616"/>
                <a:gd name="T43" fmla="*/ 916 h 919"/>
                <a:gd name="T44" fmla="*/ 487 w 616"/>
                <a:gd name="T45" fmla="*/ 898 h 919"/>
                <a:gd name="T46" fmla="*/ 521 w 616"/>
                <a:gd name="T47" fmla="*/ 877 h 919"/>
                <a:gd name="T48" fmla="*/ 547 w 616"/>
                <a:gd name="T49" fmla="*/ 799 h 919"/>
                <a:gd name="T50" fmla="*/ 505 w 616"/>
                <a:gd name="T51" fmla="*/ 760 h 919"/>
                <a:gd name="T52" fmla="*/ 406 w 616"/>
                <a:gd name="T53" fmla="*/ 692 h 919"/>
                <a:gd name="T54" fmla="*/ 411 w 616"/>
                <a:gd name="T55" fmla="*/ 653 h 919"/>
                <a:gd name="T56" fmla="*/ 458 w 616"/>
                <a:gd name="T57" fmla="*/ 632 h 919"/>
                <a:gd name="T58" fmla="*/ 523 w 616"/>
                <a:gd name="T59" fmla="*/ 617 h 919"/>
                <a:gd name="T60" fmla="*/ 497 w 616"/>
                <a:gd name="T61" fmla="*/ 562 h 919"/>
                <a:gd name="T62" fmla="*/ 567 w 616"/>
                <a:gd name="T63" fmla="*/ 507 h 919"/>
                <a:gd name="T64" fmla="*/ 616 w 616"/>
                <a:gd name="T65" fmla="*/ 479 h 919"/>
                <a:gd name="T66" fmla="*/ 552 w 616"/>
                <a:gd name="T67" fmla="*/ 459 h 919"/>
                <a:gd name="T68" fmla="*/ 501 w 616"/>
                <a:gd name="T69" fmla="*/ 437 h 919"/>
                <a:gd name="T70" fmla="*/ 430 w 616"/>
                <a:gd name="T71" fmla="*/ 417 h 919"/>
                <a:gd name="T72" fmla="*/ 414 w 616"/>
                <a:gd name="T73" fmla="*/ 190 h 919"/>
                <a:gd name="T74" fmla="*/ 394 w 616"/>
                <a:gd name="T75" fmla="*/ 210 h 919"/>
                <a:gd name="T76" fmla="*/ 309 w 616"/>
                <a:gd name="T77" fmla="*/ 210 h 919"/>
                <a:gd name="T78" fmla="*/ 244 w 616"/>
                <a:gd name="T79" fmla="*/ 202 h 919"/>
                <a:gd name="T80" fmla="*/ 252 w 616"/>
                <a:gd name="T81" fmla="*/ 148 h 919"/>
                <a:gd name="T82" fmla="*/ 258 w 616"/>
                <a:gd name="T83" fmla="*/ 80 h 919"/>
                <a:gd name="T84" fmla="*/ 190 w 616"/>
                <a:gd name="T85" fmla="*/ 40 h 91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6"/>
                <a:gd name="T130" fmla="*/ 0 h 919"/>
                <a:gd name="T131" fmla="*/ 616 w 616"/>
                <a:gd name="T132" fmla="*/ 919 h 919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6" h="919">
                  <a:moveTo>
                    <a:pt x="142" y="0"/>
                  </a:moveTo>
                  <a:lnTo>
                    <a:pt x="105" y="26"/>
                  </a:lnTo>
                  <a:lnTo>
                    <a:pt x="74" y="37"/>
                  </a:lnTo>
                  <a:lnTo>
                    <a:pt x="42" y="28"/>
                  </a:lnTo>
                  <a:lnTo>
                    <a:pt x="42" y="134"/>
                  </a:lnTo>
                  <a:lnTo>
                    <a:pt x="62" y="213"/>
                  </a:lnTo>
                  <a:lnTo>
                    <a:pt x="77" y="258"/>
                  </a:lnTo>
                  <a:lnTo>
                    <a:pt x="99" y="315"/>
                  </a:lnTo>
                  <a:lnTo>
                    <a:pt x="85" y="352"/>
                  </a:lnTo>
                  <a:lnTo>
                    <a:pt x="59" y="400"/>
                  </a:lnTo>
                  <a:lnTo>
                    <a:pt x="54" y="428"/>
                  </a:lnTo>
                  <a:lnTo>
                    <a:pt x="28" y="434"/>
                  </a:lnTo>
                  <a:lnTo>
                    <a:pt x="42" y="499"/>
                  </a:lnTo>
                  <a:lnTo>
                    <a:pt x="42" y="555"/>
                  </a:lnTo>
                  <a:lnTo>
                    <a:pt x="8" y="595"/>
                  </a:lnTo>
                  <a:lnTo>
                    <a:pt x="0" y="646"/>
                  </a:lnTo>
                  <a:lnTo>
                    <a:pt x="14" y="669"/>
                  </a:lnTo>
                  <a:lnTo>
                    <a:pt x="6" y="689"/>
                  </a:lnTo>
                  <a:lnTo>
                    <a:pt x="6" y="709"/>
                  </a:lnTo>
                  <a:lnTo>
                    <a:pt x="17" y="711"/>
                  </a:lnTo>
                  <a:lnTo>
                    <a:pt x="25" y="723"/>
                  </a:lnTo>
                  <a:lnTo>
                    <a:pt x="22" y="778"/>
                  </a:lnTo>
                  <a:lnTo>
                    <a:pt x="57" y="773"/>
                  </a:lnTo>
                  <a:lnTo>
                    <a:pt x="72" y="791"/>
                  </a:lnTo>
                  <a:lnTo>
                    <a:pt x="65" y="843"/>
                  </a:lnTo>
                  <a:lnTo>
                    <a:pt x="75" y="856"/>
                  </a:lnTo>
                  <a:lnTo>
                    <a:pt x="114" y="817"/>
                  </a:lnTo>
                  <a:lnTo>
                    <a:pt x="148" y="815"/>
                  </a:lnTo>
                  <a:lnTo>
                    <a:pt x="156" y="794"/>
                  </a:lnTo>
                  <a:lnTo>
                    <a:pt x="112" y="788"/>
                  </a:lnTo>
                  <a:lnTo>
                    <a:pt x="104" y="742"/>
                  </a:lnTo>
                  <a:lnTo>
                    <a:pt x="132" y="698"/>
                  </a:lnTo>
                  <a:lnTo>
                    <a:pt x="169" y="695"/>
                  </a:lnTo>
                  <a:lnTo>
                    <a:pt x="205" y="729"/>
                  </a:lnTo>
                  <a:lnTo>
                    <a:pt x="169" y="778"/>
                  </a:lnTo>
                  <a:lnTo>
                    <a:pt x="179" y="796"/>
                  </a:lnTo>
                  <a:lnTo>
                    <a:pt x="232" y="802"/>
                  </a:lnTo>
                  <a:lnTo>
                    <a:pt x="265" y="773"/>
                  </a:lnTo>
                  <a:lnTo>
                    <a:pt x="247" y="812"/>
                  </a:lnTo>
                  <a:lnTo>
                    <a:pt x="252" y="843"/>
                  </a:lnTo>
                  <a:lnTo>
                    <a:pt x="307" y="848"/>
                  </a:lnTo>
                  <a:lnTo>
                    <a:pt x="380" y="854"/>
                  </a:lnTo>
                  <a:lnTo>
                    <a:pt x="390" y="888"/>
                  </a:lnTo>
                  <a:lnTo>
                    <a:pt x="429" y="916"/>
                  </a:lnTo>
                  <a:lnTo>
                    <a:pt x="463" y="919"/>
                  </a:lnTo>
                  <a:lnTo>
                    <a:pt x="487" y="898"/>
                  </a:lnTo>
                  <a:lnTo>
                    <a:pt x="500" y="859"/>
                  </a:lnTo>
                  <a:lnTo>
                    <a:pt x="521" y="877"/>
                  </a:lnTo>
                  <a:lnTo>
                    <a:pt x="536" y="895"/>
                  </a:lnTo>
                  <a:lnTo>
                    <a:pt x="547" y="799"/>
                  </a:lnTo>
                  <a:lnTo>
                    <a:pt x="521" y="794"/>
                  </a:lnTo>
                  <a:lnTo>
                    <a:pt x="505" y="760"/>
                  </a:lnTo>
                  <a:lnTo>
                    <a:pt x="417" y="736"/>
                  </a:lnTo>
                  <a:lnTo>
                    <a:pt x="406" y="692"/>
                  </a:lnTo>
                  <a:lnTo>
                    <a:pt x="437" y="671"/>
                  </a:lnTo>
                  <a:lnTo>
                    <a:pt x="411" y="653"/>
                  </a:lnTo>
                  <a:lnTo>
                    <a:pt x="417" y="630"/>
                  </a:lnTo>
                  <a:lnTo>
                    <a:pt x="458" y="632"/>
                  </a:lnTo>
                  <a:lnTo>
                    <a:pt x="494" y="650"/>
                  </a:lnTo>
                  <a:lnTo>
                    <a:pt x="523" y="617"/>
                  </a:lnTo>
                  <a:lnTo>
                    <a:pt x="494" y="593"/>
                  </a:lnTo>
                  <a:lnTo>
                    <a:pt x="497" y="562"/>
                  </a:lnTo>
                  <a:lnTo>
                    <a:pt x="513" y="513"/>
                  </a:lnTo>
                  <a:lnTo>
                    <a:pt x="567" y="507"/>
                  </a:lnTo>
                  <a:lnTo>
                    <a:pt x="612" y="489"/>
                  </a:lnTo>
                  <a:lnTo>
                    <a:pt x="616" y="479"/>
                  </a:lnTo>
                  <a:lnTo>
                    <a:pt x="569" y="473"/>
                  </a:lnTo>
                  <a:lnTo>
                    <a:pt x="552" y="459"/>
                  </a:lnTo>
                  <a:lnTo>
                    <a:pt x="527" y="457"/>
                  </a:lnTo>
                  <a:lnTo>
                    <a:pt x="501" y="437"/>
                  </a:lnTo>
                  <a:lnTo>
                    <a:pt x="467" y="417"/>
                  </a:lnTo>
                  <a:lnTo>
                    <a:pt x="430" y="417"/>
                  </a:lnTo>
                  <a:lnTo>
                    <a:pt x="416" y="403"/>
                  </a:lnTo>
                  <a:lnTo>
                    <a:pt x="414" y="190"/>
                  </a:lnTo>
                  <a:lnTo>
                    <a:pt x="405" y="190"/>
                  </a:lnTo>
                  <a:lnTo>
                    <a:pt x="394" y="210"/>
                  </a:lnTo>
                  <a:lnTo>
                    <a:pt x="368" y="227"/>
                  </a:lnTo>
                  <a:lnTo>
                    <a:pt x="309" y="210"/>
                  </a:lnTo>
                  <a:lnTo>
                    <a:pt x="263" y="196"/>
                  </a:lnTo>
                  <a:lnTo>
                    <a:pt x="244" y="202"/>
                  </a:lnTo>
                  <a:lnTo>
                    <a:pt x="238" y="188"/>
                  </a:lnTo>
                  <a:lnTo>
                    <a:pt x="252" y="148"/>
                  </a:lnTo>
                  <a:lnTo>
                    <a:pt x="246" y="108"/>
                  </a:lnTo>
                  <a:lnTo>
                    <a:pt x="258" y="80"/>
                  </a:lnTo>
                  <a:lnTo>
                    <a:pt x="229" y="40"/>
                  </a:lnTo>
                  <a:lnTo>
                    <a:pt x="190" y="40"/>
                  </a:lnTo>
                  <a:lnTo>
                    <a:pt x="142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26</a:t>
              </a:r>
            </a:p>
          </p:txBody>
        </p:sp>
        <p:sp>
          <p:nvSpPr>
            <p:cNvPr id="144" name="FR-17">
              <a:extLst>
                <a:ext uri="{FF2B5EF4-FFF2-40B4-BE49-F238E27FC236}">
                  <a16:creationId xmlns:a16="http://schemas.microsoft.com/office/drawing/2014/main" id="{43994E46-25B9-478C-9ABE-D791F4152A1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497203" y="3365118"/>
              <a:ext cx="800581" cy="922235"/>
            </a:xfrm>
            <a:custGeom>
              <a:avLst/>
              <a:gdLst>
                <a:gd name="T0" fmla="*/ 300 w 824"/>
                <a:gd name="T1" fmla="*/ 3 h 974"/>
                <a:gd name="T2" fmla="*/ 240 w 824"/>
                <a:gd name="T3" fmla="*/ 69 h 974"/>
                <a:gd name="T4" fmla="*/ 193 w 824"/>
                <a:gd name="T5" fmla="*/ 129 h 974"/>
                <a:gd name="T6" fmla="*/ 133 w 824"/>
                <a:gd name="T7" fmla="*/ 110 h 974"/>
                <a:gd name="T8" fmla="*/ 76 w 824"/>
                <a:gd name="T9" fmla="*/ 79 h 974"/>
                <a:gd name="T10" fmla="*/ 0 w 824"/>
                <a:gd name="T11" fmla="*/ 74 h 974"/>
                <a:gd name="T12" fmla="*/ 65 w 824"/>
                <a:gd name="T13" fmla="*/ 116 h 974"/>
                <a:gd name="T14" fmla="*/ 131 w 824"/>
                <a:gd name="T15" fmla="*/ 162 h 974"/>
                <a:gd name="T16" fmla="*/ 196 w 824"/>
                <a:gd name="T17" fmla="*/ 183 h 974"/>
                <a:gd name="T18" fmla="*/ 245 w 824"/>
                <a:gd name="T19" fmla="*/ 227 h 974"/>
                <a:gd name="T20" fmla="*/ 266 w 824"/>
                <a:gd name="T21" fmla="*/ 267 h 974"/>
                <a:gd name="T22" fmla="*/ 224 w 824"/>
                <a:gd name="T23" fmla="*/ 277 h 974"/>
                <a:gd name="T24" fmla="*/ 235 w 824"/>
                <a:gd name="T25" fmla="*/ 368 h 974"/>
                <a:gd name="T26" fmla="*/ 206 w 824"/>
                <a:gd name="T27" fmla="*/ 402 h 974"/>
                <a:gd name="T28" fmla="*/ 177 w 824"/>
                <a:gd name="T29" fmla="*/ 415 h 974"/>
                <a:gd name="T30" fmla="*/ 196 w 824"/>
                <a:gd name="T31" fmla="*/ 363 h 974"/>
                <a:gd name="T32" fmla="*/ 175 w 824"/>
                <a:gd name="T33" fmla="*/ 335 h 974"/>
                <a:gd name="T34" fmla="*/ 125 w 824"/>
                <a:gd name="T35" fmla="*/ 267 h 974"/>
                <a:gd name="T36" fmla="*/ 84 w 824"/>
                <a:gd name="T37" fmla="*/ 314 h 974"/>
                <a:gd name="T38" fmla="*/ 149 w 824"/>
                <a:gd name="T39" fmla="*/ 407 h 974"/>
                <a:gd name="T40" fmla="*/ 164 w 824"/>
                <a:gd name="T41" fmla="*/ 522 h 974"/>
                <a:gd name="T42" fmla="*/ 250 w 824"/>
                <a:gd name="T43" fmla="*/ 564 h 974"/>
                <a:gd name="T44" fmla="*/ 289 w 824"/>
                <a:gd name="T45" fmla="*/ 610 h 974"/>
                <a:gd name="T46" fmla="*/ 401 w 824"/>
                <a:gd name="T47" fmla="*/ 699 h 974"/>
                <a:gd name="T48" fmla="*/ 498 w 824"/>
                <a:gd name="T49" fmla="*/ 789 h 974"/>
                <a:gd name="T50" fmla="*/ 514 w 824"/>
                <a:gd name="T51" fmla="*/ 815 h 974"/>
                <a:gd name="T52" fmla="*/ 592 w 824"/>
                <a:gd name="T53" fmla="*/ 907 h 974"/>
                <a:gd name="T54" fmla="*/ 688 w 824"/>
                <a:gd name="T55" fmla="*/ 969 h 974"/>
                <a:gd name="T56" fmla="*/ 756 w 824"/>
                <a:gd name="T57" fmla="*/ 956 h 974"/>
                <a:gd name="T58" fmla="*/ 803 w 824"/>
                <a:gd name="T59" fmla="*/ 930 h 974"/>
                <a:gd name="T60" fmla="*/ 768 w 824"/>
                <a:gd name="T61" fmla="*/ 856 h 974"/>
                <a:gd name="T62" fmla="*/ 728 w 824"/>
                <a:gd name="T63" fmla="*/ 808 h 974"/>
                <a:gd name="T64" fmla="*/ 657 w 824"/>
                <a:gd name="T65" fmla="*/ 808 h 974"/>
                <a:gd name="T66" fmla="*/ 683 w 824"/>
                <a:gd name="T67" fmla="*/ 782 h 974"/>
                <a:gd name="T68" fmla="*/ 663 w 824"/>
                <a:gd name="T69" fmla="*/ 771 h 974"/>
                <a:gd name="T70" fmla="*/ 683 w 824"/>
                <a:gd name="T71" fmla="*/ 732 h 974"/>
                <a:gd name="T72" fmla="*/ 666 w 824"/>
                <a:gd name="T73" fmla="*/ 695 h 974"/>
                <a:gd name="T74" fmla="*/ 683 w 824"/>
                <a:gd name="T75" fmla="*/ 655 h 974"/>
                <a:gd name="T76" fmla="*/ 646 w 824"/>
                <a:gd name="T77" fmla="*/ 607 h 974"/>
                <a:gd name="T78" fmla="*/ 592 w 824"/>
                <a:gd name="T79" fmla="*/ 565 h 974"/>
                <a:gd name="T80" fmla="*/ 601 w 824"/>
                <a:gd name="T81" fmla="*/ 539 h 974"/>
                <a:gd name="T82" fmla="*/ 575 w 824"/>
                <a:gd name="T83" fmla="*/ 471 h 974"/>
                <a:gd name="T84" fmla="*/ 644 w 824"/>
                <a:gd name="T85" fmla="*/ 454 h 974"/>
                <a:gd name="T86" fmla="*/ 691 w 824"/>
                <a:gd name="T87" fmla="*/ 440 h 974"/>
                <a:gd name="T88" fmla="*/ 726 w 824"/>
                <a:gd name="T89" fmla="*/ 457 h 974"/>
                <a:gd name="T90" fmla="*/ 751 w 824"/>
                <a:gd name="T91" fmla="*/ 395 h 974"/>
                <a:gd name="T92" fmla="*/ 774 w 824"/>
                <a:gd name="T93" fmla="*/ 312 h 974"/>
                <a:gd name="T94" fmla="*/ 748 w 824"/>
                <a:gd name="T95" fmla="*/ 264 h 974"/>
                <a:gd name="T96" fmla="*/ 663 w 824"/>
                <a:gd name="T97" fmla="*/ 213 h 974"/>
                <a:gd name="T98" fmla="*/ 567 w 824"/>
                <a:gd name="T99" fmla="*/ 171 h 974"/>
                <a:gd name="T100" fmla="*/ 471 w 824"/>
                <a:gd name="T101" fmla="*/ 137 h 974"/>
                <a:gd name="T102" fmla="*/ 442 w 824"/>
                <a:gd name="T103" fmla="*/ 89 h 974"/>
                <a:gd name="T104" fmla="*/ 402 w 824"/>
                <a:gd name="T105" fmla="*/ 21 h 974"/>
                <a:gd name="T106" fmla="*/ 337 w 824"/>
                <a:gd name="T107" fmla="*/ 0 h 97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24"/>
                <a:gd name="T163" fmla="*/ 0 h 974"/>
                <a:gd name="T164" fmla="*/ 824 w 824"/>
                <a:gd name="T165" fmla="*/ 974 h 97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24" h="974">
                  <a:moveTo>
                    <a:pt x="337" y="0"/>
                  </a:moveTo>
                  <a:lnTo>
                    <a:pt x="300" y="3"/>
                  </a:lnTo>
                  <a:lnTo>
                    <a:pt x="221" y="51"/>
                  </a:lnTo>
                  <a:lnTo>
                    <a:pt x="240" y="69"/>
                  </a:lnTo>
                  <a:lnTo>
                    <a:pt x="198" y="102"/>
                  </a:lnTo>
                  <a:lnTo>
                    <a:pt x="193" y="129"/>
                  </a:lnTo>
                  <a:lnTo>
                    <a:pt x="154" y="134"/>
                  </a:lnTo>
                  <a:lnTo>
                    <a:pt x="133" y="110"/>
                  </a:lnTo>
                  <a:lnTo>
                    <a:pt x="81" y="105"/>
                  </a:lnTo>
                  <a:lnTo>
                    <a:pt x="76" y="79"/>
                  </a:lnTo>
                  <a:lnTo>
                    <a:pt x="44" y="58"/>
                  </a:lnTo>
                  <a:lnTo>
                    <a:pt x="0" y="74"/>
                  </a:lnTo>
                  <a:lnTo>
                    <a:pt x="29" y="116"/>
                  </a:lnTo>
                  <a:lnTo>
                    <a:pt x="65" y="116"/>
                  </a:lnTo>
                  <a:lnTo>
                    <a:pt x="102" y="139"/>
                  </a:lnTo>
                  <a:lnTo>
                    <a:pt x="131" y="162"/>
                  </a:lnTo>
                  <a:lnTo>
                    <a:pt x="185" y="160"/>
                  </a:lnTo>
                  <a:lnTo>
                    <a:pt x="196" y="183"/>
                  </a:lnTo>
                  <a:lnTo>
                    <a:pt x="232" y="191"/>
                  </a:lnTo>
                  <a:lnTo>
                    <a:pt x="245" y="227"/>
                  </a:lnTo>
                  <a:lnTo>
                    <a:pt x="269" y="238"/>
                  </a:lnTo>
                  <a:lnTo>
                    <a:pt x="266" y="267"/>
                  </a:lnTo>
                  <a:lnTo>
                    <a:pt x="235" y="262"/>
                  </a:lnTo>
                  <a:lnTo>
                    <a:pt x="224" y="277"/>
                  </a:lnTo>
                  <a:lnTo>
                    <a:pt x="248" y="311"/>
                  </a:lnTo>
                  <a:lnTo>
                    <a:pt x="235" y="368"/>
                  </a:lnTo>
                  <a:lnTo>
                    <a:pt x="204" y="366"/>
                  </a:lnTo>
                  <a:lnTo>
                    <a:pt x="206" y="402"/>
                  </a:lnTo>
                  <a:lnTo>
                    <a:pt x="214" y="415"/>
                  </a:lnTo>
                  <a:lnTo>
                    <a:pt x="177" y="415"/>
                  </a:lnTo>
                  <a:lnTo>
                    <a:pt x="172" y="394"/>
                  </a:lnTo>
                  <a:lnTo>
                    <a:pt x="196" y="363"/>
                  </a:lnTo>
                  <a:lnTo>
                    <a:pt x="188" y="345"/>
                  </a:lnTo>
                  <a:lnTo>
                    <a:pt x="175" y="335"/>
                  </a:lnTo>
                  <a:lnTo>
                    <a:pt x="169" y="272"/>
                  </a:lnTo>
                  <a:lnTo>
                    <a:pt x="125" y="267"/>
                  </a:lnTo>
                  <a:lnTo>
                    <a:pt x="89" y="222"/>
                  </a:lnTo>
                  <a:lnTo>
                    <a:pt x="84" y="314"/>
                  </a:lnTo>
                  <a:lnTo>
                    <a:pt x="144" y="358"/>
                  </a:lnTo>
                  <a:lnTo>
                    <a:pt x="149" y="407"/>
                  </a:lnTo>
                  <a:lnTo>
                    <a:pt x="159" y="465"/>
                  </a:lnTo>
                  <a:lnTo>
                    <a:pt x="164" y="522"/>
                  </a:lnTo>
                  <a:lnTo>
                    <a:pt x="196" y="519"/>
                  </a:lnTo>
                  <a:lnTo>
                    <a:pt x="250" y="564"/>
                  </a:lnTo>
                  <a:lnTo>
                    <a:pt x="287" y="585"/>
                  </a:lnTo>
                  <a:lnTo>
                    <a:pt x="289" y="610"/>
                  </a:lnTo>
                  <a:lnTo>
                    <a:pt x="318" y="616"/>
                  </a:lnTo>
                  <a:lnTo>
                    <a:pt x="401" y="699"/>
                  </a:lnTo>
                  <a:lnTo>
                    <a:pt x="421" y="789"/>
                  </a:lnTo>
                  <a:lnTo>
                    <a:pt x="498" y="789"/>
                  </a:lnTo>
                  <a:lnTo>
                    <a:pt x="511" y="776"/>
                  </a:lnTo>
                  <a:lnTo>
                    <a:pt x="514" y="815"/>
                  </a:lnTo>
                  <a:lnTo>
                    <a:pt x="581" y="823"/>
                  </a:lnTo>
                  <a:lnTo>
                    <a:pt x="592" y="907"/>
                  </a:lnTo>
                  <a:lnTo>
                    <a:pt x="629" y="909"/>
                  </a:lnTo>
                  <a:lnTo>
                    <a:pt x="688" y="969"/>
                  </a:lnTo>
                  <a:lnTo>
                    <a:pt x="719" y="974"/>
                  </a:lnTo>
                  <a:lnTo>
                    <a:pt x="756" y="956"/>
                  </a:lnTo>
                  <a:lnTo>
                    <a:pt x="782" y="974"/>
                  </a:lnTo>
                  <a:lnTo>
                    <a:pt x="803" y="930"/>
                  </a:lnTo>
                  <a:lnTo>
                    <a:pt x="824" y="894"/>
                  </a:lnTo>
                  <a:lnTo>
                    <a:pt x="768" y="856"/>
                  </a:lnTo>
                  <a:lnTo>
                    <a:pt x="751" y="833"/>
                  </a:lnTo>
                  <a:lnTo>
                    <a:pt x="728" y="808"/>
                  </a:lnTo>
                  <a:lnTo>
                    <a:pt x="674" y="817"/>
                  </a:lnTo>
                  <a:lnTo>
                    <a:pt x="657" y="808"/>
                  </a:lnTo>
                  <a:lnTo>
                    <a:pt x="655" y="794"/>
                  </a:lnTo>
                  <a:lnTo>
                    <a:pt x="683" y="782"/>
                  </a:lnTo>
                  <a:lnTo>
                    <a:pt x="683" y="777"/>
                  </a:lnTo>
                  <a:lnTo>
                    <a:pt x="663" y="771"/>
                  </a:lnTo>
                  <a:lnTo>
                    <a:pt x="649" y="760"/>
                  </a:lnTo>
                  <a:lnTo>
                    <a:pt x="683" y="732"/>
                  </a:lnTo>
                  <a:lnTo>
                    <a:pt x="683" y="712"/>
                  </a:lnTo>
                  <a:lnTo>
                    <a:pt x="666" y="695"/>
                  </a:lnTo>
                  <a:lnTo>
                    <a:pt x="677" y="683"/>
                  </a:lnTo>
                  <a:lnTo>
                    <a:pt x="683" y="655"/>
                  </a:lnTo>
                  <a:lnTo>
                    <a:pt x="663" y="635"/>
                  </a:lnTo>
                  <a:lnTo>
                    <a:pt x="646" y="607"/>
                  </a:lnTo>
                  <a:lnTo>
                    <a:pt x="615" y="579"/>
                  </a:lnTo>
                  <a:lnTo>
                    <a:pt x="592" y="565"/>
                  </a:lnTo>
                  <a:lnTo>
                    <a:pt x="612" y="542"/>
                  </a:lnTo>
                  <a:lnTo>
                    <a:pt x="601" y="539"/>
                  </a:lnTo>
                  <a:lnTo>
                    <a:pt x="598" y="480"/>
                  </a:lnTo>
                  <a:lnTo>
                    <a:pt x="575" y="471"/>
                  </a:lnTo>
                  <a:lnTo>
                    <a:pt x="606" y="454"/>
                  </a:lnTo>
                  <a:lnTo>
                    <a:pt x="644" y="454"/>
                  </a:lnTo>
                  <a:lnTo>
                    <a:pt x="660" y="440"/>
                  </a:lnTo>
                  <a:lnTo>
                    <a:pt x="691" y="440"/>
                  </a:lnTo>
                  <a:lnTo>
                    <a:pt x="697" y="454"/>
                  </a:lnTo>
                  <a:lnTo>
                    <a:pt x="726" y="457"/>
                  </a:lnTo>
                  <a:lnTo>
                    <a:pt x="745" y="448"/>
                  </a:lnTo>
                  <a:lnTo>
                    <a:pt x="751" y="395"/>
                  </a:lnTo>
                  <a:lnTo>
                    <a:pt x="774" y="312"/>
                  </a:lnTo>
                  <a:lnTo>
                    <a:pt x="754" y="292"/>
                  </a:lnTo>
                  <a:lnTo>
                    <a:pt x="748" y="264"/>
                  </a:lnTo>
                  <a:lnTo>
                    <a:pt x="711" y="247"/>
                  </a:lnTo>
                  <a:lnTo>
                    <a:pt x="663" y="213"/>
                  </a:lnTo>
                  <a:lnTo>
                    <a:pt x="604" y="219"/>
                  </a:lnTo>
                  <a:lnTo>
                    <a:pt x="567" y="171"/>
                  </a:lnTo>
                  <a:lnTo>
                    <a:pt x="513" y="168"/>
                  </a:lnTo>
                  <a:lnTo>
                    <a:pt x="471" y="137"/>
                  </a:lnTo>
                  <a:lnTo>
                    <a:pt x="471" y="120"/>
                  </a:lnTo>
                  <a:lnTo>
                    <a:pt x="442" y="89"/>
                  </a:lnTo>
                  <a:lnTo>
                    <a:pt x="441" y="50"/>
                  </a:lnTo>
                  <a:lnTo>
                    <a:pt x="402" y="21"/>
                  </a:lnTo>
                  <a:lnTo>
                    <a:pt x="352" y="42"/>
                  </a:lnTo>
                  <a:lnTo>
                    <a:pt x="337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17</a:t>
              </a:r>
            </a:p>
          </p:txBody>
        </p:sp>
        <p:sp>
          <p:nvSpPr>
            <p:cNvPr id="145" name="FR-19">
              <a:extLst>
                <a:ext uri="{FF2B5EF4-FFF2-40B4-BE49-F238E27FC236}">
                  <a16:creationId xmlns:a16="http://schemas.microsoft.com/office/drawing/2014/main" id="{8AFF0D5C-A43A-4739-8769-5B4092444A9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930281" y="3832863"/>
              <a:ext cx="667475" cy="598411"/>
            </a:xfrm>
            <a:custGeom>
              <a:avLst/>
              <a:gdLst>
                <a:gd name="T0" fmla="*/ 403 w 687"/>
                <a:gd name="T1" fmla="*/ 28 h 632"/>
                <a:gd name="T2" fmla="*/ 344 w 687"/>
                <a:gd name="T3" fmla="*/ 65 h 632"/>
                <a:gd name="T4" fmla="*/ 296 w 687"/>
                <a:gd name="T5" fmla="*/ 56 h 632"/>
                <a:gd name="T6" fmla="*/ 245 w 687"/>
                <a:gd name="T7" fmla="*/ 93 h 632"/>
                <a:gd name="T8" fmla="*/ 199 w 687"/>
                <a:gd name="T9" fmla="*/ 130 h 632"/>
                <a:gd name="T10" fmla="*/ 129 w 687"/>
                <a:gd name="T11" fmla="*/ 144 h 632"/>
                <a:gd name="T12" fmla="*/ 92 w 687"/>
                <a:gd name="T13" fmla="*/ 170 h 632"/>
                <a:gd name="T14" fmla="*/ 26 w 687"/>
                <a:gd name="T15" fmla="*/ 201 h 632"/>
                <a:gd name="T16" fmla="*/ 23 w 687"/>
                <a:gd name="T17" fmla="*/ 259 h 632"/>
                <a:gd name="T18" fmla="*/ 0 w 687"/>
                <a:gd name="T19" fmla="*/ 329 h 632"/>
                <a:gd name="T20" fmla="*/ 21 w 687"/>
                <a:gd name="T21" fmla="*/ 376 h 632"/>
                <a:gd name="T22" fmla="*/ 29 w 687"/>
                <a:gd name="T23" fmla="*/ 426 h 632"/>
                <a:gd name="T24" fmla="*/ 31 w 687"/>
                <a:gd name="T25" fmla="*/ 467 h 632"/>
                <a:gd name="T26" fmla="*/ 86 w 687"/>
                <a:gd name="T27" fmla="*/ 522 h 632"/>
                <a:gd name="T28" fmla="*/ 115 w 687"/>
                <a:gd name="T29" fmla="*/ 555 h 632"/>
                <a:gd name="T30" fmla="*/ 237 w 687"/>
                <a:gd name="T31" fmla="*/ 558 h 632"/>
                <a:gd name="T32" fmla="*/ 318 w 687"/>
                <a:gd name="T33" fmla="*/ 628 h 632"/>
                <a:gd name="T34" fmla="*/ 376 w 687"/>
                <a:gd name="T35" fmla="*/ 610 h 632"/>
                <a:gd name="T36" fmla="*/ 446 w 687"/>
                <a:gd name="T37" fmla="*/ 591 h 632"/>
                <a:gd name="T38" fmla="*/ 481 w 687"/>
                <a:gd name="T39" fmla="*/ 576 h 632"/>
                <a:gd name="T40" fmla="*/ 455 w 687"/>
                <a:gd name="T41" fmla="*/ 535 h 632"/>
                <a:gd name="T42" fmla="*/ 497 w 687"/>
                <a:gd name="T43" fmla="*/ 509 h 632"/>
                <a:gd name="T44" fmla="*/ 521 w 687"/>
                <a:gd name="T45" fmla="*/ 446 h 632"/>
                <a:gd name="T46" fmla="*/ 546 w 687"/>
                <a:gd name="T47" fmla="*/ 353 h 632"/>
                <a:gd name="T48" fmla="*/ 596 w 687"/>
                <a:gd name="T49" fmla="*/ 251 h 632"/>
                <a:gd name="T50" fmla="*/ 646 w 687"/>
                <a:gd name="T51" fmla="*/ 293 h 632"/>
                <a:gd name="T52" fmla="*/ 687 w 687"/>
                <a:gd name="T53" fmla="*/ 274 h 632"/>
                <a:gd name="T54" fmla="*/ 687 w 687"/>
                <a:gd name="T55" fmla="*/ 196 h 632"/>
                <a:gd name="T56" fmla="*/ 664 w 687"/>
                <a:gd name="T57" fmla="*/ 134 h 632"/>
                <a:gd name="T58" fmla="*/ 687 w 687"/>
                <a:gd name="T59" fmla="*/ 58 h 632"/>
                <a:gd name="T60" fmla="*/ 676 w 687"/>
                <a:gd name="T61" fmla="*/ 16 h 632"/>
                <a:gd name="T62" fmla="*/ 599 w 687"/>
                <a:gd name="T63" fmla="*/ 36 h 632"/>
                <a:gd name="T64" fmla="*/ 551 w 687"/>
                <a:gd name="T65" fmla="*/ 62 h 632"/>
                <a:gd name="T66" fmla="*/ 514 w 687"/>
                <a:gd name="T67" fmla="*/ 19 h 632"/>
                <a:gd name="T68" fmla="*/ 434 w 687"/>
                <a:gd name="T69" fmla="*/ 0 h 63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687"/>
                <a:gd name="T106" fmla="*/ 0 h 632"/>
                <a:gd name="T107" fmla="*/ 687 w 687"/>
                <a:gd name="T108" fmla="*/ 632 h 63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687" h="632">
                  <a:moveTo>
                    <a:pt x="414" y="0"/>
                  </a:moveTo>
                  <a:lnTo>
                    <a:pt x="403" y="28"/>
                  </a:lnTo>
                  <a:lnTo>
                    <a:pt x="361" y="36"/>
                  </a:lnTo>
                  <a:lnTo>
                    <a:pt x="344" y="65"/>
                  </a:lnTo>
                  <a:lnTo>
                    <a:pt x="324" y="65"/>
                  </a:lnTo>
                  <a:lnTo>
                    <a:pt x="296" y="56"/>
                  </a:lnTo>
                  <a:lnTo>
                    <a:pt x="276" y="90"/>
                  </a:lnTo>
                  <a:lnTo>
                    <a:pt x="245" y="93"/>
                  </a:lnTo>
                  <a:lnTo>
                    <a:pt x="225" y="130"/>
                  </a:lnTo>
                  <a:lnTo>
                    <a:pt x="199" y="130"/>
                  </a:lnTo>
                  <a:lnTo>
                    <a:pt x="179" y="150"/>
                  </a:lnTo>
                  <a:lnTo>
                    <a:pt x="129" y="144"/>
                  </a:lnTo>
                  <a:lnTo>
                    <a:pt x="111" y="172"/>
                  </a:lnTo>
                  <a:lnTo>
                    <a:pt x="92" y="170"/>
                  </a:lnTo>
                  <a:lnTo>
                    <a:pt x="58" y="212"/>
                  </a:lnTo>
                  <a:lnTo>
                    <a:pt x="26" y="201"/>
                  </a:lnTo>
                  <a:lnTo>
                    <a:pt x="12" y="230"/>
                  </a:lnTo>
                  <a:lnTo>
                    <a:pt x="23" y="259"/>
                  </a:lnTo>
                  <a:lnTo>
                    <a:pt x="52" y="282"/>
                  </a:lnTo>
                  <a:lnTo>
                    <a:pt x="0" y="329"/>
                  </a:lnTo>
                  <a:lnTo>
                    <a:pt x="0" y="366"/>
                  </a:lnTo>
                  <a:lnTo>
                    <a:pt x="21" y="376"/>
                  </a:lnTo>
                  <a:lnTo>
                    <a:pt x="0" y="402"/>
                  </a:lnTo>
                  <a:lnTo>
                    <a:pt x="29" y="426"/>
                  </a:lnTo>
                  <a:lnTo>
                    <a:pt x="8" y="451"/>
                  </a:lnTo>
                  <a:lnTo>
                    <a:pt x="31" y="467"/>
                  </a:lnTo>
                  <a:lnTo>
                    <a:pt x="88" y="465"/>
                  </a:lnTo>
                  <a:lnTo>
                    <a:pt x="86" y="522"/>
                  </a:lnTo>
                  <a:lnTo>
                    <a:pt x="107" y="556"/>
                  </a:lnTo>
                  <a:lnTo>
                    <a:pt x="115" y="555"/>
                  </a:lnTo>
                  <a:lnTo>
                    <a:pt x="171" y="529"/>
                  </a:lnTo>
                  <a:lnTo>
                    <a:pt x="237" y="558"/>
                  </a:lnTo>
                  <a:lnTo>
                    <a:pt x="288" y="632"/>
                  </a:lnTo>
                  <a:lnTo>
                    <a:pt x="318" y="628"/>
                  </a:lnTo>
                  <a:lnTo>
                    <a:pt x="362" y="584"/>
                  </a:lnTo>
                  <a:lnTo>
                    <a:pt x="376" y="610"/>
                  </a:lnTo>
                  <a:lnTo>
                    <a:pt x="406" y="581"/>
                  </a:lnTo>
                  <a:lnTo>
                    <a:pt x="446" y="591"/>
                  </a:lnTo>
                  <a:lnTo>
                    <a:pt x="448" y="600"/>
                  </a:lnTo>
                  <a:lnTo>
                    <a:pt x="481" y="576"/>
                  </a:lnTo>
                  <a:lnTo>
                    <a:pt x="471" y="551"/>
                  </a:lnTo>
                  <a:lnTo>
                    <a:pt x="455" y="535"/>
                  </a:lnTo>
                  <a:lnTo>
                    <a:pt x="476" y="509"/>
                  </a:lnTo>
                  <a:lnTo>
                    <a:pt x="497" y="509"/>
                  </a:lnTo>
                  <a:lnTo>
                    <a:pt x="510" y="467"/>
                  </a:lnTo>
                  <a:lnTo>
                    <a:pt x="521" y="446"/>
                  </a:lnTo>
                  <a:lnTo>
                    <a:pt x="513" y="399"/>
                  </a:lnTo>
                  <a:lnTo>
                    <a:pt x="546" y="353"/>
                  </a:lnTo>
                  <a:lnTo>
                    <a:pt x="594" y="324"/>
                  </a:lnTo>
                  <a:lnTo>
                    <a:pt x="596" y="251"/>
                  </a:lnTo>
                  <a:lnTo>
                    <a:pt x="619" y="264"/>
                  </a:lnTo>
                  <a:lnTo>
                    <a:pt x="646" y="293"/>
                  </a:lnTo>
                  <a:lnTo>
                    <a:pt x="671" y="293"/>
                  </a:lnTo>
                  <a:lnTo>
                    <a:pt x="687" y="274"/>
                  </a:lnTo>
                  <a:lnTo>
                    <a:pt x="674" y="243"/>
                  </a:lnTo>
                  <a:lnTo>
                    <a:pt x="687" y="196"/>
                  </a:lnTo>
                  <a:lnTo>
                    <a:pt x="679" y="152"/>
                  </a:lnTo>
                  <a:lnTo>
                    <a:pt x="664" y="134"/>
                  </a:lnTo>
                  <a:lnTo>
                    <a:pt x="664" y="97"/>
                  </a:lnTo>
                  <a:lnTo>
                    <a:pt x="687" y="58"/>
                  </a:lnTo>
                  <a:lnTo>
                    <a:pt x="682" y="22"/>
                  </a:lnTo>
                  <a:lnTo>
                    <a:pt x="676" y="16"/>
                  </a:lnTo>
                  <a:lnTo>
                    <a:pt x="650" y="36"/>
                  </a:lnTo>
                  <a:lnTo>
                    <a:pt x="599" y="36"/>
                  </a:lnTo>
                  <a:lnTo>
                    <a:pt x="582" y="62"/>
                  </a:lnTo>
                  <a:lnTo>
                    <a:pt x="551" y="62"/>
                  </a:lnTo>
                  <a:lnTo>
                    <a:pt x="525" y="36"/>
                  </a:lnTo>
                  <a:lnTo>
                    <a:pt x="514" y="19"/>
                  </a:lnTo>
                  <a:lnTo>
                    <a:pt x="449" y="19"/>
                  </a:lnTo>
                  <a:lnTo>
                    <a:pt x="434" y="0"/>
                  </a:lnTo>
                  <a:lnTo>
                    <a:pt x="414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19</a:t>
              </a:r>
            </a:p>
          </p:txBody>
        </p:sp>
        <p:sp>
          <p:nvSpPr>
            <p:cNvPr id="146" name="FR-23">
              <a:extLst>
                <a:ext uri="{FF2B5EF4-FFF2-40B4-BE49-F238E27FC236}">
                  <a16:creationId xmlns:a16="http://schemas.microsoft.com/office/drawing/2014/main" id="{364B4DD8-5B1B-49AD-A7EB-A44F6ED8DB2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010922" y="3331031"/>
              <a:ext cx="632498" cy="560537"/>
            </a:xfrm>
            <a:custGeom>
              <a:avLst/>
              <a:gdLst>
                <a:gd name="T0" fmla="*/ 203 w 651"/>
                <a:gd name="T1" fmla="*/ 0 h 592"/>
                <a:gd name="T2" fmla="*/ 188 w 651"/>
                <a:gd name="T3" fmla="*/ 41 h 592"/>
                <a:gd name="T4" fmla="*/ 141 w 651"/>
                <a:gd name="T5" fmla="*/ 39 h 592"/>
                <a:gd name="T6" fmla="*/ 130 w 651"/>
                <a:gd name="T7" fmla="*/ 33 h 592"/>
                <a:gd name="T8" fmla="*/ 99 w 651"/>
                <a:gd name="T9" fmla="*/ 36 h 592"/>
                <a:gd name="T10" fmla="*/ 76 w 651"/>
                <a:gd name="T11" fmla="*/ 21 h 592"/>
                <a:gd name="T12" fmla="*/ 31 w 651"/>
                <a:gd name="T13" fmla="*/ 72 h 592"/>
                <a:gd name="T14" fmla="*/ 31 w 651"/>
                <a:gd name="T15" fmla="*/ 111 h 592"/>
                <a:gd name="T16" fmla="*/ 0 w 651"/>
                <a:gd name="T17" fmla="*/ 173 h 592"/>
                <a:gd name="T18" fmla="*/ 6 w 651"/>
                <a:gd name="T19" fmla="*/ 204 h 592"/>
                <a:gd name="T20" fmla="*/ 40 w 651"/>
                <a:gd name="T21" fmla="*/ 212 h 592"/>
                <a:gd name="T22" fmla="*/ 63 w 651"/>
                <a:gd name="T23" fmla="*/ 269 h 592"/>
                <a:gd name="T24" fmla="*/ 85 w 651"/>
                <a:gd name="T25" fmla="*/ 292 h 592"/>
                <a:gd name="T26" fmla="*/ 77 w 651"/>
                <a:gd name="T27" fmla="*/ 399 h 592"/>
                <a:gd name="T28" fmla="*/ 125 w 651"/>
                <a:gd name="T29" fmla="*/ 385 h 592"/>
                <a:gd name="T30" fmla="*/ 145 w 651"/>
                <a:gd name="T31" fmla="*/ 411 h 592"/>
                <a:gd name="T32" fmla="*/ 113 w 651"/>
                <a:gd name="T33" fmla="*/ 436 h 592"/>
                <a:gd name="T34" fmla="*/ 113 w 651"/>
                <a:gd name="T35" fmla="*/ 462 h 592"/>
                <a:gd name="T36" fmla="*/ 139 w 651"/>
                <a:gd name="T37" fmla="*/ 464 h 592"/>
                <a:gd name="T38" fmla="*/ 184 w 651"/>
                <a:gd name="T39" fmla="*/ 462 h 592"/>
                <a:gd name="T40" fmla="*/ 198 w 651"/>
                <a:gd name="T41" fmla="*/ 442 h 592"/>
                <a:gd name="T42" fmla="*/ 210 w 651"/>
                <a:gd name="T43" fmla="*/ 442 h 592"/>
                <a:gd name="T44" fmla="*/ 204 w 651"/>
                <a:gd name="T45" fmla="*/ 476 h 592"/>
                <a:gd name="T46" fmla="*/ 241 w 651"/>
                <a:gd name="T47" fmla="*/ 493 h 592"/>
                <a:gd name="T48" fmla="*/ 275 w 651"/>
                <a:gd name="T49" fmla="*/ 516 h 592"/>
                <a:gd name="T50" fmla="*/ 275 w 651"/>
                <a:gd name="T51" fmla="*/ 530 h 592"/>
                <a:gd name="T52" fmla="*/ 255 w 651"/>
                <a:gd name="T53" fmla="*/ 530 h 592"/>
                <a:gd name="T54" fmla="*/ 261 w 651"/>
                <a:gd name="T55" fmla="*/ 563 h 592"/>
                <a:gd name="T56" fmla="*/ 274 w 651"/>
                <a:gd name="T57" fmla="*/ 572 h 592"/>
                <a:gd name="T58" fmla="*/ 278 w 651"/>
                <a:gd name="T59" fmla="*/ 566 h 592"/>
                <a:gd name="T60" fmla="*/ 320 w 651"/>
                <a:gd name="T61" fmla="*/ 558 h 592"/>
                <a:gd name="T62" fmla="*/ 331 w 651"/>
                <a:gd name="T63" fmla="*/ 530 h 592"/>
                <a:gd name="T64" fmla="*/ 351 w 651"/>
                <a:gd name="T65" fmla="*/ 530 h 592"/>
                <a:gd name="T66" fmla="*/ 366 w 651"/>
                <a:gd name="T67" fmla="*/ 549 h 592"/>
                <a:gd name="T68" fmla="*/ 431 w 651"/>
                <a:gd name="T69" fmla="*/ 549 h 592"/>
                <a:gd name="T70" fmla="*/ 442 w 651"/>
                <a:gd name="T71" fmla="*/ 566 h 592"/>
                <a:gd name="T72" fmla="*/ 468 w 651"/>
                <a:gd name="T73" fmla="*/ 592 h 592"/>
                <a:gd name="T74" fmla="*/ 499 w 651"/>
                <a:gd name="T75" fmla="*/ 592 h 592"/>
                <a:gd name="T76" fmla="*/ 516 w 651"/>
                <a:gd name="T77" fmla="*/ 566 h 592"/>
                <a:gd name="T78" fmla="*/ 567 w 651"/>
                <a:gd name="T79" fmla="*/ 566 h 592"/>
                <a:gd name="T80" fmla="*/ 593 w 651"/>
                <a:gd name="T81" fmla="*/ 546 h 592"/>
                <a:gd name="T82" fmla="*/ 539 w 651"/>
                <a:gd name="T83" fmla="*/ 492 h 592"/>
                <a:gd name="T84" fmla="*/ 534 w 651"/>
                <a:gd name="T85" fmla="*/ 468 h 592"/>
                <a:gd name="T86" fmla="*/ 583 w 651"/>
                <a:gd name="T87" fmla="*/ 440 h 592"/>
                <a:gd name="T88" fmla="*/ 612 w 651"/>
                <a:gd name="T89" fmla="*/ 424 h 592"/>
                <a:gd name="T90" fmla="*/ 620 w 651"/>
                <a:gd name="T91" fmla="*/ 388 h 592"/>
                <a:gd name="T92" fmla="*/ 651 w 651"/>
                <a:gd name="T93" fmla="*/ 364 h 592"/>
                <a:gd name="T94" fmla="*/ 641 w 651"/>
                <a:gd name="T95" fmla="*/ 315 h 592"/>
                <a:gd name="T96" fmla="*/ 620 w 651"/>
                <a:gd name="T97" fmla="*/ 289 h 592"/>
                <a:gd name="T98" fmla="*/ 615 w 651"/>
                <a:gd name="T99" fmla="*/ 208 h 592"/>
                <a:gd name="T100" fmla="*/ 586 w 651"/>
                <a:gd name="T101" fmla="*/ 141 h 592"/>
                <a:gd name="T102" fmla="*/ 557 w 651"/>
                <a:gd name="T103" fmla="*/ 130 h 592"/>
                <a:gd name="T104" fmla="*/ 536 w 651"/>
                <a:gd name="T105" fmla="*/ 93 h 592"/>
                <a:gd name="T106" fmla="*/ 518 w 651"/>
                <a:gd name="T107" fmla="*/ 117 h 592"/>
                <a:gd name="T108" fmla="*/ 500 w 651"/>
                <a:gd name="T109" fmla="*/ 93 h 592"/>
                <a:gd name="T110" fmla="*/ 500 w 651"/>
                <a:gd name="T111" fmla="*/ 62 h 592"/>
                <a:gd name="T112" fmla="*/ 469 w 651"/>
                <a:gd name="T113" fmla="*/ 18 h 592"/>
                <a:gd name="T114" fmla="*/ 383 w 651"/>
                <a:gd name="T115" fmla="*/ 28 h 592"/>
                <a:gd name="T116" fmla="*/ 333 w 651"/>
                <a:gd name="T117" fmla="*/ 16 h 592"/>
                <a:gd name="T118" fmla="*/ 203 w 651"/>
                <a:gd name="T119" fmla="*/ 0 h 59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51"/>
                <a:gd name="T181" fmla="*/ 0 h 592"/>
                <a:gd name="T182" fmla="*/ 651 w 651"/>
                <a:gd name="T183" fmla="*/ 592 h 59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51" h="592">
                  <a:moveTo>
                    <a:pt x="203" y="0"/>
                  </a:moveTo>
                  <a:lnTo>
                    <a:pt x="188" y="41"/>
                  </a:lnTo>
                  <a:lnTo>
                    <a:pt x="141" y="39"/>
                  </a:lnTo>
                  <a:lnTo>
                    <a:pt x="130" y="33"/>
                  </a:lnTo>
                  <a:lnTo>
                    <a:pt x="99" y="36"/>
                  </a:lnTo>
                  <a:lnTo>
                    <a:pt x="76" y="21"/>
                  </a:lnTo>
                  <a:lnTo>
                    <a:pt x="31" y="72"/>
                  </a:lnTo>
                  <a:lnTo>
                    <a:pt x="31" y="111"/>
                  </a:lnTo>
                  <a:lnTo>
                    <a:pt x="0" y="173"/>
                  </a:lnTo>
                  <a:lnTo>
                    <a:pt x="6" y="204"/>
                  </a:lnTo>
                  <a:lnTo>
                    <a:pt x="40" y="212"/>
                  </a:lnTo>
                  <a:lnTo>
                    <a:pt x="63" y="269"/>
                  </a:lnTo>
                  <a:lnTo>
                    <a:pt x="85" y="292"/>
                  </a:lnTo>
                  <a:lnTo>
                    <a:pt x="77" y="399"/>
                  </a:lnTo>
                  <a:lnTo>
                    <a:pt x="125" y="385"/>
                  </a:lnTo>
                  <a:lnTo>
                    <a:pt x="145" y="411"/>
                  </a:lnTo>
                  <a:lnTo>
                    <a:pt x="113" y="436"/>
                  </a:lnTo>
                  <a:lnTo>
                    <a:pt x="113" y="462"/>
                  </a:lnTo>
                  <a:lnTo>
                    <a:pt x="139" y="464"/>
                  </a:lnTo>
                  <a:lnTo>
                    <a:pt x="184" y="462"/>
                  </a:lnTo>
                  <a:lnTo>
                    <a:pt x="198" y="442"/>
                  </a:lnTo>
                  <a:lnTo>
                    <a:pt x="210" y="442"/>
                  </a:lnTo>
                  <a:lnTo>
                    <a:pt x="204" y="476"/>
                  </a:lnTo>
                  <a:lnTo>
                    <a:pt x="241" y="493"/>
                  </a:lnTo>
                  <a:lnTo>
                    <a:pt x="275" y="516"/>
                  </a:lnTo>
                  <a:lnTo>
                    <a:pt x="275" y="530"/>
                  </a:lnTo>
                  <a:lnTo>
                    <a:pt x="255" y="530"/>
                  </a:lnTo>
                  <a:lnTo>
                    <a:pt x="261" y="563"/>
                  </a:lnTo>
                  <a:lnTo>
                    <a:pt x="274" y="572"/>
                  </a:lnTo>
                  <a:lnTo>
                    <a:pt x="278" y="566"/>
                  </a:lnTo>
                  <a:lnTo>
                    <a:pt x="320" y="558"/>
                  </a:lnTo>
                  <a:lnTo>
                    <a:pt x="331" y="530"/>
                  </a:lnTo>
                  <a:lnTo>
                    <a:pt x="351" y="530"/>
                  </a:lnTo>
                  <a:lnTo>
                    <a:pt x="366" y="549"/>
                  </a:lnTo>
                  <a:lnTo>
                    <a:pt x="431" y="549"/>
                  </a:lnTo>
                  <a:lnTo>
                    <a:pt x="442" y="566"/>
                  </a:lnTo>
                  <a:lnTo>
                    <a:pt x="468" y="592"/>
                  </a:lnTo>
                  <a:lnTo>
                    <a:pt x="499" y="592"/>
                  </a:lnTo>
                  <a:lnTo>
                    <a:pt x="516" y="566"/>
                  </a:lnTo>
                  <a:lnTo>
                    <a:pt x="567" y="566"/>
                  </a:lnTo>
                  <a:lnTo>
                    <a:pt x="593" y="546"/>
                  </a:lnTo>
                  <a:lnTo>
                    <a:pt x="539" y="492"/>
                  </a:lnTo>
                  <a:lnTo>
                    <a:pt x="534" y="468"/>
                  </a:lnTo>
                  <a:lnTo>
                    <a:pt x="583" y="440"/>
                  </a:lnTo>
                  <a:lnTo>
                    <a:pt x="612" y="424"/>
                  </a:lnTo>
                  <a:lnTo>
                    <a:pt x="620" y="388"/>
                  </a:lnTo>
                  <a:lnTo>
                    <a:pt x="651" y="364"/>
                  </a:lnTo>
                  <a:lnTo>
                    <a:pt x="641" y="315"/>
                  </a:lnTo>
                  <a:lnTo>
                    <a:pt x="620" y="289"/>
                  </a:lnTo>
                  <a:lnTo>
                    <a:pt x="615" y="208"/>
                  </a:lnTo>
                  <a:lnTo>
                    <a:pt x="586" y="141"/>
                  </a:lnTo>
                  <a:lnTo>
                    <a:pt x="557" y="130"/>
                  </a:lnTo>
                  <a:lnTo>
                    <a:pt x="536" y="93"/>
                  </a:lnTo>
                  <a:lnTo>
                    <a:pt x="518" y="117"/>
                  </a:lnTo>
                  <a:lnTo>
                    <a:pt x="500" y="93"/>
                  </a:lnTo>
                  <a:lnTo>
                    <a:pt x="500" y="62"/>
                  </a:lnTo>
                  <a:lnTo>
                    <a:pt x="469" y="18"/>
                  </a:lnTo>
                  <a:lnTo>
                    <a:pt x="383" y="28"/>
                  </a:lnTo>
                  <a:lnTo>
                    <a:pt x="333" y="16"/>
                  </a:lnTo>
                  <a:lnTo>
                    <a:pt x="203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23</a:t>
              </a:r>
            </a:p>
          </p:txBody>
        </p:sp>
        <p:sp>
          <p:nvSpPr>
            <p:cNvPr id="147" name="FR-87">
              <a:extLst>
                <a:ext uri="{FF2B5EF4-FFF2-40B4-BE49-F238E27FC236}">
                  <a16:creationId xmlns:a16="http://schemas.microsoft.com/office/drawing/2014/main" id="{1EAC70A1-2B85-4207-9F79-F26D15F275A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623262" y="3367958"/>
              <a:ext cx="654844" cy="682681"/>
            </a:xfrm>
            <a:custGeom>
              <a:avLst/>
              <a:gdLst>
                <a:gd name="T0" fmla="*/ 357 w 674"/>
                <a:gd name="T1" fmla="*/ 23 h 721"/>
                <a:gd name="T2" fmla="*/ 285 w 674"/>
                <a:gd name="T3" fmla="*/ 17 h 721"/>
                <a:gd name="T4" fmla="*/ 206 w 674"/>
                <a:gd name="T5" fmla="*/ 49 h 721"/>
                <a:gd name="T6" fmla="*/ 149 w 674"/>
                <a:gd name="T7" fmla="*/ 83 h 721"/>
                <a:gd name="T8" fmla="*/ 95 w 674"/>
                <a:gd name="T9" fmla="*/ 138 h 721"/>
                <a:gd name="T10" fmla="*/ 110 w 674"/>
                <a:gd name="T11" fmla="*/ 229 h 721"/>
                <a:gd name="T12" fmla="*/ 118 w 674"/>
                <a:gd name="T13" fmla="*/ 276 h 721"/>
                <a:gd name="T14" fmla="*/ 162 w 674"/>
                <a:gd name="T15" fmla="*/ 315 h 721"/>
                <a:gd name="T16" fmla="*/ 118 w 674"/>
                <a:gd name="T17" fmla="*/ 349 h 721"/>
                <a:gd name="T18" fmla="*/ 100 w 674"/>
                <a:gd name="T19" fmla="*/ 422 h 721"/>
                <a:gd name="T20" fmla="*/ 42 w 674"/>
                <a:gd name="T21" fmla="*/ 450 h 721"/>
                <a:gd name="T22" fmla="*/ 8 w 674"/>
                <a:gd name="T23" fmla="*/ 489 h 721"/>
                <a:gd name="T24" fmla="*/ 60 w 674"/>
                <a:gd name="T25" fmla="*/ 531 h 721"/>
                <a:gd name="T26" fmla="*/ 63 w 674"/>
                <a:gd name="T27" fmla="*/ 586 h 721"/>
                <a:gd name="T28" fmla="*/ 105 w 674"/>
                <a:gd name="T29" fmla="*/ 612 h 721"/>
                <a:gd name="T30" fmla="*/ 206 w 674"/>
                <a:gd name="T31" fmla="*/ 594 h 721"/>
                <a:gd name="T32" fmla="*/ 277 w 674"/>
                <a:gd name="T33" fmla="*/ 654 h 721"/>
                <a:gd name="T34" fmla="*/ 250 w 674"/>
                <a:gd name="T35" fmla="*/ 690 h 721"/>
                <a:gd name="T36" fmla="*/ 324 w 674"/>
                <a:gd name="T37" fmla="*/ 711 h 721"/>
                <a:gd name="T38" fmla="*/ 342 w 674"/>
                <a:gd name="T39" fmla="*/ 692 h 721"/>
                <a:gd name="T40" fmla="*/ 408 w 674"/>
                <a:gd name="T41" fmla="*/ 661 h 721"/>
                <a:gd name="T42" fmla="*/ 445 w 674"/>
                <a:gd name="T43" fmla="*/ 635 h 721"/>
                <a:gd name="T44" fmla="*/ 515 w 674"/>
                <a:gd name="T45" fmla="*/ 621 h 721"/>
                <a:gd name="T46" fmla="*/ 561 w 674"/>
                <a:gd name="T47" fmla="*/ 584 h 721"/>
                <a:gd name="T48" fmla="*/ 612 w 674"/>
                <a:gd name="T49" fmla="*/ 547 h 721"/>
                <a:gd name="T50" fmla="*/ 660 w 674"/>
                <a:gd name="T51" fmla="*/ 556 h 721"/>
                <a:gd name="T52" fmla="*/ 660 w 674"/>
                <a:gd name="T53" fmla="*/ 524 h 721"/>
                <a:gd name="T54" fmla="*/ 674 w 674"/>
                <a:gd name="T55" fmla="*/ 491 h 721"/>
                <a:gd name="T56" fmla="*/ 640 w 674"/>
                <a:gd name="T57" fmla="*/ 454 h 721"/>
                <a:gd name="T58" fmla="*/ 609 w 674"/>
                <a:gd name="T59" fmla="*/ 403 h 721"/>
                <a:gd name="T60" fmla="*/ 583 w 674"/>
                <a:gd name="T61" fmla="*/ 423 h 721"/>
                <a:gd name="T62" fmla="*/ 512 w 674"/>
                <a:gd name="T63" fmla="*/ 423 h 721"/>
                <a:gd name="T64" fmla="*/ 544 w 674"/>
                <a:gd name="T65" fmla="*/ 372 h 721"/>
                <a:gd name="T66" fmla="*/ 476 w 674"/>
                <a:gd name="T67" fmla="*/ 360 h 721"/>
                <a:gd name="T68" fmla="*/ 462 w 674"/>
                <a:gd name="T69" fmla="*/ 230 h 721"/>
                <a:gd name="T70" fmla="*/ 405 w 674"/>
                <a:gd name="T71" fmla="*/ 165 h 721"/>
                <a:gd name="T72" fmla="*/ 430 w 674"/>
                <a:gd name="T73" fmla="*/ 72 h 721"/>
                <a:gd name="T74" fmla="*/ 422 w 674"/>
                <a:gd name="T75" fmla="*/ 42 h 72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674"/>
                <a:gd name="T115" fmla="*/ 0 h 721"/>
                <a:gd name="T116" fmla="*/ 674 w 674"/>
                <a:gd name="T117" fmla="*/ 721 h 721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674" h="721">
                  <a:moveTo>
                    <a:pt x="381" y="0"/>
                  </a:moveTo>
                  <a:lnTo>
                    <a:pt x="357" y="23"/>
                  </a:lnTo>
                  <a:lnTo>
                    <a:pt x="292" y="18"/>
                  </a:lnTo>
                  <a:lnTo>
                    <a:pt x="285" y="17"/>
                  </a:lnTo>
                  <a:lnTo>
                    <a:pt x="235" y="26"/>
                  </a:lnTo>
                  <a:lnTo>
                    <a:pt x="206" y="49"/>
                  </a:lnTo>
                  <a:lnTo>
                    <a:pt x="206" y="81"/>
                  </a:lnTo>
                  <a:lnTo>
                    <a:pt x="149" y="83"/>
                  </a:lnTo>
                  <a:lnTo>
                    <a:pt x="115" y="122"/>
                  </a:lnTo>
                  <a:lnTo>
                    <a:pt x="95" y="138"/>
                  </a:lnTo>
                  <a:lnTo>
                    <a:pt x="112" y="159"/>
                  </a:lnTo>
                  <a:lnTo>
                    <a:pt x="110" y="229"/>
                  </a:lnTo>
                  <a:lnTo>
                    <a:pt x="97" y="252"/>
                  </a:lnTo>
                  <a:lnTo>
                    <a:pt x="118" y="276"/>
                  </a:lnTo>
                  <a:lnTo>
                    <a:pt x="154" y="279"/>
                  </a:lnTo>
                  <a:lnTo>
                    <a:pt x="162" y="315"/>
                  </a:lnTo>
                  <a:lnTo>
                    <a:pt x="165" y="338"/>
                  </a:lnTo>
                  <a:lnTo>
                    <a:pt x="118" y="349"/>
                  </a:lnTo>
                  <a:lnTo>
                    <a:pt x="95" y="357"/>
                  </a:lnTo>
                  <a:lnTo>
                    <a:pt x="100" y="422"/>
                  </a:lnTo>
                  <a:lnTo>
                    <a:pt x="68" y="442"/>
                  </a:lnTo>
                  <a:lnTo>
                    <a:pt x="42" y="450"/>
                  </a:lnTo>
                  <a:lnTo>
                    <a:pt x="29" y="487"/>
                  </a:lnTo>
                  <a:lnTo>
                    <a:pt x="8" y="489"/>
                  </a:lnTo>
                  <a:lnTo>
                    <a:pt x="0" y="529"/>
                  </a:lnTo>
                  <a:lnTo>
                    <a:pt x="60" y="531"/>
                  </a:lnTo>
                  <a:lnTo>
                    <a:pt x="74" y="557"/>
                  </a:lnTo>
                  <a:lnTo>
                    <a:pt x="63" y="586"/>
                  </a:lnTo>
                  <a:lnTo>
                    <a:pt x="87" y="617"/>
                  </a:lnTo>
                  <a:lnTo>
                    <a:pt x="105" y="612"/>
                  </a:lnTo>
                  <a:lnTo>
                    <a:pt x="123" y="586"/>
                  </a:lnTo>
                  <a:lnTo>
                    <a:pt x="206" y="594"/>
                  </a:lnTo>
                  <a:lnTo>
                    <a:pt x="220" y="646"/>
                  </a:lnTo>
                  <a:lnTo>
                    <a:pt x="277" y="654"/>
                  </a:lnTo>
                  <a:lnTo>
                    <a:pt x="290" y="672"/>
                  </a:lnTo>
                  <a:lnTo>
                    <a:pt x="250" y="690"/>
                  </a:lnTo>
                  <a:lnTo>
                    <a:pt x="269" y="703"/>
                  </a:lnTo>
                  <a:lnTo>
                    <a:pt x="324" y="711"/>
                  </a:lnTo>
                  <a:lnTo>
                    <a:pt x="328" y="721"/>
                  </a:lnTo>
                  <a:lnTo>
                    <a:pt x="342" y="692"/>
                  </a:lnTo>
                  <a:lnTo>
                    <a:pt x="374" y="703"/>
                  </a:lnTo>
                  <a:lnTo>
                    <a:pt x="408" y="661"/>
                  </a:lnTo>
                  <a:lnTo>
                    <a:pt x="427" y="663"/>
                  </a:lnTo>
                  <a:lnTo>
                    <a:pt x="445" y="635"/>
                  </a:lnTo>
                  <a:lnTo>
                    <a:pt x="495" y="641"/>
                  </a:lnTo>
                  <a:lnTo>
                    <a:pt x="515" y="621"/>
                  </a:lnTo>
                  <a:lnTo>
                    <a:pt x="541" y="621"/>
                  </a:lnTo>
                  <a:lnTo>
                    <a:pt x="561" y="584"/>
                  </a:lnTo>
                  <a:lnTo>
                    <a:pt x="592" y="581"/>
                  </a:lnTo>
                  <a:lnTo>
                    <a:pt x="612" y="547"/>
                  </a:lnTo>
                  <a:lnTo>
                    <a:pt x="640" y="556"/>
                  </a:lnTo>
                  <a:lnTo>
                    <a:pt x="660" y="556"/>
                  </a:lnTo>
                  <a:lnTo>
                    <a:pt x="673" y="533"/>
                  </a:lnTo>
                  <a:lnTo>
                    <a:pt x="660" y="524"/>
                  </a:lnTo>
                  <a:lnTo>
                    <a:pt x="654" y="491"/>
                  </a:lnTo>
                  <a:lnTo>
                    <a:pt x="674" y="491"/>
                  </a:lnTo>
                  <a:lnTo>
                    <a:pt x="674" y="477"/>
                  </a:lnTo>
                  <a:lnTo>
                    <a:pt x="640" y="454"/>
                  </a:lnTo>
                  <a:lnTo>
                    <a:pt x="603" y="437"/>
                  </a:lnTo>
                  <a:lnTo>
                    <a:pt x="609" y="403"/>
                  </a:lnTo>
                  <a:lnTo>
                    <a:pt x="597" y="403"/>
                  </a:lnTo>
                  <a:lnTo>
                    <a:pt x="583" y="423"/>
                  </a:lnTo>
                  <a:lnTo>
                    <a:pt x="538" y="425"/>
                  </a:lnTo>
                  <a:lnTo>
                    <a:pt x="512" y="423"/>
                  </a:lnTo>
                  <a:lnTo>
                    <a:pt x="512" y="397"/>
                  </a:lnTo>
                  <a:lnTo>
                    <a:pt x="544" y="372"/>
                  </a:lnTo>
                  <a:lnTo>
                    <a:pt x="524" y="346"/>
                  </a:lnTo>
                  <a:lnTo>
                    <a:pt x="476" y="360"/>
                  </a:lnTo>
                  <a:lnTo>
                    <a:pt x="484" y="253"/>
                  </a:lnTo>
                  <a:lnTo>
                    <a:pt x="462" y="230"/>
                  </a:lnTo>
                  <a:lnTo>
                    <a:pt x="439" y="173"/>
                  </a:lnTo>
                  <a:lnTo>
                    <a:pt x="405" y="165"/>
                  </a:lnTo>
                  <a:lnTo>
                    <a:pt x="399" y="134"/>
                  </a:lnTo>
                  <a:lnTo>
                    <a:pt x="430" y="72"/>
                  </a:lnTo>
                  <a:lnTo>
                    <a:pt x="430" y="33"/>
                  </a:lnTo>
                  <a:lnTo>
                    <a:pt x="422" y="42"/>
                  </a:lnTo>
                  <a:lnTo>
                    <a:pt x="381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87</a:t>
              </a:r>
            </a:p>
          </p:txBody>
        </p:sp>
        <p:sp>
          <p:nvSpPr>
            <p:cNvPr id="148" name="FR-86">
              <a:extLst>
                <a:ext uri="{FF2B5EF4-FFF2-40B4-BE49-F238E27FC236}">
                  <a16:creationId xmlns:a16="http://schemas.microsoft.com/office/drawing/2014/main" id="{BBDCD70A-DED0-4859-8A7F-E26A60726C4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275437" y="2797952"/>
              <a:ext cx="649015" cy="809560"/>
            </a:xfrm>
            <a:custGeom>
              <a:avLst/>
              <a:gdLst>
                <a:gd name="T0" fmla="*/ 12 w 668"/>
                <a:gd name="T1" fmla="*/ 52 h 855"/>
                <a:gd name="T2" fmla="*/ 4 w 668"/>
                <a:gd name="T3" fmla="*/ 138 h 855"/>
                <a:gd name="T4" fmla="*/ 29 w 668"/>
                <a:gd name="T5" fmla="*/ 164 h 855"/>
                <a:gd name="T6" fmla="*/ 52 w 668"/>
                <a:gd name="T7" fmla="*/ 240 h 855"/>
                <a:gd name="T8" fmla="*/ 43 w 668"/>
                <a:gd name="T9" fmla="*/ 274 h 855"/>
                <a:gd name="T10" fmla="*/ 32 w 668"/>
                <a:gd name="T11" fmla="*/ 302 h 855"/>
                <a:gd name="T12" fmla="*/ 52 w 668"/>
                <a:gd name="T13" fmla="*/ 339 h 855"/>
                <a:gd name="T14" fmla="*/ 15 w 668"/>
                <a:gd name="T15" fmla="*/ 404 h 855"/>
                <a:gd name="T16" fmla="*/ 52 w 668"/>
                <a:gd name="T17" fmla="*/ 436 h 855"/>
                <a:gd name="T18" fmla="*/ 38 w 668"/>
                <a:gd name="T19" fmla="*/ 481 h 855"/>
                <a:gd name="T20" fmla="*/ 21 w 668"/>
                <a:gd name="T21" fmla="*/ 529 h 855"/>
                <a:gd name="T22" fmla="*/ 32 w 668"/>
                <a:gd name="T23" fmla="*/ 591 h 855"/>
                <a:gd name="T24" fmla="*/ 43 w 668"/>
                <a:gd name="T25" fmla="*/ 625 h 855"/>
                <a:gd name="T26" fmla="*/ 69 w 668"/>
                <a:gd name="T27" fmla="*/ 668 h 855"/>
                <a:gd name="T28" fmla="*/ 80 w 668"/>
                <a:gd name="T29" fmla="*/ 636 h 855"/>
                <a:gd name="T30" fmla="*/ 120 w 668"/>
                <a:gd name="T31" fmla="*/ 636 h 855"/>
                <a:gd name="T32" fmla="*/ 103 w 668"/>
                <a:gd name="T33" fmla="*/ 699 h 855"/>
                <a:gd name="T34" fmla="*/ 108 w 668"/>
                <a:gd name="T35" fmla="*/ 764 h 855"/>
                <a:gd name="T36" fmla="*/ 140 w 668"/>
                <a:gd name="T37" fmla="*/ 801 h 855"/>
                <a:gd name="T38" fmla="*/ 137 w 668"/>
                <a:gd name="T39" fmla="*/ 849 h 855"/>
                <a:gd name="T40" fmla="*/ 222 w 668"/>
                <a:gd name="T41" fmla="*/ 832 h 855"/>
                <a:gd name="T42" fmla="*/ 276 w 668"/>
                <a:gd name="T43" fmla="*/ 844 h 855"/>
                <a:gd name="T44" fmla="*/ 295 w 668"/>
                <a:gd name="T45" fmla="*/ 789 h 855"/>
                <a:gd name="T46" fmla="*/ 332 w 668"/>
                <a:gd name="T47" fmla="*/ 841 h 855"/>
                <a:gd name="T48" fmla="*/ 400 w 668"/>
                <a:gd name="T49" fmla="*/ 798 h 855"/>
                <a:gd name="T50" fmla="*/ 469 w 668"/>
                <a:gd name="T51" fmla="*/ 810 h 855"/>
                <a:gd name="T52" fmla="*/ 453 w 668"/>
                <a:gd name="T53" fmla="*/ 740 h 855"/>
                <a:gd name="T54" fmla="*/ 507 w 668"/>
                <a:gd name="T55" fmla="*/ 685 h 855"/>
                <a:gd name="T56" fmla="*/ 564 w 668"/>
                <a:gd name="T57" fmla="*/ 651 h 855"/>
                <a:gd name="T58" fmla="*/ 663 w 668"/>
                <a:gd name="T59" fmla="*/ 615 h 855"/>
                <a:gd name="T60" fmla="*/ 640 w 668"/>
                <a:gd name="T61" fmla="*/ 560 h 855"/>
                <a:gd name="T62" fmla="*/ 583 w 668"/>
                <a:gd name="T63" fmla="*/ 500 h 855"/>
                <a:gd name="T64" fmla="*/ 507 w 668"/>
                <a:gd name="T65" fmla="*/ 435 h 855"/>
                <a:gd name="T66" fmla="*/ 518 w 668"/>
                <a:gd name="T67" fmla="*/ 354 h 855"/>
                <a:gd name="T68" fmla="*/ 465 w 668"/>
                <a:gd name="T69" fmla="*/ 271 h 855"/>
                <a:gd name="T70" fmla="*/ 405 w 668"/>
                <a:gd name="T71" fmla="*/ 162 h 855"/>
                <a:gd name="T72" fmla="*/ 366 w 668"/>
                <a:gd name="T73" fmla="*/ 125 h 855"/>
                <a:gd name="T74" fmla="*/ 351 w 668"/>
                <a:gd name="T75" fmla="*/ 167 h 855"/>
                <a:gd name="T76" fmla="*/ 205 w 668"/>
                <a:gd name="T77" fmla="*/ 183 h 855"/>
                <a:gd name="T78" fmla="*/ 208 w 668"/>
                <a:gd name="T79" fmla="*/ 102 h 855"/>
                <a:gd name="T80" fmla="*/ 145 w 668"/>
                <a:gd name="T81" fmla="*/ 52 h 855"/>
                <a:gd name="T82" fmla="*/ 85 w 668"/>
                <a:gd name="T83" fmla="*/ 0 h 85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668"/>
                <a:gd name="T127" fmla="*/ 0 h 855"/>
                <a:gd name="T128" fmla="*/ 668 w 668"/>
                <a:gd name="T129" fmla="*/ 855 h 85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668" h="855">
                  <a:moveTo>
                    <a:pt x="62" y="0"/>
                  </a:moveTo>
                  <a:lnTo>
                    <a:pt x="12" y="52"/>
                  </a:lnTo>
                  <a:lnTo>
                    <a:pt x="0" y="74"/>
                  </a:lnTo>
                  <a:lnTo>
                    <a:pt x="4" y="138"/>
                  </a:lnTo>
                  <a:lnTo>
                    <a:pt x="26" y="135"/>
                  </a:lnTo>
                  <a:lnTo>
                    <a:pt x="29" y="164"/>
                  </a:lnTo>
                  <a:lnTo>
                    <a:pt x="38" y="209"/>
                  </a:lnTo>
                  <a:lnTo>
                    <a:pt x="52" y="240"/>
                  </a:lnTo>
                  <a:lnTo>
                    <a:pt x="35" y="260"/>
                  </a:lnTo>
                  <a:lnTo>
                    <a:pt x="43" y="274"/>
                  </a:lnTo>
                  <a:lnTo>
                    <a:pt x="32" y="294"/>
                  </a:lnTo>
                  <a:lnTo>
                    <a:pt x="32" y="302"/>
                  </a:lnTo>
                  <a:lnTo>
                    <a:pt x="52" y="325"/>
                  </a:lnTo>
                  <a:lnTo>
                    <a:pt x="52" y="339"/>
                  </a:lnTo>
                  <a:lnTo>
                    <a:pt x="43" y="362"/>
                  </a:lnTo>
                  <a:lnTo>
                    <a:pt x="15" y="404"/>
                  </a:lnTo>
                  <a:lnTo>
                    <a:pt x="43" y="416"/>
                  </a:lnTo>
                  <a:lnTo>
                    <a:pt x="52" y="436"/>
                  </a:lnTo>
                  <a:lnTo>
                    <a:pt x="40" y="466"/>
                  </a:lnTo>
                  <a:lnTo>
                    <a:pt x="38" y="481"/>
                  </a:lnTo>
                  <a:lnTo>
                    <a:pt x="21" y="509"/>
                  </a:lnTo>
                  <a:lnTo>
                    <a:pt x="21" y="529"/>
                  </a:lnTo>
                  <a:lnTo>
                    <a:pt x="32" y="532"/>
                  </a:lnTo>
                  <a:lnTo>
                    <a:pt x="32" y="591"/>
                  </a:lnTo>
                  <a:lnTo>
                    <a:pt x="52" y="606"/>
                  </a:lnTo>
                  <a:lnTo>
                    <a:pt x="43" y="625"/>
                  </a:lnTo>
                  <a:lnTo>
                    <a:pt x="46" y="642"/>
                  </a:lnTo>
                  <a:lnTo>
                    <a:pt x="69" y="668"/>
                  </a:lnTo>
                  <a:lnTo>
                    <a:pt x="80" y="651"/>
                  </a:lnTo>
                  <a:lnTo>
                    <a:pt x="80" y="636"/>
                  </a:lnTo>
                  <a:lnTo>
                    <a:pt x="103" y="625"/>
                  </a:lnTo>
                  <a:lnTo>
                    <a:pt x="120" y="636"/>
                  </a:lnTo>
                  <a:lnTo>
                    <a:pt x="120" y="679"/>
                  </a:lnTo>
                  <a:lnTo>
                    <a:pt x="103" y="699"/>
                  </a:lnTo>
                  <a:lnTo>
                    <a:pt x="89" y="733"/>
                  </a:lnTo>
                  <a:lnTo>
                    <a:pt x="108" y="764"/>
                  </a:lnTo>
                  <a:lnTo>
                    <a:pt x="148" y="775"/>
                  </a:lnTo>
                  <a:lnTo>
                    <a:pt x="140" y="801"/>
                  </a:lnTo>
                  <a:lnTo>
                    <a:pt x="103" y="807"/>
                  </a:lnTo>
                  <a:lnTo>
                    <a:pt x="137" y="849"/>
                  </a:lnTo>
                  <a:lnTo>
                    <a:pt x="182" y="846"/>
                  </a:lnTo>
                  <a:lnTo>
                    <a:pt x="222" y="832"/>
                  </a:lnTo>
                  <a:lnTo>
                    <a:pt x="262" y="855"/>
                  </a:lnTo>
                  <a:lnTo>
                    <a:pt x="276" y="844"/>
                  </a:lnTo>
                  <a:lnTo>
                    <a:pt x="273" y="806"/>
                  </a:lnTo>
                  <a:lnTo>
                    <a:pt x="295" y="789"/>
                  </a:lnTo>
                  <a:lnTo>
                    <a:pt x="315" y="824"/>
                  </a:lnTo>
                  <a:lnTo>
                    <a:pt x="332" y="841"/>
                  </a:lnTo>
                  <a:lnTo>
                    <a:pt x="380" y="821"/>
                  </a:lnTo>
                  <a:lnTo>
                    <a:pt x="400" y="798"/>
                  </a:lnTo>
                  <a:lnTo>
                    <a:pt x="445" y="798"/>
                  </a:lnTo>
                  <a:lnTo>
                    <a:pt x="469" y="810"/>
                  </a:lnTo>
                  <a:lnTo>
                    <a:pt x="470" y="761"/>
                  </a:lnTo>
                  <a:lnTo>
                    <a:pt x="453" y="740"/>
                  </a:lnTo>
                  <a:lnTo>
                    <a:pt x="473" y="724"/>
                  </a:lnTo>
                  <a:lnTo>
                    <a:pt x="507" y="685"/>
                  </a:lnTo>
                  <a:lnTo>
                    <a:pt x="564" y="683"/>
                  </a:lnTo>
                  <a:lnTo>
                    <a:pt x="564" y="651"/>
                  </a:lnTo>
                  <a:lnTo>
                    <a:pt x="593" y="628"/>
                  </a:lnTo>
                  <a:lnTo>
                    <a:pt x="663" y="615"/>
                  </a:lnTo>
                  <a:lnTo>
                    <a:pt x="668" y="576"/>
                  </a:lnTo>
                  <a:lnTo>
                    <a:pt x="640" y="560"/>
                  </a:lnTo>
                  <a:lnTo>
                    <a:pt x="624" y="506"/>
                  </a:lnTo>
                  <a:lnTo>
                    <a:pt x="583" y="500"/>
                  </a:lnTo>
                  <a:lnTo>
                    <a:pt x="557" y="474"/>
                  </a:lnTo>
                  <a:lnTo>
                    <a:pt x="507" y="435"/>
                  </a:lnTo>
                  <a:lnTo>
                    <a:pt x="518" y="404"/>
                  </a:lnTo>
                  <a:lnTo>
                    <a:pt x="518" y="354"/>
                  </a:lnTo>
                  <a:lnTo>
                    <a:pt x="470" y="308"/>
                  </a:lnTo>
                  <a:lnTo>
                    <a:pt x="465" y="271"/>
                  </a:lnTo>
                  <a:lnTo>
                    <a:pt x="421" y="224"/>
                  </a:lnTo>
                  <a:lnTo>
                    <a:pt x="405" y="162"/>
                  </a:lnTo>
                  <a:lnTo>
                    <a:pt x="387" y="154"/>
                  </a:lnTo>
                  <a:lnTo>
                    <a:pt x="366" y="125"/>
                  </a:lnTo>
                  <a:lnTo>
                    <a:pt x="345" y="138"/>
                  </a:lnTo>
                  <a:lnTo>
                    <a:pt x="351" y="167"/>
                  </a:lnTo>
                  <a:lnTo>
                    <a:pt x="283" y="183"/>
                  </a:lnTo>
                  <a:lnTo>
                    <a:pt x="205" y="183"/>
                  </a:lnTo>
                  <a:lnTo>
                    <a:pt x="208" y="151"/>
                  </a:lnTo>
                  <a:lnTo>
                    <a:pt x="208" y="102"/>
                  </a:lnTo>
                  <a:lnTo>
                    <a:pt x="145" y="84"/>
                  </a:lnTo>
                  <a:lnTo>
                    <a:pt x="145" y="52"/>
                  </a:lnTo>
                  <a:lnTo>
                    <a:pt x="95" y="42"/>
                  </a:lnTo>
                  <a:lnTo>
                    <a:pt x="85" y="0"/>
                  </a:lnTo>
                  <a:lnTo>
                    <a:pt x="62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86</a:t>
              </a:r>
            </a:p>
          </p:txBody>
        </p:sp>
        <p:sp>
          <p:nvSpPr>
            <p:cNvPr id="149" name="FR-16">
              <a:extLst>
                <a:ext uri="{FF2B5EF4-FFF2-40B4-BE49-F238E27FC236}">
                  <a16:creationId xmlns:a16="http://schemas.microsoft.com/office/drawing/2014/main" id="{AEB9B2B9-BBBE-45C2-A3EB-461A73EC4D7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055860" y="3545020"/>
              <a:ext cx="727712" cy="666585"/>
            </a:xfrm>
            <a:custGeom>
              <a:avLst/>
              <a:gdLst>
                <a:gd name="T0" fmla="*/ 499 w 749"/>
                <a:gd name="T1" fmla="*/ 17 h 704"/>
                <a:gd name="T2" fmla="*/ 488 w 749"/>
                <a:gd name="T3" fmla="*/ 66 h 704"/>
                <a:gd name="T4" fmla="*/ 408 w 749"/>
                <a:gd name="T5" fmla="*/ 57 h 704"/>
                <a:gd name="T6" fmla="*/ 329 w 749"/>
                <a:gd name="T7" fmla="*/ 18 h 704"/>
                <a:gd name="T8" fmla="*/ 272 w 749"/>
                <a:gd name="T9" fmla="*/ 43 h 704"/>
                <a:gd name="T10" fmla="*/ 238 w 749"/>
                <a:gd name="T11" fmla="*/ 71 h 704"/>
                <a:gd name="T12" fmla="*/ 224 w 749"/>
                <a:gd name="T13" fmla="*/ 108 h 704"/>
                <a:gd name="T14" fmla="*/ 176 w 749"/>
                <a:gd name="T15" fmla="*/ 205 h 704"/>
                <a:gd name="T16" fmla="*/ 151 w 749"/>
                <a:gd name="T17" fmla="*/ 267 h 704"/>
                <a:gd name="T18" fmla="*/ 116 w 749"/>
                <a:gd name="T19" fmla="*/ 250 h 704"/>
                <a:gd name="T20" fmla="*/ 69 w 749"/>
                <a:gd name="T21" fmla="*/ 264 h 704"/>
                <a:gd name="T22" fmla="*/ 0 w 749"/>
                <a:gd name="T23" fmla="*/ 281 h 704"/>
                <a:gd name="T24" fmla="*/ 26 w 749"/>
                <a:gd name="T25" fmla="*/ 349 h 704"/>
                <a:gd name="T26" fmla="*/ 17 w 749"/>
                <a:gd name="T27" fmla="*/ 375 h 704"/>
                <a:gd name="T28" fmla="*/ 71 w 749"/>
                <a:gd name="T29" fmla="*/ 417 h 704"/>
                <a:gd name="T30" fmla="*/ 108 w 749"/>
                <a:gd name="T31" fmla="*/ 465 h 704"/>
                <a:gd name="T32" fmla="*/ 91 w 749"/>
                <a:gd name="T33" fmla="*/ 505 h 704"/>
                <a:gd name="T34" fmla="*/ 108 w 749"/>
                <a:gd name="T35" fmla="*/ 542 h 704"/>
                <a:gd name="T36" fmla="*/ 88 w 749"/>
                <a:gd name="T37" fmla="*/ 581 h 704"/>
                <a:gd name="T38" fmla="*/ 108 w 749"/>
                <a:gd name="T39" fmla="*/ 592 h 704"/>
                <a:gd name="T40" fmla="*/ 82 w 749"/>
                <a:gd name="T41" fmla="*/ 618 h 704"/>
                <a:gd name="T42" fmla="*/ 153 w 749"/>
                <a:gd name="T43" fmla="*/ 618 h 704"/>
                <a:gd name="T44" fmla="*/ 193 w 749"/>
                <a:gd name="T45" fmla="*/ 666 h 704"/>
                <a:gd name="T46" fmla="*/ 256 w 749"/>
                <a:gd name="T47" fmla="*/ 690 h 704"/>
                <a:gd name="T48" fmla="*/ 334 w 749"/>
                <a:gd name="T49" fmla="*/ 672 h 704"/>
                <a:gd name="T50" fmla="*/ 384 w 749"/>
                <a:gd name="T51" fmla="*/ 534 h 704"/>
                <a:gd name="T52" fmla="*/ 509 w 749"/>
                <a:gd name="T53" fmla="*/ 388 h 704"/>
                <a:gd name="T54" fmla="*/ 569 w 749"/>
                <a:gd name="T55" fmla="*/ 342 h 704"/>
                <a:gd name="T56" fmla="*/ 592 w 749"/>
                <a:gd name="T57" fmla="*/ 302 h 704"/>
                <a:gd name="T58" fmla="*/ 626 w 749"/>
                <a:gd name="T59" fmla="*/ 263 h 704"/>
                <a:gd name="T60" fmla="*/ 684 w 749"/>
                <a:gd name="T61" fmla="*/ 235 h 704"/>
                <a:gd name="T62" fmla="*/ 702 w 749"/>
                <a:gd name="T63" fmla="*/ 162 h 704"/>
                <a:gd name="T64" fmla="*/ 746 w 749"/>
                <a:gd name="T65" fmla="*/ 128 h 704"/>
                <a:gd name="T66" fmla="*/ 702 w 749"/>
                <a:gd name="T67" fmla="*/ 89 h 704"/>
                <a:gd name="T68" fmla="*/ 694 w 749"/>
                <a:gd name="T69" fmla="*/ 42 h 704"/>
                <a:gd name="T70" fmla="*/ 671 w 749"/>
                <a:gd name="T71" fmla="*/ 9 h 704"/>
                <a:gd name="T72" fmla="*/ 606 w 749"/>
                <a:gd name="T73" fmla="*/ 32 h 704"/>
                <a:gd name="T74" fmla="*/ 541 w 749"/>
                <a:gd name="T75" fmla="*/ 35 h 70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749"/>
                <a:gd name="T115" fmla="*/ 0 h 704"/>
                <a:gd name="T116" fmla="*/ 749 w 749"/>
                <a:gd name="T117" fmla="*/ 704 h 704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749" h="704">
                  <a:moveTo>
                    <a:pt x="521" y="0"/>
                  </a:moveTo>
                  <a:lnTo>
                    <a:pt x="499" y="17"/>
                  </a:lnTo>
                  <a:lnTo>
                    <a:pt x="502" y="55"/>
                  </a:lnTo>
                  <a:lnTo>
                    <a:pt x="488" y="66"/>
                  </a:lnTo>
                  <a:lnTo>
                    <a:pt x="448" y="43"/>
                  </a:lnTo>
                  <a:lnTo>
                    <a:pt x="408" y="57"/>
                  </a:lnTo>
                  <a:lnTo>
                    <a:pt x="363" y="60"/>
                  </a:lnTo>
                  <a:lnTo>
                    <a:pt x="329" y="18"/>
                  </a:lnTo>
                  <a:lnTo>
                    <a:pt x="318" y="20"/>
                  </a:lnTo>
                  <a:lnTo>
                    <a:pt x="272" y="43"/>
                  </a:lnTo>
                  <a:lnTo>
                    <a:pt x="238" y="52"/>
                  </a:lnTo>
                  <a:lnTo>
                    <a:pt x="238" y="71"/>
                  </a:lnTo>
                  <a:lnTo>
                    <a:pt x="219" y="94"/>
                  </a:lnTo>
                  <a:lnTo>
                    <a:pt x="224" y="108"/>
                  </a:lnTo>
                  <a:lnTo>
                    <a:pt x="199" y="122"/>
                  </a:lnTo>
                  <a:lnTo>
                    <a:pt x="176" y="205"/>
                  </a:lnTo>
                  <a:lnTo>
                    <a:pt x="170" y="258"/>
                  </a:lnTo>
                  <a:lnTo>
                    <a:pt x="151" y="267"/>
                  </a:lnTo>
                  <a:lnTo>
                    <a:pt x="122" y="264"/>
                  </a:lnTo>
                  <a:lnTo>
                    <a:pt x="116" y="250"/>
                  </a:lnTo>
                  <a:lnTo>
                    <a:pt x="85" y="250"/>
                  </a:lnTo>
                  <a:lnTo>
                    <a:pt x="69" y="264"/>
                  </a:lnTo>
                  <a:lnTo>
                    <a:pt x="31" y="264"/>
                  </a:lnTo>
                  <a:lnTo>
                    <a:pt x="0" y="281"/>
                  </a:lnTo>
                  <a:lnTo>
                    <a:pt x="23" y="290"/>
                  </a:lnTo>
                  <a:lnTo>
                    <a:pt x="26" y="349"/>
                  </a:lnTo>
                  <a:lnTo>
                    <a:pt x="37" y="352"/>
                  </a:lnTo>
                  <a:lnTo>
                    <a:pt x="17" y="375"/>
                  </a:lnTo>
                  <a:lnTo>
                    <a:pt x="40" y="389"/>
                  </a:lnTo>
                  <a:lnTo>
                    <a:pt x="71" y="417"/>
                  </a:lnTo>
                  <a:lnTo>
                    <a:pt x="88" y="445"/>
                  </a:lnTo>
                  <a:lnTo>
                    <a:pt x="108" y="465"/>
                  </a:lnTo>
                  <a:lnTo>
                    <a:pt x="102" y="493"/>
                  </a:lnTo>
                  <a:lnTo>
                    <a:pt x="91" y="505"/>
                  </a:lnTo>
                  <a:lnTo>
                    <a:pt x="108" y="522"/>
                  </a:lnTo>
                  <a:lnTo>
                    <a:pt x="108" y="542"/>
                  </a:lnTo>
                  <a:lnTo>
                    <a:pt x="74" y="570"/>
                  </a:lnTo>
                  <a:lnTo>
                    <a:pt x="88" y="581"/>
                  </a:lnTo>
                  <a:lnTo>
                    <a:pt x="108" y="587"/>
                  </a:lnTo>
                  <a:lnTo>
                    <a:pt x="108" y="592"/>
                  </a:lnTo>
                  <a:lnTo>
                    <a:pt x="80" y="604"/>
                  </a:lnTo>
                  <a:lnTo>
                    <a:pt x="82" y="618"/>
                  </a:lnTo>
                  <a:lnTo>
                    <a:pt x="99" y="627"/>
                  </a:lnTo>
                  <a:lnTo>
                    <a:pt x="153" y="618"/>
                  </a:lnTo>
                  <a:lnTo>
                    <a:pt x="176" y="643"/>
                  </a:lnTo>
                  <a:lnTo>
                    <a:pt x="193" y="666"/>
                  </a:lnTo>
                  <a:lnTo>
                    <a:pt x="249" y="704"/>
                  </a:lnTo>
                  <a:lnTo>
                    <a:pt x="256" y="690"/>
                  </a:lnTo>
                  <a:lnTo>
                    <a:pt x="309" y="696"/>
                  </a:lnTo>
                  <a:lnTo>
                    <a:pt x="334" y="672"/>
                  </a:lnTo>
                  <a:lnTo>
                    <a:pt x="381" y="625"/>
                  </a:lnTo>
                  <a:lnTo>
                    <a:pt x="384" y="534"/>
                  </a:lnTo>
                  <a:lnTo>
                    <a:pt x="506" y="451"/>
                  </a:lnTo>
                  <a:lnTo>
                    <a:pt x="509" y="388"/>
                  </a:lnTo>
                  <a:lnTo>
                    <a:pt x="546" y="383"/>
                  </a:lnTo>
                  <a:lnTo>
                    <a:pt x="569" y="342"/>
                  </a:lnTo>
                  <a:lnTo>
                    <a:pt x="584" y="342"/>
                  </a:lnTo>
                  <a:lnTo>
                    <a:pt x="592" y="302"/>
                  </a:lnTo>
                  <a:lnTo>
                    <a:pt x="613" y="300"/>
                  </a:lnTo>
                  <a:lnTo>
                    <a:pt x="626" y="263"/>
                  </a:lnTo>
                  <a:lnTo>
                    <a:pt x="652" y="255"/>
                  </a:lnTo>
                  <a:lnTo>
                    <a:pt x="684" y="235"/>
                  </a:lnTo>
                  <a:lnTo>
                    <a:pt x="679" y="170"/>
                  </a:lnTo>
                  <a:lnTo>
                    <a:pt x="702" y="162"/>
                  </a:lnTo>
                  <a:lnTo>
                    <a:pt x="749" y="151"/>
                  </a:lnTo>
                  <a:lnTo>
                    <a:pt x="746" y="128"/>
                  </a:lnTo>
                  <a:lnTo>
                    <a:pt x="738" y="92"/>
                  </a:lnTo>
                  <a:lnTo>
                    <a:pt x="702" y="89"/>
                  </a:lnTo>
                  <a:lnTo>
                    <a:pt x="681" y="65"/>
                  </a:lnTo>
                  <a:lnTo>
                    <a:pt x="694" y="42"/>
                  </a:lnTo>
                  <a:lnTo>
                    <a:pt x="695" y="21"/>
                  </a:lnTo>
                  <a:lnTo>
                    <a:pt x="671" y="9"/>
                  </a:lnTo>
                  <a:lnTo>
                    <a:pt x="626" y="9"/>
                  </a:lnTo>
                  <a:lnTo>
                    <a:pt x="606" y="32"/>
                  </a:lnTo>
                  <a:lnTo>
                    <a:pt x="558" y="52"/>
                  </a:lnTo>
                  <a:lnTo>
                    <a:pt x="541" y="35"/>
                  </a:lnTo>
                  <a:lnTo>
                    <a:pt x="521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16</a:t>
              </a:r>
            </a:p>
          </p:txBody>
        </p:sp>
        <p:sp>
          <p:nvSpPr>
            <p:cNvPr id="150" name="FR-79">
              <a:extLst>
                <a:ext uri="{FF2B5EF4-FFF2-40B4-BE49-F238E27FC236}">
                  <a16:creationId xmlns:a16="http://schemas.microsoft.com/office/drawing/2014/main" id="{6BC31BBB-5F40-47FA-83C6-335681A6772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877090" y="2845295"/>
              <a:ext cx="542141" cy="815241"/>
            </a:xfrm>
            <a:custGeom>
              <a:avLst/>
              <a:gdLst>
                <a:gd name="T0" fmla="*/ 308 w 558"/>
                <a:gd name="T1" fmla="*/ 2 h 861"/>
                <a:gd name="T2" fmla="*/ 172 w 558"/>
                <a:gd name="T3" fmla="*/ 21 h 861"/>
                <a:gd name="T4" fmla="*/ 136 w 558"/>
                <a:gd name="T5" fmla="*/ 81 h 861"/>
                <a:gd name="T6" fmla="*/ 0 w 558"/>
                <a:gd name="T7" fmla="*/ 86 h 861"/>
                <a:gd name="T8" fmla="*/ 26 w 558"/>
                <a:gd name="T9" fmla="*/ 154 h 861"/>
                <a:gd name="T10" fmla="*/ 73 w 558"/>
                <a:gd name="T11" fmla="*/ 239 h 861"/>
                <a:gd name="T12" fmla="*/ 97 w 558"/>
                <a:gd name="T13" fmla="*/ 310 h 861"/>
                <a:gd name="T14" fmla="*/ 130 w 558"/>
                <a:gd name="T15" fmla="*/ 421 h 861"/>
                <a:gd name="T16" fmla="*/ 133 w 558"/>
                <a:gd name="T17" fmla="*/ 474 h 861"/>
                <a:gd name="T18" fmla="*/ 118 w 558"/>
                <a:gd name="T19" fmla="*/ 529 h 861"/>
                <a:gd name="T20" fmla="*/ 164 w 558"/>
                <a:gd name="T21" fmla="*/ 539 h 861"/>
                <a:gd name="T22" fmla="*/ 115 w 558"/>
                <a:gd name="T23" fmla="*/ 578 h 861"/>
                <a:gd name="T24" fmla="*/ 53 w 558"/>
                <a:gd name="T25" fmla="*/ 601 h 861"/>
                <a:gd name="T26" fmla="*/ 51 w 558"/>
                <a:gd name="T27" fmla="*/ 638 h 861"/>
                <a:gd name="T28" fmla="*/ 80 w 558"/>
                <a:gd name="T29" fmla="*/ 686 h 861"/>
                <a:gd name="T30" fmla="*/ 176 w 558"/>
                <a:gd name="T31" fmla="*/ 720 h 861"/>
                <a:gd name="T32" fmla="*/ 272 w 558"/>
                <a:gd name="T33" fmla="*/ 762 h 861"/>
                <a:gd name="T34" fmla="*/ 357 w 558"/>
                <a:gd name="T35" fmla="*/ 813 h 861"/>
                <a:gd name="T36" fmla="*/ 383 w 558"/>
                <a:gd name="T37" fmla="*/ 861 h 861"/>
                <a:gd name="T38" fmla="*/ 403 w 558"/>
                <a:gd name="T39" fmla="*/ 833 h 861"/>
                <a:gd name="T40" fmla="*/ 422 w 558"/>
                <a:gd name="T41" fmla="*/ 791 h 861"/>
                <a:gd name="T42" fmla="*/ 502 w 558"/>
                <a:gd name="T43" fmla="*/ 759 h 861"/>
                <a:gd name="T44" fmla="*/ 558 w 558"/>
                <a:gd name="T45" fmla="*/ 725 h 861"/>
                <a:gd name="T46" fmla="*/ 499 w 558"/>
                <a:gd name="T47" fmla="*/ 683 h 861"/>
                <a:gd name="T48" fmla="*/ 530 w 558"/>
                <a:gd name="T49" fmla="*/ 629 h 861"/>
                <a:gd name="T50" fmla="*/ 513 w 558"/>
                <a:gd name="T51" fmla="*/ 575 h 861"/>
                <a:gd name="T52" fmla="*/ 490 w 558"/>
                <a:gd name="T53" fmla="*/ 601 h 861"/>
                <a:gd name="T54" fmla="*/ 456 w 558"/>
                <a:gd name="T55" fmla="*/ 592 h 861"/>
                <a:gd name="T56" fmla="*/ 462 w 558"/>
                <a:gd name="T57" fmla="*/ 556 h 861"/>
                <a:gd name="T58" fmla="*/ 442 w 558"/>
                <a:gd name="T59" fmla="*/ 482 h 861"/>
                <a:gd name="T60" fmla="*/ 431 w 558"/>
                <a:gd name="T61" fmla="*/ 459 h 861"/>
                <a:gd name="T62" fmla="*/ 450 w 558"/>
                <a:gd name="T63" fmla="*/ 416 h 861"/>
                <a:gd name="T64" fmla="*/ 453 w 558"/>
                <a:gd name="T65" fmla="*/ 366 h 861"/>
                <a:gd name="T66" fmla="*/ 453 w 558"/>
                <a:gd name="T67" fmla="*/ 312 h 861"/>
                <a:gd name="T68" fmla="*/ 462 w 558"/>
                <a:gd name="T69" fmla="*/ 275 h 861"/>
                <a:gd name="T70" fmla="*/ 442 w 558"/>
                <a:gd name="T71" fmla="*/ 244 h 861"/>
                <a:gd name="T72" fmla="*/ 445 w 558"/>
                <a:gd name="T73" fmla="*/ 210 h 861"/>
                <a:gd name="T74" fmla="*/ 448 w 558"/>
                <a:gd name="T75" fmla="*/ 159 h 861"/>
                <a:gd name="T76" fmla="*/ 436 w 558"/>
                <a:gd name="T77" fmla="*/ 85 h 861"/>
                <a:gd name="T78" fmla="*/ 410 w 558"/>
                <a:gd name="T79" fmla="*/ 24 h 861"/>
                <a:gd name="T80" fmla="*/ 386 w 558"/>
                <a:gd name="T81" fmla="*/ 18 h 86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558"/>
                <a:gd name="T124" fmla="*/ 0 h 861"/>
                <a:gd name="T125" fmla="*/ 558 w 558"/>
                <a:gd name="T126" fmla="*/ 861 h 861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558" h="861">
                  <a:moveTo>
                    <a:pt x="378" y="0"/>
                  </a:moveTo>
                  <a:lnTo>
                    <a:pt x="308" y="2"/>
                  </a:lnTo>
                  <a:lnTo>
                    <a:pt x="243" y="15"/>
                  </a:lnTo>
                  <a:lnTo>
                    <a:pt x="172" y="21"/>
                  </a:lnTo>
                  <a:lnTo>
                    <a:pt x="172" y="57"/>
                  </a:lnTo>
                  <a:lnTo>
                    <a:pt x="136" y="81"/>
                  </a:lnTo>
                  <a:lnTo>
                    <a:pt x="55" y="62"/>
                  </a:lnTo>
                  <a:lnTo>
                    <a:pt x="0" y="86"/>
                  </a:lnTo>
                  <a:lnTo>
                    <a:pt x="26" y="122"/>
                  </a:lnTo>
                  <a:lnTo>
                    <a:pt x="26" y="154"/>
                  </a:lnTo>
                  <a:lnTo>
                    <a:pt x="89" y="206"/>
                  </a:lnTo>
                  <a:lnTo>
                    <a:pt x="73" y="239"/>
                  </a:lnTo>
                  <a:lnTo>
                    <a:pt x="115" y="286"/>
                  </a:lnTo>
                  <a:lnTo>
                    <a:pt x="97" y="310"/>
                  </a:lnTo>
                  <a:lnTo>
                    <a:pt x="123" y="349"/>
                  </a:lnTo>
                  <a:lnTo>
                    <a:pt x="130" y="421"/>
                  </a:lnTo>
                  <a:lnTo>
                    <a:pt x="115" y="442"/>
                  </a:lnTo>
                  <a:lnTo>
                    <a:pt x="133" y="474"/>
                  </a:lnTo>
                  <a:lnTo>
                    <a:pt x="115" y="508"/>
                  </a:lnTo>
                  <a:lnTo>
                    <a:pt x="118" y="529"/>
                  </a:lnTo>
                  <a:lnTo>
                    <a:pt x="138" y="513"/>
                  </a:lnTo>
                  <a:lnTo>
                    <a:pt x="164" y="539"/>
                  </a:lnTo>
                  <a:lnTo>
                    <a:pt x="128" y="562"/>
                  </a:lnTo>
                  <a:lnTo>
                    <a:pt x="115" y="578"/>
                  </a:lnTo>
                  <a:lnTo>
                    <a:pt x="86" y="586"/>
                  </a:lnTo>
                  <a:lnTo>
                    <a:pt x="53" y="601"/>
                  </a:lnTo>
                  <a:lnTo>
                    <a:pt x="50" y="599"/>
                  </a:lnTo>
                  <a:lnTo>
                    <a:pt x="51" y="638"/>
                  </a:lnTo>
                  <a:lnTo>
                    <a:pt x="80" y="669"/>
                  </a:lnTo>
                  <a:lnTo>
                    <a:pt x="80" y="686"/>
                  </a:lnTo>
                  <a:lnTo>
                    <a:pt x="122" y="717"/>
                  </a:lnTo>
                  <a:lnTo>
                    <a:pt x="176" y="720"/>
                  </a:lnTo>
                  <a:lnTo>
                    <a:pt x="213" y="768"/>
                  </a:lnTo>
                  <a:lnTo>
                    <a:pt x="272" y="762"/>
                  </a:lnTo>
                  <a:lnTo>
                    <a:pt x="320" y="796"/>
                  </a:lnTo>
                  <a:lnTo>
                    <a:pt x="357" y="813"/>
                  </a:lnTo>
                  <a:lnTo>
                    <a:pt x="363" y="841"/>
                  </a:lnTo>
                  <a:lnTo>
                    <a:pt x="383" y="861"/>
                  </a:lnTo>
                  <a:lnTo>
                    <a:pt x="408" y="847"/>
                  </a:lnTo>
                  <a:lnTo>
                    <a:pt x="403" y="833"/>
                  </a:lnTo>
                  <a:lnTo>
                    <a:pt x="422" y="810"/>
                  </a:lnTo>
                  <a:lnTo>
                    <a:pt x="422" y="791"/>
                  </a:lnTo>
                  <a:lnTo>
                    <a:pt x="456" y="782"/>
                  </a:lnTo>
                  <a:lnTo>
                    <a:pt x="502" y="759"/>
                  </a:lnTo>
                  <a:lnTo>
                    <a:pt x="550" y="751"/>
                  </a:lnTo>
                  <a:lnTo>
                    <a:pt x="558" y="725"/>
                  </a:lnTo>
                  <a:lnTo>
                    <a:pt x="518" y="714"/>
                  </a:lnTo>
                  <a:lnTo>
                    <a:pt x="499" y="683"/>
                  </a:lnTo>
                  <a:lnTo>
                    <a:pt x="513" y="649"/>
                  </a:lnTo>
                  <a:lnTo>
                    <a:pt x="530" y="629"/>
                  </a:lnTo>
                  <a:lnTo>
                    <a:pt x="530" y="586"/>
                  </a:lnTo>
                  <a:lnTo>
                    <a:pt x="513" y="575"/>
                  </a:lnTo>
                  <a:lnTo>
                    <a:pt x="490" y="586"/>
                  </a:lnTo>
                  <a:lnTo>
                    <a:pt x="490" y="601"/>
                  </a:lnTo>
                  <a:lnTo>
                    <a:pt x="479" y="618"/>
                  </a:lnTo>
                  <a:lnTo>
                    <a:pt x="456" y="592"/>
                  </a:lnTo>
                  <a:lnTo>
                    <a:pt x="453" y="575"/>
                  </a:lnTo>
                  <a:lnTo>
                    <a:pt x="462" y="556"/>
                  </a:lnTo>
                  <a:lnTo>
                    <a:pt x="442" y="541"/>
                  </a:lnTo>
                  <a:lnTo>
                    <a:pt x="442" y="482"/>
                  </a:lnTo>
                  <a:lnTo>
                    <a:pt x="431" y="479"/>
                  </a:lnTo>
                  <a:lnTo>
                    <a:pt x="431" y="459"/>
                  </a:lnTo>
                  <a:lnTo>
                    <a:pt x="448" y="431"/>
                  </a:lnTo>
                  <a:lnTo>
                    <a:pt x="450" y="416"/>
                  </a:lnTo>
                  <a:lnTo>
                    <a:pt x="462" y="386"/>
                  </a:lnTo>
                  <a:lnTo>
                    <a:pt x="453" y="366"/>
                  </a:lnTo>
                  <a:lnTo>
                    <a:pt x="425" y="354"/>
                  </a:lnTo>
                  <a:lnTo>
                    <a:pt x="453" y="312"/>
                  </a:lnTo>
                  <a:lnTo>
                    <a:pt x="462" y="289"/>
                  </a:lnTo>
                  <a:lnTo>
                    <a:pt x="462" y="275"/>
                  </a:lnTo>
                  <a:lnTo>
                    <a:pt x="442" y="252"/>
                  </a:lnTo>
                  <a:lnTo>
                    <a:pt x="442" y="244"/>
                  </a:lnTo>
                  <a:lnTo>
                    <a:pt x="453" y="224"/>
                  </a:lnTo>
                  <a:lnTo>
                    <a:pt x="445" y="210"/>
                  </a:lnTo>
                  <a:lnTo>
                    <a:pt x="462" y="190"/>
                  </a:lnTo>
                  <a:lnTo>
                    <a:pt x="448" y="159"/>
                  </a:lnTo>
                  <a:lnTo>
                    <a:pt x="439" y="114"/>
                  </a:lnTo>
                  <a:lnTo>
                    <a:pt x="436" y="85"/>
                  </a:lnTo>
                  <a:lnTo>
                    <a:pt x="414" y="88"/>
                  </a:lnTo>
                  <a:lnTo>
                    <a:pt x="410" y="24"/>
                  </a:lnTo>
                  <a:lnTo>
                    <a:pt x="404" y="34"/>
                  </a:lnTo>
                  <a:lnTo>
                    <a:pt x="386" y="18"/>
                  </a:lnTo>
                  <a:lnTo>
                    <a:pt x="378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79</a:t>
              </a:r>
            </a:p>
          </p:txBody>
        </p:sp>
        <p:sp>
          <p:nvSpPr>
            <p:cNvPr id="151" name="FR-22">
              <a:extLst>
                <a:ext uri="{FF2B5EF4-FFF2-40B4-BE49-F238E27FC236}">
                  <a16:creationId xmlns:a16="http://schemas.microsoft.com/office/drawing/2014/main" id="{2BEC5817-A882-43C8-8C7D-07FD57E438C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75175" y="1504550"/>
              <a:ext cx="844302" cy="583262"/>
            </a:xfrm>
            <a:custGeom>
              <a:avLst/>
              <a:gdLst>
                <a:gd name="T0" fmla="*/ 202 w 869"/>
                <a:gd name="T1" fmla="*/ 18 h 616"/>
                <a:gd name="T2" fmla="*/ 129 w 869"/>
                <a:gd name="T3" fmla="*/ 44 h 616"/>
                <a:gd name="T4" fmla="*/ 33 w 869"/>
                <a:gd name="T5" fmla="*/ 50 h 616"/>
                <a:gd name="T6" fmla="*/ 17 w 869"/>
                <a:gd name="T7" fmla="*/ 127 h 616"/>
                <a:gd name="T8" fmla="*/ 0 w 869"/>
                <a:gd name="T9" fmla="*/ 197 h 616"/>
                <a:gd name="T10" fmla="*/ 30 w 869"/>
                <a:gd name="T11" fmla="*/ 227 h 616"/>
                <a:gd name="T12" fmla="*/ 33 w 869"/>
                <a:gd name="T13" fmla="*/ 263 h 616"/>
                <a:gd name="T14" fmla="*/ 20 w 869"/>
                <a:gd name="T15" fmla="*/ 300 h 616"/>
                <a:gd name="T16" fmla="*/ 22 w 869"/>
                <a:gd name="T17" fmla="*/ 319 h 616"/>
                <a:gd name="T18" fmla="*/ 41 w 869"/>
                <a:gd name="T19" fmla="*/ 377 h 616"/>
                <a:gd name="T20" fmla="*/ 33 w 869"/>
                <a:gd name="T21" fmla="*/ 465 h 616"/>
                <a:gd name="T22" fmla="*/ 84 w 869"/>
                <a:gd name="T23" fmla="*/ 515 h 616"/>
                <a:gd name="T24" fmla="*/ 114 w 869"/>
                <a:gd name="T25" fmla="*/ 538 h 616"/>
                <a:gd name="T26" fmla="*/ 149 w 869"/>
                <a:gd name="T27" fmla="*/ 536 h 616"/>
                <a:gd name="T28" fmla="*/ 239 w 869"/>
                <a:gd name="T29" fmla="*/ 536 h 616"/>
                <a:gd name="T30" fmla="*/ 284 w 869"/>
                <a:gd name="T31" fmla="*/ 512 h 616"/>
                <a:gd name="T32" fmla="*/ 360 w 869"/>
                <a:gd name="T33" fmla="*/ 538 h 616"/>
                <a:gd name="T34" fmla="*/ 407 w 869"/>
                <a:gd name="T35" fmla="*/ 571 h 616"/>
                <a:gd name="T36" fmla="*/ 452 w 869"/>
                <a:gd name="T37" fmla="*/ 590 h 616"/>
                <a:gd name="T38" fmla="*/ 475 w 869"/>
                <a:gd name="T39" fmla="*/ 603 h 616"/>
                <a:gd name="T40" fmla="*/ 549 w 869"/>
                <a:gd name="T41" fmla="*/ 590 h 616"/>
                <a:gd name="T42" fmla="*/ 579 w 869"/>
                <a:gd name="T43" fmla="*/ 551 h 616"/>
                <a:gd name="T44" fmla="*/ 622 w 869"/>
                <a:gd name="T45" fmla="*/ 595 h 616"/>
                <a:gd name="T46" fmla="*/ 699 w 869"/>
                <a:gd name="T47" fmla="*/ 566 h 616"/>
                <a:gd name="T48" fmla="*/ 764 w 869"/>
                <a:gd name="T49" fmla="*/ 493 h 616"/>
                <a:gd name="T50" fmla="*/ 803 w 869"/>
                <a:gd name="T51" fmla="*/ 485 h 616"/>
                <a:gd name="T52" fmla="*/ 856 w 869"/>
                <a:gd name="T53" fmla="*/ 358 h 616"/>
                <a:gd name="T54" fmla="*/ 856 w 869"/>
                <a:gd name="T55" fmla="*/ 285 h 616"/>
                <a:gd name="T56" fmla="*/ 820 w 869"/>
                <a:gd name="T57" fmla="*/ 197 h 616"/>
                <a:gd name="T58" fmla="*/ 754 w 869"/>
                <a:gd name="T59" fmla="*/ 211 h 616"/>
                <a:gd name="T60" fmla="*/ 718 w 869"/>
                <a:gd name="T61" fmla="*/ 242 h 616"/>
                <a:gd name="T62" fmla="*/ 689 w 869"/>
                <a:gd name="T63" fmla="*/ 198 h 616"/>
                <a:gd name="T64" fmla="*/ 670 w 869"/>
                <a:gd name="T65" fmla="*/ 167 h 616"/>
                <a:gd name="T66" fmla="*/ 593 w 869"/>
                <a:gd name="T67" fmla="*/ 182 h 616"/>
                <a:gd name="T68" fmla="*/ 480 w 869"/>
                <a:gd name="T69" fmla="*/ 265 h 616"/>
                <a:gd name="T70" fmla="*/ 460 w 869"/>
                <a:gd name="T71" fmla="*/ 292 h 616"/>
                <a:gd name="T72" fmla="*/ 405 w 869"/>
                <a:gd name="T73" fmla="*/ 219 h 616"/>
                <a:gd name="T74" fmla="*/ 361 w 869"/>
                <a:gd name="T75" fmla="*/ 135 h 616"/>
                <a:gd name="T76" fmla="*/ 324 w 869"/>
                <a:gd name="T77" fmla="*/ 83 h 616"/>
                <a:gd name="T78" fmla="*/ 298 w 869"/>
                <a:gd name="T79" fmla="*/ 39 h 616"/>
                <a:gd name="T80" fmla="*/ 249 w 869"/>
                <a:gd name="T81" fmla="*/ 10 h 616"/>
                <a:gd name="T82" fmla="*/ 225 w 869"/>
                <a:gd name="T83" fmla="*/ 0 h 61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869"/>
                <a:gd name="T127" fmla="*/ 0 h 616"/>
                <a:gd name="T128" fmla="*/ 869 w 869"/>
                <a:gd name="T129" fmla="*/ 616 h 61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869" h="616">
                  <a:moveTo>
                    <a:pt x="225" y="0"/>
                  </a:moveTo>
                  <a:lnTo>
                    <a:pt x="202" y="18"/>
                  </a:lnTo>
                  <a:lnTo>
                    <a:pt x="142" y="26"/>
                  </a:lnTo>
                  <a:lnTo>
                    <a:pt x="129" y="44"/>
                  </a:lnTo>
                  <a:lnTo>
                    <a:pt x="87" y="13"/>
                  </a:lnTo>
                  <a:lnTo>
                    <a:pt x="33" y="50"/>
                  </a:lnTo>
                  <a:lnTo>
                    <a:pt x="53" y="78"/>
                  </a:lnTo>
                  <a:lnTo>
                    <a:pt x="17" y="127"/>
                  </a:lnTo>
                  <a:lnTo>
                    <a:pt x="15" y="127"/>
                  </a:lnTo>
                  <a:lnTo>
                    <a:pt x="0" y="197"/>
                  </a:lnTo>
                  <a:lnTo>
                    <a:pt x="33" y="199"/>
                  </a:lnTo>
                  <a:lnTo>
                    <a:pt x="30" y="227"/>
                  </a:lnTo>
                  <a:lnTo>
                    <a:pt x="54" y="242"/>
                  </a:lnTo>
                  <a:lnTo>
                    <a:pt x="33" y="263"/>
                  </a:lnTo>
                  <a:lnTo>
                    <a:pt x="18" y="274"/>
                  </a:lnTo>
                  <a:lnTo>
                    <a:pt x="20" y="300"/>
                  </a:lnTo>
                  <a:lnTo>
                    <a:pt x="52" y="310"/>
                  </a:lnTo>
                  <a:lnTo>
                    <a:pt x="22" y="319"/>
                  </a:lnTo>
                  <a:lnTo>
                    <a:pt x="22" y="351"/>
                  </a:lnTo>
                  <a:lnTo>
                    <a:pt x="41" y="377"/>
                  </a:lnTo>
                  <a:lnTo>
                    <a:pt x="45" y="452"/>
                  </a:lnTo>
                  <a:lnTo>
                    <a:pt x="33" y="465"/>
                  </a:lnTo>
                  <a:lnTo>
                    <a:pt x="43" y="504"/>
                  </a:lnTo>
                  <a:lnTo>
                    <a:pt x="84" y="515"/>
                  </a:lnTo>
                  <a:lnTo>
                    <a:pt x="88" y="536"/>
                  </a:lnTo>
                  <a:lnTo>
                    <a:pt x="114" y="538"/>
                  </a:lnTo>
                  <a:lnTo>
                    <a:pt x="136" y="523"/>
                  </a:lnTo>
                  <a:lnTo>
                    <a:pt x="149" y="536"/>
                  </a:lnTo>
                  <a:lnTo>
                    <a:pt x="198" y="558"/>
                  </a:lnTo>
                  <a:lnTo>
                    <a:pt x="239" y="536"/>
                  </a:lnTo>
                  <a:lnTo>
                    <a:pt x="250" y="515"/>
                  </a:lnTo>
                  <a:lnTo>
                    <a:pt x="284" y="512"/>
                  </a:lnTo>
                  <a:lnTo>
                    <a:pt x="323" y="547"/>
                  </a:lnTo>
                  <a:lnTo>
                    <a:pt x="360" y="538"/>
                  </a:lnTo>
                  <a:lnTo>
                    <a:pt x="392" y="571"/>
                  </a:lnTo>
                  <a:lnTo>
                    <a:pt x="407" y="571"/>
                  </a:lnTo>
                  <a:lnTo>
                    <a:pt x="422" y="590"/>
                  </a:lnTo>
                  <a:lnTo>
                    <a:pt x="452" y="590"/>
                  </a:lnTo>
                  <a:lnTo>
                    <a:pt x="463" y="575"/>
                  </a:lnTo>
                  <a:lnTo>
                    <a:pt x="475" y="603"/>
                  </a:lnTo>
                  <a:lnTo>
                    <a:pt x="508" y="616"/>
                  </a:lnTo>
                  <a:lnTo>
                    <a:pt x="549" y="590"/>
                  </a:lnTo>
                  <a:lnTo>
                    <a:pt x="549" y="562"/>
                  </a:lnTo>
                  <a:lnTo>
                    <a:pt x="579" y="551"/>
                  </a:lnTo>
                  <a:lnTo>
                    <a:pt x="598" y="551"/>
                  </a:lnTo>
                  <a:lnTo>
                    <a:pt x="622" y="595"/>
                  </a:lnTo>
                  <a:lnTo>
                    <a:pt x="673" y="599"/>
                  </a:lnTo>
                  <a:lnTo>
                    <a:pt x="699" y="566"/>
                  </a:lnTo>
                  <a:lnTo>
                    <a:pt x="727" y="506"/>
                  </a:lnTo>
                  <a:lnTo>
                    <a:pt x="764" y="493"/>
                  </a:lnTo>
                  <a:lnTo>
                    <a:pt x="783" y="465"/>
                  </a:lnTo>
                  <a:lnTo>
                    <a:pt x="803" y="485"/>
                  </a:lnTo>
                  <a:lnTo>
                    <a:pt x="843" y="476"/>
                  </a:lnTo>
                  <a:lnTo>
                    <a:pt x="856" y="358"/>
                  </a:lnTo>
                  <a:lnTo>
                    <a:pt x="869" y="310"/>
                  </a:lnTo>
                  <a:lnTo>
                    <a:pt x="856" y="285"/>
                  </a:lnTo>
                  <a:lnTo>
                    <a:pt x="835" y="276"/>
                  </a:lnTo>
                  <a:lnTo>
                    <a:pt x="820" y="197"/>
                  </a:lnTo>
                  <a:lnTo>
                    <a:pt x="803" y="216"/>
                  </a:lnTo>
                  <a:lnTo>
                    <a:pt x="754" y="211"/>
                  </a:lnTo>
                  <a:lnTo>
                    <a:pt x="749" y="240"/>
                  </a:lnTo>
                  <a:lnTo>
                    <a:pt x="718" y="242"/>
                  </a:lnTo>
                  <a:lnTo>
                    <a:pt x="715" y="206"/>
                  </a:lnTo>
                  <a:lnTo>
                    <a:pt x="689" y="198"/>
                  </a:lnTo>
                  <a:lnTo>
                    <a:pt x="670" y="219"/>
                  </a:lnTo>
                  <a:lnTo>
                    <a:pt x="670" y="167"/>
                  </a:lnTo>
                  <a:lnTo>
                    <a:pt x="639" y="190"/>
                  </a:lnTo>
                  <a:lnTo>
                    <a:pt x="593" y="182"/>
                  </a:lnTo>
                  <a:lnTo>
                    <a:pt x="577" y="213"/>
                  </a:lnTo>
                  <a:lnTo>
                    <a:pt x="480" y="265"/>
                  </a:lnTo>
                  <a:lnTo>
                    <a:pt x="480" y="292"/>
                  </a:lnTo>
                  <a:lnTo>
                    <a:pt x="460" y="292"/>
                  </a:lnTo>
                  <a:lnTo>
                    <a:pt x="460" y="245"/>
                  </a:lnTo>
                  <a:lnTo>
                    <a:pt x="405" y="219"/>
                  </a:lnTo>
                  <a:lnTo>
                    <a:pt x="410" y="172"/>
                  </a:lnTo>
                  <a:lnTo>
                    <a:pt x="361" y="135"/>
                  </a:lnTo>
                  <a:lnTo>
                    <a:pt x="361" y="91"/>
                  </a:lnTo>
                  <a:lnTo>
                    <a:pt x="324" y="83"/>
                  </a:lnTo>
                  <a:lnTo>
                    <a:pt x="327" y="42"/>
                  </a:lnTo>
                  <a:lnTo>
                    <a:pt x="298" y="39"/>
                  </a:lnTo>
                  <a:lnTo>
                    <a:pt x="301" y="10"/>
                  </a:lnTo>
                  <a:lnTo>
                    <a:pt x="249" y="10"/>
                  </a:lnTo>
                  <a:lnTo>
                    <a:pt x="241" y="36"/>
                  </a:lnTo>
                  <a:lnTo>
                    <a:pt x="225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22</a:t>
              </a:r>
            </a:p>
          </p:txBody>
        </p:sp>
        <p:sp>
          <p:nvSpPr>
            <p:cNvPr id="152" name="FR-85">
              <a:extLst>
                <a:ext uri="{FF2B5EF4-FFF2-40B4-BE49-F238E27FC236}">
                  <a16:creationId xmlns:a16="http://schemas.microsoft.com/office/drawing/2014/main" id="{46640774-1F35-45A4-BAD3-97EE0D58670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229047" y="2847189"/>
              <a:ext cx="807382" cy="587996"/>
            </a:xfrm>
            <a:custGeom>
              <a:avLst/>
              <a:gdLst>
                <a:gd name="T0" fmla="*/ 454 w 831"/>
                <a:gd name="T1" fmla="*/ 28 h 621"/>
                <a:gd name="T2" fmla="*/ 428 w 831"/>
                <a:gd name="T3" fmla="*/ 45 h 621"/>
                <a:gd name="T4" fmla="*/ 377 w 831"/>
                <a:gd name="T5" fmla="*/ 101 h 621"/>
                <a:gd name="T6" fmla="*/ 368 w 831"/>
                <a:gd name="T7" fmla="*/ 47 h 621"/>
                <a:gd name="T8" fmla="*/ 334 w 831"/>
                <a:gd name="T9" fmla="*/ 24 h 621"/>
                <a:gd name="T10" fmla="*/ 325 w 831"/>
                <a:gd name="T11" fmla="*/ 103 h 621"/>
                <a:gd name="T12" fmla="*/ 325 w 831"/>
                <a:gd name="T13" fmla="*/ 153 h 621"/>
                <a:gd name="T14" fmla="*/ 235 w 831"/>
                <a:gd name="T15" fmla="*/ 133 h 621"/>
                <a:gd name="T16" fmla="*/ 185 w 831"/>
                <a:gd name="T17" fmla="*/ 88 h 621"/>
                <a:gd name="T18" fmla="*/ 130 w 831"/>
                <a:gd name="T19" fmla="*/ 43 h 621"/>
                <a:gd name="T20" fmla="*/ 3 w 831"/>
                <a:gd name="T21" fmla="*/ 111 h 621"/>
                <a:gd name="T22" fmla="*/ 81 w 831"/>
                <a:gd name="T23" fmla="*/ 251 h 621"/>
                <a:gd name="T24" fmla="*/ 102 w 831"/>
                <a:gd name="T25" fmla="*/ 274 h 621"/>
                <a:gd name="T26" fmla="*/ 203 w 831"/>
                <a:gd name="T27" fmla="*/ 449 h 621"/>
                <a:gd name="T28" fmla="*/ 315 w 831"/>
                <a:gd name="T29" fmla="*/ 501 h 621"/>
                <a:gd name="T30" fmla="*/ 396 w 831"/>
                <a:gd name="T31" fmla="*/ 553 h 621"/>
                <a:gd name="T32" fmla="*/ 480 w 831"/>
                <a:gd name="T33" fmla="*/ 621 h 621"/>
                <a:gd name="T34" fmla="*/ 497 w 831"/>
                <a:gd name="T35" fmla="*/ 598 h 621"/>
                <a:gd name="T36" fmla="*/ 613 w 831"/>
                <a:gd name="T37" fmla="*/ 547 h 621"/>
                <a:gd name="T38" fmla="*/ 678 w 831"/>
                <a:gd name="T39" fmla="*/ 568 h 621"/>
                <a:gd name="T40" fmla="*/ 753 w 831"/>
                <a:gd name="T41" fmla="*/ 584 h 621"/>
                <a:gd name="T42" fmla="*/ 795 w 831"/>
                <a:gd name="T43" fmla="*/ 560 h 621"/>
                <a:gd name="T44" fmla="*/ 805 w 831"/>
                <a:gd name="T45" fmla="*/ 511 h 621"/>
                <a:gd name="T46" fmla="*/ 782 w 831"/>
                <a:gd name="T47" fmla="*/ 506 h 621"/>
                <a:gd name="T48" fmla="*/ 782 w 831"/>
                <a:gd name="T49" fmla="*/ 440 h 621"/>
                <a:gd name="T50" fmla="*/ 790 w 831"/>
                <a:gd name="T51" fmla="*/ 347 h 621"/>
                <a:gd name="T52" fmla="*/ 782 w 831"/>
                <a:gd name="T53" fmla="*/ 284 h 621"/>
                <a:gd name="T54" fmla="*/ 756 w 831"/>
                <a:gd name="T55" fmla="*/ 204 h 621"/>
                <a:gd name="T56" fmla="*/ 693 w 831"/>
                <a:gd name="T57" fmla="*/ 120 h 621"/>
                <a:gd name="T58" fmla="*/ 672 w 831"/>
                <a:gd name="T59" fmla="*/ 82 h 621"/>
                <a:gd name="T60" fmla="*/ 570 w 831"/>
                <a:gd name="T61" fmla="*/ 52 h 621"/>
                <a:gd name="T62" fmla="*/ 519 w 831"/>
                <a:gd name="T63" fmla="*/ 34 h 621"/>
                <a:gd name="T64" fmla="*/ 469 w 831"/>
                <a:gd name="T65" fmla="*/ 0 h 6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831"/>
                <a:gd name="T100" fmla="*/ 0 h 621"/>
                <a:gd name="T101" fmla="*/ 831 w 831"/>
                <a:gd name="T102" fmla="*/ 621 h 62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831" h="621">
                  <a:moveTo>
                    <a:pt x="469" y="0"/>
                  </a:moveTo>
                  <a:lnTo>
                    <a:pt x="454" y="28"/>
                  </a:lnTo>
                  <a:lnTo>
                    <a:pt x="411" y="28"/>
                  </a:lnTo>
                  <a:lnTo>
                    <a:pt x="428" y="45"/>
                  </a:lnTo>
                  <a:lnTo>
                    <a:pt x="415" y="88"/>
                  </a:lnTo>
                  <a:lnTo>
                    <a:pt x="377" y="101"/>
                  </a:lnTo>
                  <a:lnTo>
                    <a:pt x="362" y="90"/>
                  </a:lnTo>
                  <a:lnTo>
                    <a:pt x="368" y="47"/>
                  </a:lnTo>
                  <a:lnTo>
                    <a:pt x="357" y="24"/>
                  </a:lnTo>
                  <a:lnTo>
                    <a:pt x="334" y="24"/>
                  </a:lnTo>
                  <a:lnTo>
                    <a:pt x="317" y="43"/>
                  </a:lnTo>
                  <a:lnTo>
                    <a:pt x="325" y="103"/>
                  </a:lnTo>
                  <a:lnTo>
                    <a:pt x="345" y="131"/>
                  </a:lnTo>
                  <a:lnTo>
                    <a:pt x="325" y="153"/>
                  </a:lnTo>
                  <a:lnTo>
                    <a:pt x="289" y="146"/>
                  </a:lnTo>
                  <a:lnTo>
                    <a:pt x="235" y="133"/>
                  </a:lnTo>
                  <a:lnTo>
                    <a:pt x="220" y="92"/>
                  </a:lnTo>
                  <a:lnTo>
                    <a:pt x="185" y="88"/>
                  </a:lnTo>
                  <a:lnTo>
                    <a:pt x="140" y="69"/>
                  </a:lnTo>
                  <a:lnTo>
                    <a:pt x="130" y="43"/>
                  </a:lnTo>
                  <a:lnTo>
                    <a:pt x="80" y="11"/>
                  </a:lnTo>
                  <a:lnTo>
                    <a:pt x="3" y="111"/>
                  </a:lnTo>
                  <a:lnTo>
                    <a:pt x="0" y="173"/>
                  </a:lnTo>
                  <a:lnTo>
                    <a:pt x="81" y="251"/>
                  </a:lnTo>
                  <a:lnTo>
                    <a:pt x="78" y="274"/>
                  </a:lnTo>
                  <a:lnTo>
                    <a:pt x="102" y="274"/>
                  </a:lnTo>
                  <a:lnTo>
                    <a:pt x="151" y="423"/>
                  </a:lnTo>
                  <a:lnTo>
                    <a:pt x="203" y="449"/>
                  </a:lnTo>
                  <a:lnTo>
                    <a:pt x="255" y="501"/>
                  </a:lnTo>
                  <a:lnTo>
                    <a:pt x="315" y="501"/>
                  </a:lnTo>
                  <a:lnTo>
                    <a:pt x="339" y="553"/>
                  </a:lnTo>
                  <a:lnTo>
                    <a:pt x="396" y="553"/>
                  </a:lnTo>
                  <a:lnTo>
                    <a:pt x="422" y="592"/>
                  </a:lnTo>
                  <a:lnTo>
                    <a:pt x="480" y="621"/>
                  </a:lnTo>
                  <a:lnTo>
                    <a:pt x="482" y="584"/>
                  </a:lnTo>
                  <a:lnTo>
                    <a:pt x="497" y="598"/>
                  </a:lnTo>
                  <a:lnTo>
                    <a:pt x="576" y="550"/>
                  </a:lnTo>
                  <a:lnTo>
                    <a:pt x="613" y="547"/>
                  </a:lnTo>
                  <a:lnTo>
                    <a:pt x="628" y="589"/>
                  </a:lnTo>
                  <a:lnTo>
                    <a:pt x="678" y="568"/>
                  </a:lnTo>
                  <a:lnTo>
                    <a:pt x="720" y="599"/>
                  </a:lnTo>
                  <a:lnTo>
                    <a:pt x="753" y="584"/>
                  </a:lnTo>
                  <a:lnTo>
                    <a:pt x="782" y="576"/>
                  </a:lnTo>
                  <a:lnTo>
                    <a:pt x="795" y="560"/>
                  </a:lnTo>
                  <a:lnTo>
                    <a:pt x="831" y="537"/>
                  </a:lnTo>
                  <a:lnTo>
                    <a:pt x="805" y="511"/>
                  </a:lnTo>
                  <a:lnTo>
                    <a:pt x="785" y="527"/>
                  </a:lnTo>
                  <a:lnTo>
                    <a:pt x="782" y="506"/>
                  </a:lnTo>
                  <a:lnTo>
                    <a:pt x="800" y="472"/>
                  </a:lnTo>
                  <a:lnTo>
                    <a:pt x="782" y="440"/>
                  </a:lnTo>
                  <a:lnTo>
                    <a:pt x="797" y="419"/>
                  </a:lnTo>
                  <a:lnTo>
                    <a:pt x="790" y="347"/>
                  </a:lnTo>
                  <a:lnTo>
                    <a:pt x="764" y="308"/>
                  </a:lnTo>
                  <a:lnTo>
                    <a:pt x="782" y="284"/>
                  </a:lnTo>
                  <a:lnTo>
                    <a:pt x="740" y="237"/>
                  </a:lnTo>
                  <a:lnTo>
                    <a:pt x="756" y="204"/>
                  </a:lnTo>
                  <a:lnTo>
                    <a:pt x="693" y="152"/>
                  </a:lnTo>
                  <a:lnTo>
                    <a:pt x="693" y="120"/>
                  </a:lnTo>
                  <a:lnTo>
                    <a:pt x="667" y="84"/>
                  </a:lnTo>
                  <a:lnTo>
                    <a:pt x="672" y="82"/>
                  </a:lnTo>
                  <a:lnTo>
                    <a:pt x="637" y="52"/>
                  </a:lnTo>
                  <a:lnTo>
                    <a:pt x="570" y="52"/>
                  </a:lnTo>
                  <a:lnTo>
                    <a:pt x="549" y="39"/>
                  </a:lnTo>
                  <a:lnTo>
                    <a:pt x="519" y="34"/>
                  </a:lnTo>
                  <a:lnTo>
                    <a:pt x="484" y="2"/>
                  </a:lnTo>
                  <a:lnTo>
                    <a:pt x="469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85</a:t>
              </a:r>
            </a:p>
          </p:txBody>
        </p:sp>
        <p:sp>
          <p:nvSpPr>
            <p:cNvPr id="153" name="FR-50">
              <a:extLst>
                <a:ext uri="{FF2B5EF4-FFF2-40B4-BE49-F238E27FC236}">
                  <a16:creationId xmlns:a16="http://schemas.microsoft.com/office/drawing/2014/main" id="{936A9AAE-B5B2-4FFA-98F4-647402B6ACA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429192" y="926970"/>
              <a:ext cx="567402" cy="926970"/>
            </a:xfrm>
            <a:custGeom>
              <a:avLst/>
              <a:gdLst>
                <a:gd name="T0" fmla="*/ 0 w 584"/>
                <a:gd name="T1" fmla="*/ 27 h 979"/>
                <a:gd name="T2" fmla="*/ 55 w 584"/>
                <a:gd name="T3" fmla="*/ 128 h 979"/>
                <a:gd name="T4" fmla="*/ 47 w 584"/>
                <a:gd name="T5" fmla="*/ 167 h 979"/>
                <a:gd name="T6" fmla="*/ 49 w 584"/>
                <a:gd name="T7" fmla="*/ 222 h 979"/>
                <a:gd name="T8" fmla="*/ 128 w 584"/>
                <a:gd name="T9" fmla="*/ 331 h 979"/>
                <a:gd name="T10" fmla="*/ 154 w 584"/>
                <a:gd name="T11" fmla="*/ 410 h 979"/>
                <a:gd name="T12" fmla="*/ 185 w 584"/>
                <a:gd name="T13" fmla="*/ 566 h 979"/>
                <a:gd name="T14" fmla="*/ 151 w 584"/>
                <a:gd name="T15" fmla="*/ 706 h 979"/>
                <a:gd name="T16" fmla="*/ 245 w 584"/>
                <a:gd name="T17" fmla="*/ 813 h 979"/>
                <a:gd name="T18" fmla="*/ 221 w 584"/>
                <a:gd name="T19" fmla="*/ 852 h 979"/>
                <a:gd name="T20" fmla="*/ 180 w 584"/>
                <a:gd name="T21" fmla="*/ 885 h 979"/>
                <a:gd name="T22" fmla="*/ 240 w 584"/>
                <a:gd name="T23" fmla="*/ 974 h 979"/>
                <a:gd name="T24" fmla="*/ 282 w 584"/>
                <a:gd name="T25" fmla="*/ 950 h 979"/>
                <a:gd name="T26" fmla="*/ 334 w 584"/>
                <a:gd name="T27" fmla="*/ 914 h 979"/>
                <a:gd name="T28" fmla="*/ 391 w 584"/>
                <a:gd name="T29" fmla="*/ 935 h 979"/>
                <a:gd name="T30" fmla="*/ 412 w 584"/>
                <a:gd name="T31" fmla="*/ 950 h 979"/>
                <a:gd name="T32" fmla="*/ 482 w 584"/>
                <a:gd name="T33" fmla="*/ 935 h 979"/>
                <a:gd name="T34" fmla="*/ 522 w 584"/>
                <a:gd name="T35" fmla="*/ 952 h 979"/>
                <a:gd name="T36" fmla="*/ 581 w 584"/>
                <a:gd name="T37" fmla="*/ 865 h 979"/>
                <a:gd name="T38" fmla="*/ 584 w 584"/>
                <a:gd name="T39" fmla="*/ 817 h 979"/>
                <a:gd name="T40" fmla="*/ 491 w 584"/>
                <a:gd name="T41" fmla="*/ 748 h 979"/>
                <a:gd name="T42" fmla="*/ 392 w 584"/>
                <a:gd name="T43" fmla="*/ 682 h 979"/>
                <a:gd name="T44" fmla="*/ 450 w 584"/>
                <a:gd name="T45" fmla="*/ 635 h 979"/>
                <a:gd name="T46" fmla="*/ 448 w 584"/>
                <a:gd name="T47" fmla="*/ 598 h 979"/>
                <a:gd name="T48" fmla="*/ 502 w 584"/>
                <a:gd name="T49" fmla="*/ 592 h 979"/>
                <a:gd name="T50" fmla="*/ 532 w 584"/>
                <a:gd name="T51" fmla="*/ 523 h 979"/>
                <a:gd name="T52" fmla="*/ 526 w 584"/>
                <a:gd name="T53" fmla="*/ 482 h 979"/>
                <a:gd name="T54" fmla="*/ 528 w 584"/>
                <a:gd name="T55" fmla="*/ 422 h 979"/>
                <a:gd name="T56" fmla="*/ 489 w 584"/>
                <a:gd name="T57" fmla="*/ 428 h 979"/>
                <a:gd name="T58" fmla="*/ 409 w 584"/>
                <a:gd name="T59" fmla="*/ 361 h 979"/>
                <a:gd name="T60" fmla="*/ 422 w 584"/>
                <a:gd name="T61" fmla="*/ 325 h 979"/>
                <a:gd name="T62" fmla="*/ 393 w 584"/>
                <a:gd name="T63" fmla="*/ 302 h 979"/>
                <a:gd name="T64" fmla="*/ 323 w 584"/>
                <a:gd name="T65" fmla="*/ 160 h 979"/>
                <a:gd name="T66" fmla="*/ 372 w 584"/>
                <a:gd name="T67" fmla="*/ 107 h 979"/>
                <a:gd name="T68" fmla="*/ 234 w 584"/>
                <a:gd name="T69" fmla="*/ 32 h 979"/>
                <a:gd name="T70" fmla="*/ 107 w 584"/>
                <a:gd name="T71" fmla="*/ 29 h 97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584"/>
                <a:gd name="T109" fmla="*/ 0 h 979"/>
                <a:gd name="T110" fmla="*/ 584 w 584"/>
                <a:gd name="T111" fmla="*/ 979 h 979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584" h="979">
                  <a:moveTo>
                    <a:pt x="10" y="0"/>
                  </a:moveTo>
                  <a:lnTo>
                    <a:pt x="0" y="27"/>
                  </a:lnTo>
                  <a:lnTo>
                    <a:pt x="55" y="71"/>
                  </a:lnTo>
                  <a:lnTo>
                    <a:pt x="55" y="128"/>
                  </a:lnTo>
                  <a:lnTo>
                    <a:pt x="34" y="154"/>
                  </a:lnTo>
                  <a:lnTo>
                    <a:pt x="47" y="167"/>
                  </a:lnTo>
                  <a:lnTo>
                    <a:pt x="55" y="172"/>
                  </a:lnTo>
                  <a:lnTo>
                    <a:pt x="49" y="222"/>
                  </a:lnTo>
                  <a:lnTo>
                    <a:pt x="68" y="264"/>
                  </a:lnTo>
                  <a:lnTo>
                    <a:pt x="128" y="331"/>
                  </a:lnTo>
                  <a:lnTo>
                    <a:pt x="141" y="391"/>
                  </a:lnTo>
                  <a:lnTo>
                    <a:pt x="154" y="410"/>
                  </a:lnTo>
                  <a:lnTo>
                    <a:pt x="154" y="503"/>
                  </a:lnTo>
                  <a:lnTo>
                    <a:pt x="185" y="566"/>
                  </a:lnTo>
                  <a:lnTo>
                    <a:pt x="185" y="639"/>
                  </a:lnTo>
                  <a:lnTo>
                    <a:pt x="151" y="706"/>
                  </a:lnTo>
                  <a:lnTo>
                    <a:pt x="187" y="800"/>
                  </a:lnTo>
                  <a:lnTo>
                    <a:pt x="245" y="813"/>
                  </a:lnTo>
                  <a:lnTo>
                    <a:pt x="250" y="839"/>
                  </a:lnTo>
                  <a:lnTo>
                    <a:pt x="221" y="852"/>
                  </a:lnTo>
                  <a:lnTo>
                    <a:pt x="172" y="852"/>
                  </a:lnTo>
                  <a:lnTo>
                    <a:pt x="180" y="885"/>
                  </a:lnTo>
                  <a:lnTo>
                    <a:pt x="196" y="935"/>
                  </a:lnTo>
                  <a:lnTo>
                    <a:pt x="240" y="974"/>
                  </a:lnTo>
                  <a:lnTo>
                    <a:pt x="261" y="979"/>
                  </a:lnTo>
                  <a:lnTo>
                    <a:pt x="282" y="950"/>
                  </a:lnTo>
                  <a:lnTo>
                    <a:pt x="305" y="947"/>
                  </a:lnTo>
                  <a:lnTo>
                    <a:pt x="334" y="914"/>
                  </a:lnTo>
                  <a:lnTo>
                    <a:pt x="360" y="935"/>
                  </a:lnTo>
                  <a:lnTo>
                    <a:pt x="391" y="935"/>
                  </a:lnTo>
                  <a:lnTo>
                    <a:pt x="412" y="945"/>
                  </a:lnTo>
                  <a:lnTo>
                    <a:pt x="412" y="950"/>
                  </a:lnTo>
                  <a:lnTo>
                    <a:pt x="456" y="955"/>
                  </a:lnTo>
                  <a:lnTo>
                    <a:pt x="482" y="935"/>
                  </a:lnTo>
                  <a:lnTo>
                    <a:pt x="521" y="950"/>
                  </a:lnTo>
                  <a:lnTo>
                    <a:pt x="522" y="952"/>
                  </a:lnTo>
                  <a:lnTo>
                    <a:pt x="566" y="914"/>
                  </a:lnTo>
                  <a:lnTo>
                    <a:pt x="581" y="865"/>
                  </a:lnTo>
                  <a:lnTo>
                    <a:pt x="577" y="843"/>
                  </a:lnTo>
                  <a:lnTo>
                    <a:pt x="584" y="817"/>
                  </a:lnTo>
                  <a:lnTo>
                    <a:pt x="558" y="792"/>
                  </a:lnTo>
                  <a:lnTo>
                    <a:pt x="491" y="748"/>
                  </a:lnTo>
                  <a:lnTo>
                    <a:pt x="442" y="744"/>
                  </a:lnTo>
                  <a:lnTo>
                    <a:pt x="392" y="682"/>
                  </a:lnTo>
                  <a:lnTo>
                    <a:pt x="433" y="667"/>
                  </a:lnTo>
                  <a:lnTo>
                    <a:pt x="450" y="635"/>
                  </a:lnTo>
                  <a:lnTo>
                    <a:pt x="429" y="615"/>
                  </a:lnTo>
                  <a:lnTo>
                    <a:pt x="448" y="598"/>
                  </a:lnTo>
                  <a:lnTo>
                    <a:pt x="467" y="613"/>
                  </a:lnTo>
                  <a:lnTo>
                    <a:pt x="502" y="592"/>
                  </a:lnTo>
                  <a:lnTo>
                    <a:pt x="524" y="557"/>
                  </a:lnTo>
                  <a:lnTo>
                    <a:pt x="532" y="523"/>
                  </a:lnTo>
                  <a:lnTo>
                    <a:pt x="517" y="492"/>
                  </a:lnTo>
                  <a:lnTo>
                    <a:pt x="526" y="482"/>
                  </a:lnTo>
                  <a:lnTo>
                    <a:pt x="506" y="450"/>
                  </a:lnTo>
                  <a:lnTo>
                    <a:pt x="528" y="422"/>
                  </a:lnTo>
                  <a:lnTo>
                    <a:pt x="511" y="400"/>
                  </a:lnTo>
                  <a:lnTo>
                    <a:pt x="489" y="428"/>
                  </a:lnTo>
                  <a:lnTo>
                    <a:pt x="459" y="411"/>
                  </a:lnTo>
                  <a:lnTo>
                    <a:pt x="409" y="361"/>
                  </a:lnTo>
                  <a:lnTo>
                    <a:pt x="407" y="340"/>
                  </a:lnTo>
                  <a:lnTo>
                    <a:pt x="422" y="325"/>
                  </a:lnTo>
                  <a:lnTo>
                    <a:pt x="418" y="296"/>
                  </a:lnTo>
                  <a:lnTo>
                    <a:pt x="393" y="302"/>
                  </a:lnTo>
                  <a:lnTo>
                    <a:pt x="391" y="240"/>
                  </a:lnTo>
                  <a:lnTo>
                    <a:pt x="323" y="160"/>
                  </a:lnTo>
                  <a:lnTo>
                    <a:pt x="344" y="107"/>
                  </a:lnTo>
                  <a:lnTo>
                    <a:pt x="372" y="107"/>
                  </a:lnTo>
                  <a:lnTo>
                    <a:pt x="346" y="37"/>
                  </a:lnTo>
                  <a:lnTo>
                    <a:pt x="234" y="32"/>
                  </a:lnTo>
                  <a:lnTo>
                    <a:pt x="174" y="73"/>
                  </a:lnTo>
                  <a:lnTo>
                    <a:pt x="107" y="29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50</a:t>
              </a:r>
            </a:p>
          </p:txBody>
        </p:sp>
        <p:sp>
          <p:nvSpPr>
            <p:cNvPr id="154" name="FR-56">
              <a:extLst>
                <a:ext uri="{FF2B5EF4-FFF2-40B4-BE49-F238E27FC236}">
                  <a16:creationId xmlns:a16="http://schemas.microsoft.com/office/drawing/2014/main" id="{7FBD046B-5C24-4431-8CC1-5DB362DDB3B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12994" y="1976083"/>
              <a:ext cx="819041" cy="574740"/>
            </a:xfrm>
            <a:custGeom>
              <a:avLst/>
              <a:gdLst>
                <a:gd name="T0" fmla="*/ 62 w 843"/>
                <a:gd name="T1" fmla="*/ 21 h 607"/>
                <a:gd name="T2" fmla="*/ 0 w 843"/>
                <a:gd name="T3" fmla="*/ 47 h 607"/>
                <a:gd name="T4" fmla="*/ 21 w 843"/>
                <a:gd name="T5" fmla="*/ 116 h 607"/>
                <a:gd name="T6" fmla="*/ 99 w 843"/>
                <a:gd name="T7" fmla="*/ 165 h 607"/>
                <a:gd name="T8" fmla="*/ 144 w 843"/>
                <a:gd name="T9" fmla="*/ 176 h 607"/>
                <a:gd name="T10" fmla="*/ 154 w 843"/>
                <a:gd name="T11" fmla="*/ 217 h 607"/>
                <a:gd name="T12" fmla="*/ 133 w 843"/>
                <a:gd name="T13" fmla="*/ 255 h 607"/>
                <a:gd name="T14" fmla="*/ 88 w 843"/>
                <a:gd name="T15" fmla="*/ 279 h 607"/>
                <a:gd name="T16" fmla="*/ 104 w 843"/>
                <a:gd name="T17" fmla="*/ 377 h 607"/>
                <a:gd name="T18" fmla="*/ 162 w 843"/>
                <a:gd name="T19" fmla="*/ 364 h 607"/>
                <a:gd name="T20" fmla="*/ 190 w 843"/>
                <a:gd name="T21" fmla="*/ 408 h 607"/>
                <a:gd name="T22" fmla="*/ 253 w 843"/>
                <a:gd name="T23" fmla="*/ 484 h 607"/>
                <a:gd name="T24" fmla="*/ 242 w 843"/>
                <a:gd name="T25" fmla="*/ 552 h 607"/>
                <a:gd name="T26" fmla="*/ 289 w 843"/>
                <a:gd name="T27" fmla="*/ 557 h 607"/>
                <a:gd name="T28" fmla="*/ 274 w 843"/>
                <a:gd name="T29" fmla="*/ 489 h 607"/>
                <a:gd name="T30" fmla="*/ 315 w 843"/>
                <a:gd name="T31" fmla="*/ 465 h 607"/>
                <a:gd name="T32" fmla="*/ 357 w 843"/>
                <a:gd name="T33" fmla="*/ 512 h 607"/>
                <a:gd name="T34" fmla="*/ 357 w 843"/>
                <a:gd name="T35" fmla="*/ 450 h 607"/>
                <a:gd name="T36" fmla="*/ 422 w 843"/>
                <a:gd name="T37" fmla="*/ 484 h 607"/>
                <a:gd name="T38" fmla="*/ 448 w 843"/>
                <a:gd name="T39" fmla="*/ 473 h 607"/>
                <a:gd name="T40" fmla="*/ 461 w 843"/>
                <a:gd name="T41" fmla="*/ 525 h 607"/>
                <a:gd name="T42" fmla="*/ 388 w 843"/>
                <a:gd name="T43" fmla="*/ 497 h 607"/>
                <a:gd name="T44" fmla="*/ 399 w 843"/>
                <a:gd name="T45" fmla="*/ 533 h 607"/>
                <a:gd name="T46" fmla="*/ 563 w 843"/>
                <a:gd name="T47" fmla="*/ 557 h 607"/>
                <a:gd name="T48" fmla="*/ 581 w 843"/>
                <a:gd name="T49" fmla="*/ 580 h 607"/>
                <a:gd name="T50" fmla="*/ 589 w 843"/>
                <a:gd name="T51" fmla="*/ 607 h 607"/>
                <a:gd name="T52" fmla="*/ 623 w 843"/>
                <a:gd name="T53" fmla="*/ 582 h 607"/>
                <a:gd name="T54" fmla="*/ 680 w 843"/>
                <a:gd name="T55" fmla="*/ 600 h 607"/>
                <a:gd name="T56" fmla="*/ 803 w 843"/>
                <a:gd name="T57" fmla="*/ 545 h 607"/>
                <a:gd name="T58" fmla="*/ 821 w 843"/>
                <a:gd name="T59" fmla="*/ 464 h 607"/>
                <a:gd name="T60" fmla="*/ 817 w 843"/>
                <a:gd name="T61" fmla="*/ 393 h 607"/>
                <a:gd name="T62" fmla="*/ 798 w 843"/>
                <a:gd name="T63" fmla="*/ 372 h 607"/>
                <a:gd name="T64" fmla="*/ 843 w 843"/>
                <a:gd name="T65" fmla="*/ 335 h 607"/>
                <a:gd name="T66" fmla="*/ 813 w 843"/>
                <a:gd name="T67" fmla="*/ 309 h 607"/>
                <a:gd name="T68" fmla="*/ 826 w 843"/>
                <a:gd name="T69" fmla="*/ 258 h 607"/>
                <a:gd name="T70" fmla="*/ 772 w 843"/>
                <a:gd name="T71" fmla="*/ 199 h 607"/>
                <a:gd name="T72" fmla="*/ 722 w 843"/>
                <a:gd name="T73" fmla="*/ 195 h 607"/>
                <a:gd name="T74" fmla="*/ 742 w 843"/>
                <a:gd name="T75" fmla="*/ 161 h 607"/>
                <a:gd name="T76" fmla="*/ 746 w 843"/>
                <a:gd name="T77" fmla="*/ 90 h 607"/>
                <a:gd name="T78" fmla="*/ 686 w 843"/>
                <a:gd name="T79" fmla="*/ 97 h 607"/>
                <a:gd name="T80" fmla="*/ 643 w 843"/>
                <a:gd name="T81" fmla="*/ 53 h 607"/>
                <a:gd name="T82" fmla="*/ 613 w 843"/>
                <a:gd name="T83" fmla="*/ 92 h 607"/>
                <a:gd name="T84" fmla="*/ 539 w 843"/>
                <a:gd name="T85" fmla="*/ 105 h 607"/>
                <a:gd name="T86" fmla="*/ 516 w 843"/>
                <a:gd name="T87" fmla="*/ 92 h 607"/>
                <a:gd name="T88" fmla="*/ 471 w 843"/>
                <a:gd name="T89" fmla="*/ 73 h 607"/>
                <a:gd name="T90" fmla="*/ 424 w 843"/>
                <a:gd name="T91" fmla="*/ 40 h 607"/>
                <a:gd name="T92" fmla="*/ 348 w 843"/>
                <a:gd name="T93" fmla="*/ 14 h 607"/>
                <a:gd name="T94" fmla="*/ 303 w 843"/>
                <a:gd name="T95" fmla="*/ 38 h 607"/>
                <a:gd name="T96" fmla="*/ 213 w 843"/>
                <a:gd name="T97" fmla="*/ 38 h 607"/>
                <a:gd name="T98" fmla="*/ 178 w 843"/>
                <a:gd name="T99" fmla="*/ 40 h 607"/>
                <a:gd name="T100" fmla="*/ 148 w 843"/>
                <a:gd name="T101" fmla="*/ 17 h 607"/>
                <a:gd name="T102" fmla="*/ 106 w 843"/>
                <a:gd name="T103" fmla="*/ 0 h 60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43"/>
                <a:gd name="T157" fmla="*/ 0 h 607"/>
                <a:gd name="T158" fmla="*/ 843 w 843"/>
                <a:gd name="T159" fmla="*/ 607 h 607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43" h="607">
                  <a:moveTo>
                    <a:pt x="106" y="0"/>
                  </a:moveTo>
                  <a:lnTo>
                    <a:pt x="62" y="21"/>
                  </a:lnTo>
                  <a:lnTo>
                    <a:pt x="32" y="21"/>
                  </a:lnTo>
                  <a:lnTo>
                    <a:pt x="0" y="47"/>
                  </a:lnTo>
                  <a:lnTo>
                    <a:pt x="2" y="66"/>
                  </a:lnTo>
                  <a:lnTo>
                    <a:pt x="21" y="116"/>
                  </a:lnTo>
                  <a:lnTo>
                    <a:pt x="32" y="154"/>
                  </a:lnTo>
                  <a:lnTo>
                    <a:pt x="99" y="165"/>
                  </a:lnTo>
                  <a:lnTo>
                    <a:pt x="131" y="191"/>
                  </a:lnTo>
                  <a:lnTo>
                    <a:pt x="144" y="176"/>
                  </a:lnTo>
                  <a:lnTo>
                    <a:pt x="165" y="204"/>
                  </a:lnTo>
                  <a:lnTo>
                    <a:pt x="154" y="217"/>
                  </a:lnTo>
                  <a:lnTo>
                    <a:pt x="152" y="255"/>
                  </a:lnTo>
                  <a:lnTo>
                    <a:pt x="133" y="255"/>
                  </a:lnTo>
                  <a:lnTo>
                    <a:pt x="118" y="279"/>
                  </a:lnTo>
                  <a:lnTo>
                    <a:pt x="88" y="279"/>
                  </a:lnTo>
                  <a:lnTo>
                    <a:pt x="75" y="330"/>
                  </a:lnTo>
                  <a:lnTo>
                    <a:pt x="104" y="377"/>
                  </a:lnTo>
                  <a:lnTo>
                    <a:pt x="146" y="387"/>
                  </a:lnTo>
                  <a:lnTo>
                    <a:pt x="162" y="364"/>
                  </a:lnTo>
                  <a:lnTo>
                    <a:pt x="154" y="392"/>
                  </a:lnTo>
                  <a:lnTo>
                    <a:pt x="190" y="408"/>
                  </a:lnTo>
                  <a:lnTo>
                    <a:pt x="237" y="455"/>
                  </a:lnTo>
                  <a:lnTo>
                    <a:pt x="253" y="484"/>
                  </a:lnTo>
                  <a:lnTo>
                    <a:pt x="248" y="517"/>
                  </a:lnTo>
                  <a:lnTo>
                    <a:pt x="242" y="552"/>
                  </a:lnTo>
                  <a:lnTo>
                    <a:pt x="274" y="575"/>
                  </a:lnTo>
                  <a:lnTo>
                    <a:pt x="289" y="557"/>
                  </a:lnTo>
                  <a:lnTo>
                    <a:pt x="274" y="536"/>
                  </a:lnTo>
                  <a:lnTo>
                    <a:pt x="274" y="489"/>
                  </a:lnTo>
                  <a:lnTo>
                    <a:pt x="305" y="497"/>
                  </a:lnTo>
                  <a:lnTo>
                    <a:pt x="315" y="465"/>
                  </a:lnTo>
                  <a:lnTo>
                    <a:pt x="323" y="484"/>
                  </a:lnTo>
                  <a:lnTo>
                    <a:pt x="357" y="512"/>
                  </a:lnTo>
                  <a:lnTo>
                    <a:pt x="373" y="486"/>
                  </a:lnTo>
                  <a:lnTo>
                    <a:pt x="357" y="450"/>
                  </a:lnTo>
                  <a:lnTo>
                    <a:pt x="386" y="489"/>
                  </a:lnTo>
                  <a:lnTo>
                    <a:pt x="422" y="484"/>
                  </a:lnTo>
                  <a:lnTo>
                    <a:pt x="414" y="465"/>
                  </a:lnTo>
                  <a:lnTo>
                    <a:pt x="448" y="473"/>
                  </a:lnTo>
                  <a:lnTo>
                    <a:pt x="474" y="504"/>
                  </a:lnTo>
                  <a:lnTo>
                    <a:pt x="461" y="525"/>
                  </a:lnTo>
                  <a:lnTo>
                    <a:pt x="427" y="515"/>
                  </a:lnTo>
                  <a:lnTo>
                    <a:pt x="388" y="497"/>
                  </a:lnTo>
                  <a:lnTo>
                    <a:pt x="367" y="523"/>
                  </a:lnTo>
                  <a:lnTo>
                    <a:pt x="399" y="533"/>
                  </a:lnTo>
                  <a:lnTo>
                    <a:pt x="422" y="569"/>
                  </a:lnTo>
                  <a:lnTo>
                    <a:pt x="563" y="557"/>
                  </a:lnTo>
                  <a:lnTo>
                    <a:pt x="599" y="564"/>
                  </a:lnTo>
                  <a:lnTo>
                    <a:pt x="581" y="580"/>
                  </a:lnTo>
                  <a:lnTo>
                    <a:pt x="584" y="604"/>
                  </a:lnTo>
                  <a:lnTo>
                    <a:pt x="589" y="607"/>
                  </a:lnTo>
                  <a:lnTo>
                    <a:pt x="600" y="605"/>
                  </a:lnTo>
                  <a:lnTo>
                    <a:pt x="623" y="582"/>
                  </a:lnTo>
                  <a:lnTo>
                    <a:pt x="639" y="600"/>
                  </a:lnTo>
                  <a:lnTo>
                    <a:pt x="680" y="600"/>
                  </a:lnTo>
                  <a:lnTo>
                    <a:pt x="730" y="574"/>
                  </a:lnTo>
                  <a:lnTo>
                    <a:pt x="803" y="545"/>
                  </a:lnTo>
                  <a:lnTo>
                    <a:pt x="805" y="472"/>
                  </a:lnTo>
                  <a:lnTo>
                    <a:pt x="821" y="464"/>
                  </a:lnTo>
                  <a:lnTo>
                    <a:pt x="793" y="412"/>
                  </a:lnTo>
                  <a:lnTo>
                    <a:pt x="817" y="393"/>
                  </a:lnTo>
                  <a:lnTo>
                    <a:pt x="813" y="380"/>
                  </a:lnTo>
                  <a:lnTo>
                    <a:pt x="798" y="372"/>
                  </a:lnTo>
                  <a:lnTo>
                    <a:pt x="821" y="361"/>
                  </a:lnTo>
                  <a:lnTo>
                    <a:pt x="843" y="335"/>
                  </a:lnTo>
                  <a:lnTo>
                    <a:pt x="841" y="309"/>
                  </a:lnTo>
                  <a:lnTo>
                    <a:pt x="813" y="309"/>
                  </a:lnTo>
                  <a:lnTo>
                    <a:pt x="806" y="284"/>
                  </a:lnTo>
                  <a:lnTo>
                    <a:pt x="826" y="258"/>
                  </a:lnTo>
                  <a:lnTo>
                    <a:pt x="804" y="219"/>
                  </a:lnTo>
                  <a:lnTo>
                    <a:pt x="772" y="199"/>
                  </a:lnTo>
                  <a:lnTo>
                    <a:pt x="735" y="199"/>
                  </a:lnTo>
                  <a:lnTo>
                    <a:pt x="722" y="195"/>
                  </a:lnTo>
                  <a:lnTo>
                    <a:pt x="722" y="178"/>
                  </a:lnTo>
                  <a:lnTo>
                    <a:pt x="742" y="161"/>
                  </a:lnTo>
                  <a:lnTo>
                    <a:pt x="752" y="118"/>
                  </a:lnTo>
                  <a:lnTo>
                    <a:pt x="746" y="90"/>
                  </a:lnTo>
                  <a:lnTo>
                    <a:pt x="737" y="101"/>
                  </a:lnTo>
                  <a:lnTo>
                    <a:pt x="686" y="97"/>
                  </a:lnTo>
                  <a:lnTo>
                    <a:pt x="662" y="53"/>
                  </a:lnTo>
                  <a:lnTo>
                    <a:pt x="643" y="53"/>
                  </a:lnTo>
                  <a:lnTo>
                    <a:pt x="613" y="64"/>
                  </a:lnTo>
                  <a:lnTo>
                    <a:pt x="613" y="92"/>
                  </a:lnTo>
                  <a:lnTo>
                    <a:pt x="572" y="118"/>
                  </a:lnTo>
                  <a:lnTo>
                    <a:pt x="539" y="105"/>
                  </a:lnTo>
                  <a:lnTo>
                    <a:pt x="527" y="77"/>
                  </a:lnTo>
                  <a:lnTo>
                    <a:pt x="516" y="92"/>
                  </a:lnTo>
                  <a:lnTo>
                    <a:pt x="486" y="92"/>
                  </a:lnTo>
                  <a:lnTo>
                    <a:pt x="471" y="73"/>
                  </a:lnTo>
                  <a:lnTo>
                    <a:pt x="456" y="73"/>
                  </a:lnTo>
                  <a:lnTo>
                    <a:pt x="424" y="40"/>
                  </a:lnTo>
                  <a:lnTo>
                    <a:pt x="387" y="49"/>
                  </a:lnTo>
                  <a:lnTo>
                    <a:pt x="348" y="14"/>
                  </a:lnTo>
                  <a:lnTo>
                    <a:pt x="314" y="17"/>
                  </a:lnTo>
                  <a:lnTo>
                    <a:pt x="303" y="38"/>
                  </a:lnTo>
                  <a:lnTo>
                    <a:pt x="262" y="60"/>
                  </a:lnTo>
                  <a:lnTo>
                    <a:pt x="213" y="38"/>
                  </a:lnTo>
                  <a:lnTo>
                    <a:pt x="200" y="25"/>
                  </a:lnTo>
                  <a:lnTo>
                    <a:pt x="178" y="40"/>
                  </a:lnTo>
                  <a:lnTo>
                    <a:pt x="152" y="38"/>
                  </a:lnTo>
                  <a:lnTo>
                    <a:pt x="148" y="17"/>
                  </a:lnTo>
                  <a:lnTo>
                    <a:pt x="107" y="6"/>
                  </a:lnTo>
                  <a:lnTo>
                    <a:pt x="106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56</a:t>
              </a:r>
            </a:p>
          </p:txBody>
        </p:sp>
        <p:sp>
          <p:nvSpPr>
            <p:cNvPr id="155" name="FR-29">
              <a:extLst>
                <a:ext uri="{FF2B5EF4-FFF2-40B4-BE49-F238E27FC236}">
                  <a16:creationId xmlns:a16="http://schemas.microsoft.com/office/drawing/2014/main" id="{BE52D95A-B1E4-4DF3-8D64-486EDAF9980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0" y="1578405"/>
              <a:ext cx="673304" cy="710140"/>
            </a:xfrm>
            <a:custGeom>
              <a:avLst/>
              <a:gdLst>
                <a:gd name="T0" fmla="*/ 401 w 693"/>
                <a:gd name="T1" fmla="*/ 31 h 750"/>
                <a:gd name="T2" fmla="*/ 312 w 693"/>
                <a:gd name="T3" fmla="*/ 24 h 750"/>
                <a:gd name="T4" fmla="*/ 268 w 693"/>
                <a:gd name="T5" fmla="*/ 57 h 750"/>
                <a:gd name="T6" fmla="*/ 203 w 693"/>
                <a:gd name="T7" fmla="*/ 37 h 750"/>
                <a:gd name="T8" fmla="*/ 161 w 693"/>
                <a:gd name="T9" fmla="*/ 57 h 750"/>
                <a:gd name="T10" fmla="*/ 122 w 693"/>
                <a:gd name="T11" fmla="*/ 55 h 750"/>
                <a:gd name="T12" fmla="*/ 47 w 693"/>
                <a:gd name="T13" fmla="*/ 89 h 750"/>
                <a:gd name="T14" fmla="*/ 41 w 693"/>
                <a:gd name="T15" fmla="*/ 156 h 750"/>
                <a:gd name="T16" fmla="*/ 12 w 693"/>
                <a:gd name="T17" fmla="*/ 214 h 750"/>
                <a:gd name="T18" fmla="*/ 44 w 693"/>
                <a:gd name="T19" fmla="*/ 276 h 750"/>
                <a:gd name="T20" fmla="*/ 67 w 693"/>
                <a:gd name="T21" fmla="*/ 271 h 750"/>
                <a:gd name="T22" fmla="*/ 231 w 693"/>
                <a:gd name="T23" fmla="*/ 211 h 750"/>
                <a:gd name="T24" fmla="*/ 179 w 693"/>
                <a:gd name="T25" fmla="*/ 292 h 750"/>
                <a:gd name="T26" fmla="*/ 221 w 693"/>
                <a:gd name="T27" fmla="*/ 305 h 750"/>
                <a:gd name="T28" fmla="*/ 276 w 693"/>
                <a:gd name="T29" fmla="*/ 323 h 750"/>
                <a:gd name="T30" fmla="*/ 164 w 693"/>
                <a:gd name="T31" fmla="*/ 307 h 750"/>
                <a:gd name="T32" fmla="*/ 67 w 693"/>
                <a:gd name="T33" fmla="*/ 320 h 750"/>
                <a:gd name="T34" fmla="*/ 112 w 693"/>
                <a:gd name="T35" fmla="*/ 406 h 750"/>
                <a:gd name="T36" fmla="*/ 153 w 693"/>
                <a:gd name="T37" fmla="*/ 352 h 750"/>
                <a:gd name="T38" fmla="*/ 234 w 693"/>
                <a:gd name="T39" fmla="*/ 388 h 750"/>
                <a:gd name="T40" fmla="*/ 229 w 693"/>
                <a:gd name="T41" fmla="*/ 458 h 750"/>
                <a:gd name="T42" fmla="*/ 164 w 693"/>
                <a:gd name="T43" fmla="*/ 456 h 750"/>
                <a:gd name="T44" fmla="*/ 23 w 693"/>
                <a:gd name="T45" fmla="*/ 469 h 750"/>
                <a:gd name="T46" fmla="*/ 31 w 693"/>
                <a:gd name="T47" fmla="*/ 508 h 750"/>
                <a:gd name="T48" fmla="*/ 83 w 693"/>
                <a:gd name="T49" fmla="*/ 526 h 750"/>
                <a:gd name="T50" fmla="*/ 172 w 693"/>
                <a:gd name="T51" fmla="*/ 586 h 750"/>
                <a:gd name="T52" fmla="*/ 166 w 693"/>
                <a:gd name="T53" fmla="*/ 690 h 750"/>
                <a:gd name="T54" fmla="*/ 281 w 693"/>
                <a:gd name="T55" fmla="*/ 698 h 750"/>
                <a:gd name="T56" fmla="*/ 270 w 693"/>
                <a:gd name="T57" fmla="*/ 643 h 750"/>
                <a:gd name="T58" fmla="*/ 317 w 693"/>
                <a:gd name="T59" fmla="*/ 651 h 750"/>
                <a:gd name="T60" fmla="*/ 385 w 693"/>
                <a:gd name="T61" fmla="*/ 669 h 750"/>
                <a:gd name="T62" fmla="*/ 395 w 693"/>
                <a:gd name="T63" fmla="*/ 669 h 750"/>
                <a:gd name="T64" fmla="*/ 502 w 693"/>
                <a:gd name="T65" fmla="*/ 729 h 750"/>
                <a:gd name="T66" fmla="*/ 523 w 693"/>
                <a:gd name="T67" fmla="*/ 739 h 750"/>
                <a:gd name="T68" fmla="*/ 601 w 693"/>
                <a:gd name="T69" fmla="*/ 747 h 750"/>
                <a:gd name="T70" fmla="*/ 616 w 693"/>
                <a:gd name="T71" fmla="*/ 699 h 750"/>
                <a:gd name="T72" fmla="*/ 661 w 693"/>
                <a:gd name="T73" fmla="*/ 675 h 750"/>
                <a:gd name="T74" fmla="*/ 682 w 693"/>
                <a:gd name="T75" fmla="*/ 637 h 750"/>
                <a:gd name="T76" fmla="*/ 672 w 693"/>
                <a:gd name="T77" fmla="*/ 596 h 750"/>
                <a:gd name="T78" fmla="*/ 627 w 693"/>
                <a:gd name="T79" fmla="*/ 585 h 750"/>
                <a:gd name="T80" fmla="*/ 549 w 693"/>
                <a:gd name="T81" fmla="*/ 536 h 750"/>
                <a:gd name="T82" fmla="*/ 528 w 693"/>
                <a:gd name="T83" fmla="*/ 467 h 750"/>
                <a:gd name="T84" fmla="*/ 590 w 693"/>
                <a:gd name="T85" fmla="*/ 441 h 750"/>
                <a:gd name="T86" fmla="*/ 625 w 693"/>
                <a:gd name="T87" fmla="*/ 387 h 750"/>
                <a:gd name="T88" fmla="*/ 633 w 693"/>
                <a:gd name="T89" fmla="*/ 299 h 750"/>
                <a:gd name="T90" fmla="*/ 614 w 693"/>
                <a:gd name="T91" fmla="*/ 241 h 750"/>
                <a:gd name="T92" fmla="*/ 612 w 693"/>
                <a:gd name="T93" fmla="*/ 222 h 750"/>
                <a:gd name="T94" fmla="*/ 625 w 693"/>
                <a:gd name="T95" fmla="*/ 185 h 750"/>
                <a:gd name="T96" fmla="*/ 622 w 693"/>
                <a:gd name="T97" fmla="*/ 149 h 750"/>
                <a:gd name="T98" fmla="*/ 592 w 693"/>
                <a:gd name="T99" fmla="*/ 119 h 750"/>
                <a:gd name="T100" fmla="*/ 565 w 693"/>
                <a:gd name="T101" fmla="*/ 24 h 750"/>
                <a:gd name="T102" fmla="*/ 492 w 693"/>
                <a:gd name="T103" fmla="*/ 78 h 750"/>
                <a:gd name="T104" fmla="*/ 466 w 693"/>
                <a:gd name="T105" fmla="*/ 55 h 750"/>
                <a:gd name="T106" fmla="*/ 429 w 693"/>
                <a:gd name="T107" fmla="*/ 0 h 7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93"/>
                <a:gd name="T163" fmla="*/ 0 h 750"/>
                <a:gd name="T164" fmla="*/ 693 w 693"/>
                <a:gd name="T165" fmla="*/ 750 h 7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93" h="750">
                  <a:moveTo>
                    <a:pt x="429" y="0"/>
                  </a:moveTo>
                  <a:lnTo>
                    <a:pt x="401" y="31"/>
                  </a:lnTo>
                  <a:lnTo>
                    <a:pt x="370" y="18"/>
                  </a:lnTo>
                  <a:lnTo>
                    <a:pt x="312" y="24"/>
                  </a:lnTo>
                  <a:lnTo>
                    <a:pt x="302" y="49"/>
                  </a:lnTo>
                  <a:lnTo>
                    <a:pt x="268" y="57"/>
                  </a:lnTo>
                  <a:lnTo>
                    <a:pt x="262" y="29"/>
                  </a:lnTo>
                  <a:lnTo>
                    <a:pt x="203" y="37"/>
                  </a:lnTo>
                  <a:lnTo>
                    <a:pt x="203" y="55"/>
                  </a:lnTo>
                  <a:lnTo>
                    <a:pt x="161" y="57"/>
                  </a:lnTo>
                  <a:lnTo>
                    <a:pt x="143" y="44"/>
                  </a:lnTo>
                  <a:lnTo>
                    <a:pt x="122" y="55"/>
                  </a:lnTo>
                  <a:lnTo>
                    <a:pt x="117" y="86"/>
                  </a:lnTo>
                  <a:lnTo>
                    <a:pt x="47" y="89"/>
                  </a:lnTo>
                  <a:lnTo>
                    <a:pt x="10" y="133"/>
                  </a:lnTo>
                  <a:lnTo>
                    <a:pt x="41" y="156"/>
                  </a:lnTo>
                  <a:lnTo>
                    <a:pt x="0" y="190"/>
                  </a:lnTo>
                  <a:lnTo>
                    <a:pt x="12" y="214"/>
                  </a:lnTo>
                  <a:lnTo>
                    <a:pt x="2" y="271"/>
                  </a:lnTo>
                  <a:lnTo>
                    <a:pt x="44" y="276"/>
                  </a:lnTo>
                  <a:lnTo>
                    <a:pt x="60" y="260"/>
                  </a:lnTo>
                  <a:lnTo>
                    <a:pt x="67" y="271"/>
                  </a:lnTo>
                  <a:lnTo>
                    <a:pt x="166" y="258"/>
                  </a:lnTo>
                  <a:lnTo>
                    <a:pt x="231" y="211"/>
                  </a:lnTo>
                  <a:lnTo>
                    <a:pt x="174" y="266"/>
                  </a:lnTo>
                  <a:lnTo>
                    <a:pt x="179" y="292"/>
                  </a:lnTo>
                  <a:lnTo>
                    <a:pt x="231" y="268"/>
                  </a:lnTo>
                  <a:lnTo>
                    <a:pt x="221" y="305"/>
                  </a:lnTo>
                  <a:lnTo>
                    <a:pt x="278" y="307"/>
                  </a:lnTo>
                  <a:lnTo>
                    <a:pt x="276" y="323"/>
                  </a:lnTo>
                  <a:lnTo>
                    <a:pt x="213" y="320"/>
                  </a:lnTo>
                  <a:lnTo>
                    <a:pt x="164" y="307"/>
                  </a:lnTo>
                  <a:lnTo>
                    <a:pt x="104" y="279"/>
                  </a:lnTo>
                  <a:lnTo>
                    <a:pt x="67" y="320"/>
                  </a:lnTo>
                  <a:lnTo>
                    <a:pt x="114" y="336"/>
                  </a:lnTo>
                  <a:lnTo>
                    <a:pt x="112" y="406"/>
                  </a:lnTo>
                  <a:lnTo>
                    <a:pt x="125" y="396"/>
                  </a:lnTo>
                  <a:lnTo>
                    <a:pt x="153" y="352"/>
                  </a:lnTo>
                  <a:lnTo>
                    <a:pt x="208" y="383"/>
                  </a:lnTo>
                  <a:lnTo>
                    <a:pt x="234" y="388"/>
                  </a:lnTo>
                  <a:lnTo>
                    <a:pt x="245" y="430"/>
                  </a:lnTo>
                  <a:lnTo>
                    <a:pt x="229" y="458"/>
                  </a:lnTo>
                  <a:lnTo>
                    <a:pt x="195" y="456"/>
                  </a:lnTo>
                  <a:lnTo>
                    <a:pt x="164" y="456"/>
                  </a:lnTo>
                  <a:lnTo>
                    <a:pt x="112" y="464"/>
                  </a:lnTo>
                  <a:lnTo>
                    <a:pt x="23" y="469"/>
                  </a:lnTo>
                  <a:lnTo>
                    <a:pt x="5" y="492"/>
                  </a:lnTo>
                  <a:lnTo>
                    <a:pt x="31" y="508"/>
                  </a:lnTo>
                  <a:lnTo>
                    <a:pt x="60" y="505"/>
                  </a:lnTo>
                  <a:lnTo>
                    <a:pt x="83" y="526"/>
                  </a:lnTo>
                  <a:lnTo>
                    <a:pt x="117" y="524"/>
                  </a:lnTo>
                  <a:lnTo>
                    <a:pt x="172" y="586"/>
                  </a:lnTo>
                  <a:lnTo>
                    <a:pt x="185" y="654"/>
                  </a:lnTo>
                  <a:lnTo>
                    <a:pt x="166" y="690"/>
                  </a:lnTo>
                  <a:lnTo>
                    <a:pt x="221" y="701"/>
                  </a:lnTo>
                  <a:lnTo>
                    <a:pt x="281" y="698"/>
                  </a:lnTo>
                  <a:lnTo>
                    <a:pt x="294" y="674"/>
                  </a:lnTo>
                  <a:lnTo>
                    <a:pt x="270" y="643"/>
                  </a:lnTo>
                  <a:lnTo>
                    <a:pt x="294" y="654"/>
                  </a:lnTo>
                  <a:lnTo>
                    <a:pt x="317" y="651"/>
                  </a:lnTo>
                  <a:lnTo>
                    <a:pt x="359" y="674"/>
                  </a:lnTo>
                  <a:lnTo>
                    <a:pt x="385" y="669"/>
                  </a:lnTo>
                  <a:lnTo>
                    <a:pt x="385" y="625"/>
                  </a:lnTo>
                  <a:lnTo>
                    <a:pt x="395" y="669"/>
                  </a:lnTo>
                  <a:lnTo>
                    <a:pt x="429" y="724"/>
                  </a:lnTo>
                  <a:lnTo>
                    <a:pt x="502" y="729"/>
                  </a:lnTo>
                  <a:lnTo>
                    <a:pt x="505" y="714"/>
                  </a:lnTo>
                  <a:lnTo>
                    <a:pt x="523" y="739"/>
                  </a:lnTo>
                  <a:lnTo>
                    <a:pt x="567" y="747"/>
                  </a:lnTo>
                  <a:lnTo>
                    <a:pt x="601" y="747"/>
                  </a:lnTo>
                  <a:lnTo>
                    <a:pt x="603" y="750"/>
                  </a:lnTo>
                  <a:lnTo>
                    <a:pt x="616" y="699"/>
                  </a:lnTo>
                  <a:lnTo>
                    <a:pt x="646" y="699"/>
                  </a:lnTo>
                  <a:lnTo>
                    <a:pt x="661" y="675"/>
                  </a:lnTo>
                  <a:lnTo>
                    <a:pt x="680" y="675"/>
                  </a:lnTo>
                  <a:lnTo>
                    <a:pt x="682" y="637"/>
                  </a:lnTo>
                  <a:lnTo>
                    <a:pt x="693" y="624"/>
                  </a:lnTo>
                  <a:lnTo>
                    <a:pt x="672" y="596"/>
                  </a:lnTo>
                  <a:lnTo>
                    <a:pt x="659" y="611"/>
                  </a:lnTo>
                  <a:lnTo>
                    <a:pt x="627" y="585"/>
                  </a:lnTo>
                  <a:lnTo>
                    <a:pt x="560" y="574"/>
                  </a:lnTo>
                  <a:lnTo>
                    <a:pt x="549" y="536"/>
                  </a:lnTo>
                  <a:lnTo>
                    <a:pt x="530" y="486"/>
                  </a:lnTo>
                  <a:lnTo>
                    <a:pt x="528" y="467"/>
                  </a:lnTo>
                  <a:lnTo>
                    <a:pt x="560" y="441"/>
                  </a:lnTo>
                  <a:lnTo>
                    <a:pt x="590" y="441"/>
                  </a:lnTo>
                  <a:lnTo>
                    <a:pt x="634" y="420"/>
                  </a:lnTo>
                  <a:lnTo>
                    <a:pt x="625" y="387"/>
                  </a:lnTo>
                  <a:lnTo>
                    <a:pt x="637" y="374"/>
                  </a:lnTo>
                  <a:lnTo>
                    <a:pt x="633" y="299"/>
                  </a:lnTo>
                  <a:lnTo>
                    <a:pt x="614" y="273"/>
                  </a:lnTo>
                  <a:lnTo>
                    <a:pt x="614" y="241"/>
                  </a:lnTo>
                  <a:lnTo>
                    <a:pt x="644" y="232"/>
                  </a:lnTo>
                  <a:lnTo>
                    <a:pt x="612" y="222"/>
                  </a:lnTo>
                  <a:lnTo>
                    <a:pt x="610" y="196"/>
                  </a:lnTo>
                  <a:lnTo>
                    <a:pt x="625" y="185"/>
                  </a:lnTo>
                  <a:lnTo>
                    <a:pt x="646" y="164"/>
                  </a:lnTo>
                  <a:lnTo>
                    <a:pt x="622" y="149"/>
                  </a:lnTo>
                  <a:lnTo>
                    <a:pt x="625" y="121"/>
                  </a:lnTo>
                  <a:lnTo>
                    <a:pt x="592" y="119"/>
                  </a:lnTo>
                  <a:lnTo>
                    <a:pt x="607" y="49"/>
                  </a:lnTo>
                  <a:lnTo>
                    <a:pt x="565" y="24"/>
                  </a:lnTo>
                  <a:lnTo>
                    <a:pt x="492" y="26"/>
                  </a:lnTo>
                  <a:lnTo>
                    <a:pt x="492" y="78"/>
                  </a:lnTo>
                  <a:lnTo>
                    <a:pt x="471" y="78"/>
                  </a:lnTo>
                  <a:lnTo>
                    <a:pt x="466" y="55"/>
                  </a:lnTo>
                  <a:lnTo>
                    <a:pt x="435" y="60"/>
                  </a:lnTo>
                  <a:lnTo>
                    <a:pt x="429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29</a:t>
              </a:r>
            </a:p>
          </p:txBody>
        </p:sp>
        <p:sp>
          <p:nvSpPr>
            <p:cNvPr id="156" name="FR-35">
              <a:extLst>
                <a:ext uri="{FF2B5EF4-FFF2-40B4-BE49-F238E27FC236}">
                  <a16:creationId xmlns:a16="http://schemas.microsoft.com/office/drawing/2014/main" id="{D4E6902A-3149-48FF-9444-83F6FAF27E1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214473" y="1664569"/>
              <a:ext cx="624725" cy="750855"/>
            </a:xfrm>
            <a:custGeom>
              <a:avLst/>
              <a:gdLst>
                <a:gd name="T0" fmla="*/ 162 w 643"/>
                <a:gd name="T1" fmla="*/ 28 h 793"/>
                <a:gd name="T2" fmla="*/ 198 w 643"/>
                <a:gd name="T3" fmla="*/ 116 h 793"/>
                <a:gd name="T4" fmla="*/ 198 w 643"/>
                <a:gd name="T5" fmla="*/ 189 h 793"/>
                <a:gd name="T6" fmla="*/ 145 w 643"/>
                <a:gd name="T7" fmla="*/ 316 h 793"/>
                <a:gd name="T8" fmla="*/ 106 w 643"/>
                <a:gd name="T9" fmla="*/ 324 h 793"/>
                <a:gd name="T10" fmla="*/ 41 w 643"/>
                <a:gd name="T11" fmla="*/ 397 h 793"/>
                <a:gd name="T12" fmla="*/ 30 w 643"/>
                <a:gd name="T13" fmla="*/ 447 h 793"/>
                <a:gd name="T14" fmla="*/ 0 w 643"/>
                <a:gd name="T15" fmla="*/ 507 h 793"/>
                <a:gd name="T16" fmla="*/ 13 w 643"/>
                <a:gd name="T17" fmla="*/ 528 h 793"/>
                <a:gd name="T18" fmla="*/ 82 w 643"/>
                <a:gd name="T19" fmla="*/ 548 h 793"/>
                <a:gd name="T20" fmla="*/ 84 w 643"/>
                <a:gd name="T21" fmla="*/ 613 h 793"/>
                <a:gd name="T22" fmla="*/ 119 w 643"/>
                <a:gd name="T23" fmla="*/ 638 h 793"/>
                <a:gd name="T24" fmla="*/ 99 w 643"/>
                <a:gd name="T25" fmla="*/ 690 h 793"/>
                <a:gd name="T26" fmla="*/ 91 w 643"/>
                <a:gd name="T27" fmla="*/ 709 h 793"/>
                <a:gd name="T28" fmla="*/ 71 w 643"/>
                <a:gd name="T29" fmla="*/ 741 h 793"/>
                <a:gd name="T30" fmla="*/ 151 w 643"/>
                <a:gd name="T31" fmla="*/ 765 h 793"/>
                <a:gd name="T32" fmla="*/ 323 w 643"/>
                <a:gd name="T33" fmla="*/ 728 h 793"/>
                <a:gd name="T34" fmla="*/ 406 w 643"/>
                <a:gd name="T35" fmla="*/ 695 h 793"/>
                <a:gd name="T36" fmla="*/ 448 w 643"/>
                <a:gd name="T37" fmla="*/ 671 h 793"/>
                <a:gd name="T38" fmla="*/ 524 w 643"/>
                <a:gd name="T39" fmla="*/ 716 h 793"/>
                <a:gd name="T40" fmla="*/ 547 w 643"/>
                <a:gd name="T41" fmla="*/ 648 h 793"/>
                <a:gd name="T42" fmla="*/ 599 w 643"/>
                <a:gd name="T43" fmla="*/ 554 h 793"/>
                <a:gd name="T44" fmla="*/ 643 w 643"/>
                <a:gd name="T45" fmla="*/ 489 h 793"/>
                <a:gd name="T46" fmla="*/ 625 w 643"/>
                <a:gd name="T47" fmla="*/ 395 h 793"/>
                <a:gd name="T48" fmla="*/ 617 w 643"/>
                <a:gd name="T49" fmla="*/ 328 h 793"/>
                <a:gd name="T50" fmla="*/ 643 w 643"/>
                <a:gd name="T51" fmla="*/ 249 h 793"/>
                <a:gd name="T52" fmla="*/ 633 w 643"/>
                <a:gd name="T53" fmla="*/ 166 h 793"/>
                <a:gd name="T54" fmla="*/ 581 w 643"/>
                <a:gd name="T55" fmla="*/ 156 h 793"/>
                <a:gd name="T56" fmla="*/ 526 w 643"/>
                <a:gd name="T57" fmla="*/ 168 h 793"/>
                <a:gd name="T58" fmla="*/ 482 w 643"/>
                <a:gd name="T59" fmla="*/ 200 h 793"/>
                <a:gd name="T60" fmla="*/ 417 w 643"/>
                <a:gd name="T61" fmla="*/ 156 h 793"/>
                <a:gd name="T62" fmla="*/ 393 w 643"/>
                <a:gd name="T63" fmla="*/ 73 h 793"/>
                <a:gd name="T64" fmla="*/ 218 w 643"/>
                <a:gd name="T65" fmla="*/ 44 h 793"/>
                <a:gd name="T66" fmla="*/ 187 w 643"/>
                <a:gd name="T67" fmla="*/ 0 h 79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643"/>
                <a:gd name="T103" fmla="*/ 0 h 793"/>
                <a:gd name="T104" fmla="*/ 643 w 643"/>
                <a:gd name="T105" fmla="*/ 793 h 793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643" h="793">
                  <a:moveTo>
                    <a:pt x="187" y="0"/>
                  </a:moveTo>
                  <a:lnTo>
                    <a:pt x="162" y="28"/>
                  </a:lnTo>
                  <a:lnTo>
                    <a:pt x="177" y="107"/>
                  </a:lnTo>
                  <a:lnTo>
                    <a:pt x="198" y="116"/>
                  </a:lnTo>
                  <a:lnTo>
                    <a:pt x="211" y="141"/>
                  </a:lnTo>
                  <a:lnTo>
                    <a:pt x="198" y="189"/>
                  </a:lnTo>
                  <a:lnTo>
                    <a:pt x="185" y="307"/>
                  </a:lnTo>
                  <a:lnTo>
                    <a:pt x="145" y="316"/>
                  </a:lnTo>
                  <a:lnTo>
                    <a:pt x="125" y="296"/>
                  </a:lnTo>
                  <a:lnTo>
                    <a:pt x="106" y="324"/>
                  </a:lnTo>
                  <a:lnTo>
                    <a:pt x="69" y="337"/>
                  </a:lnTo>
                  <a:lnTo>
                    <a:pt x="41" y="397"/>
                  </a:lnTo>
                  <a:lnTo>
                    <a:pt x="24" y="419"/>
                  </a:lnTo>
                  <a:lnTo>
                    <a:pt x="30" y="447"/>
                  </a:lnTo>
                  <a:lnTo>
                    <a:pt x="20" y="490"/>
                  </a:lnTo>
                  <a:lnTo>
                    <a:pt x="0" y="507"/>
                  </a:lnTo>
                  <a:lnTo>
                    <a:pt x="0" y="524"/>
                  </a:lnTo>
                  <a:lnTo>
                    <a:pt x="13" y="528"/>
                  </a:lnTo>
                  <a:lnTo>
                    <a:pt x="50" y="528"/>
                  </a:lnTo>
                  <a:lnTo>
                    <a:pt x="82" y="548"/>
                  </a:lnTo>
                  <a:lnTo>
                    <a:pt x="104" y="587"/>
                  </a:lnTo>
                  <a:lnTo>
                    <a:pt x="84" y="613"/>
                  </a:lnTo>
                  <a:lnTo>
                    <a:pt x="91" y="638"/>
                  </a:lnTo>
                  <a:lnTo>
                    <a:pt x="119" y="638"/>
                  </a:lnTo>
                  <a:lnTo>
                    <a:pt x="121" y="664"/>
                  </a:lnTo>
                  <a:lnTo>
                    <a:pt x="99" y="690"/>
                  </a:lnTo>
                  <a:lnTo>
                    <a:pt x="76" y="701"/>
                  </a:lnTo>
                  <a:lnTo>
                    <a:pt x="91" y="709"/>
                  </a:lnTo>
                  <a:lnTo>
                    <a:pt x="95" y="722"/>
                  </a:lnTo>
                  <a:lnTo>
                    <a:pt x="71" y="741"/>
                  </a:lnTo>
                  <a:lnTo>
                    <a:pt x="99" y="793"/>
                  </a:lnTo>
                  <a:lnTo>
                    <a:pt x="151" y="765"/>
                  </a:lnTo>
                  <a:lnTo>
                    <a:pt x="312" y="757"/>
                  </a:lnTo>
                  <a:lnTo>
                    <a:pt x="323" y="728"/>
                  </a:lnTo>
                  <a:lnTo>
                    <a:pt x="349" y="703"/>
                  </a:lnTo>
                  <a:lnTo>
                    <a:pt x="406" y="695"/>
                  </a:lnTo>
                  <a:lnTo>
                    <a:pt x="409" y="666"/>
                  </a:lnTo>
                  <a:lnTo>
                    <a:pt x="448" y="671"/>
                  </a:lnTo>
                  <a:lnTo>
                    <a:pt x="471" y="703"/>
                  </a:lnTo>
                  <a:lnTo>
                    <a:pt x="524" y="716"/>
                  </a:lnTo>
                  <a:lnTo>
                    <a:pt x="534" y="695"/>
                  </a:lnTo>
                  <a:lnTo>
                    <a:pt x="547" y="648"/>
                  </a:lnTo>
                  <a:lnTo>
                    <a:pt x="581" y="564"/>
                  </a:lnTo>
                  <a:lnTo>
                    <a:pt x="599" y="554"/>
                  </a:lnTo>
                  <a:lnTo>
                    <a:pt x="643" y="559"/>
                  </a:lnTo>
                  <a:lnTo>
                    <a:pt x="643" y="489"/>
                  </a:lnTo>
                  <a:lnTo>
                    <a:pt x="625" y="471"/>
                  </a:lnTo>
                  <a:lnTo>
                    <a:pt x="625" y="395"/>
                  </a:lnTo>
                  <a:lnTo>
                    <a:pt x="617" y="369"/>
                  </a:lnTo>
                  <a:lnTo>
                    <a:pt x="617" y="328"/>
                  </a:lnTo>
                  <a:lnTo>
                    <a:pt x="643" y="301"/>
                  </a:lnTo>
                  <a:lnTo>
                    <a:pt x="643" y="249"/>
                  </a:lnTo>
                  <a:lnTo>
                    <a:pt x="630" y="239"/>
                  </a:lnTo>
                  <a:lnTo>
                    <a:pt x="633" y="166"/>
                  </a:lnTo>
                  <a:lnTo>
                    <a:pt x="612" y="156"/>
                  </a:lnTo>
                  <a:lnTo>
                    <a:pt x="581" y="156"/>
                  </a:lnTo>
                  <a:lnTo>
                    <a:pt x="555" y="135"/>
                  </a:lnTo>
                  <a:lnTo>
                    <a:pt x="526" y="168"/>
                  </a:lnTo>
                  <a:lnTo>
                    <a:pt x="503" y="171"/>
                  </a:lnTo>
                  <a:lnTo>
                    <a:pt x="482" y="200"/>
                  </a:lnTo>
                  <a:lnTo>
                    <a:pt x="461" y="195"/>
                  </a:lnTo>
                  <a:lnTo>
                    <a:pt x="417" y="156"/>
                  </a:lnTo>
                  <a:lnTo>
                    <a:pt x="401" y="106"/>
                  </a:lnTo>
                  <a:lnTo>
                    <a:pt x="393" y="73"/>
                  </a:lnTo>
                  <a:lnTo>
                    <a:pt x="265" y="73"/>
                  </a:lnTo>
                  <a:lnTo>
                    <a:pt x="218" y="44"/>
                  </a:lnTo>
                  <a:lnTo>
                    <a:pt x="250" y="3"/>
                  </a:lnTo>
                  <a:lnTo>
                    <a:pt x="187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35</a:t>
              </a:r>
            </a:p>
          </p:txBody>
        </p:sp>
        <p:sp>
          <p:nvSpPr>
            <p:cNvPr id="157" name="FR-44">
              <a:extLst>
                <a:ext uri="{FF2B5EF4-FFF2-40B4-BE49-F238E27FC236}">
                  <a16:creationId xmlns:a16="http://schemas.microsoft.com/office/drawing/2014/main" id="{6711D573-79A1-4FB7-A041-3AAAA8B9361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44447" y="2295173"/>
              <a:ext cx="820012" cy="696884"/>
            </a:xfrm>
            <a:custGeom>
              <a:avLst/>
              <a:gdLst>
                <a:gd name="T0" fmla="*/ 581 w 844"/>
                <a:gd name="T1" fmla="*/ 29 h 736"/>
                <a:gd name="T2" fmla="*/ 498 w 844"/>
                <a:gd name="T3" fmla="*/ 62 h 736"/>
                <a:gd name="T4" fmla="*/ 326 w 844"/>
                <a:gd name="T5" fmla="*/ 99 h 736"/>
                <a:gd name="T6" fmla="*/ 256 w 844"/>
                <a:gd name="T7" fmla="*/ 208 h 736"/>
                <a:gd name="T8" fmla="*/ 133 w 844"/>
                <a:gd name="T9" fmla="*/ 263 h 736"/>
                <a:gd name="T10" fmla="*/ 76 w 844"/>
                <a:gd name="T11" fmla="*/ 245 h 736"/>
                <a:gd name="T12" fmla="*/ 42 w 844"/>
                <a:gd name="T13" fmla="*/ 270 h 736"/>
                <a:gd name="T14" fmla="*/ 5 w 844"/>
                <a:gd name="T15" fmla="*/ 324 h 736"/>
                <a:gd name="T16" fmla="*/ 26 w 844"/>
                <a:gd name="T17" fmla="*/ 355 h 736"/>
                <a:gd name="T18" fmla="*/ 29 w 844"/>
                <a:gd name="T19" fmla="*/ 407 h 736"/>
                <a:gd name="T20" fmla="*/ 83 w 844"/>
                <a:gd name="T21" fmla="*/ 397 h 736"/>
                <a:gd name="T22" fmla="*/ 159 w 844"/>
                <a:gd name="T23" fmla="*/ 433 h 736"/>
                <a:gd name="T24" fmla="*/ 237 w 844"/>
                <a:gd name="T25" fmla="*/ 397 h 736"/>
                <a:gd name="T26" fmla="*/ 193 w 844"/>
                <a:gd name="T27" fmla="*/ 446 h 736"/>
                <a:gd name="T28" fmla="*/ 175 w 844"/>
                <a:gd name="T29" fmla="*/ 498 h 736"/>
                <a:gd name="T30" fmla="*/ 149 w 844"/>
                <a:gd name="T31" fmla="*/ 537 h 736"/>
                <a:gd name="T32" fmla="*/ 274 w 844"/>
                <a:gd name="T33" fmla="*/ 590 h 736"/>
                <a:gd name="T34" fmla="*/ 320 w 844"/>
                <a:gd name="T35" fmla="*/ 626 h 736"/>
                <a:gd name="T36" fmla="*/ 375 w 844"/>
                <a:gd name="T37" fmla="*/ 671 h 736"/>
                <a:gd name="T38" fmla="*/ 425 w 844"/>
                <a:gd name="T39" fmla="*/ 716 h 736"/>
                <a:gd name="T40" fmla="*/ 515 w 844"/>
                <a:gd name="T41" fmla="*/ 736 h 736"/>
                <a:gd name="T42" fmla="*/ 515 w 844"/>
                <a:gd name="T43" fmla="*/ 686 h 736"/>
                <a:gd name="T44" fmla="*/ 524 w 844"/>
                <a:gd name="T45" fmla="*/ 607 h 736"/>
                <a:gd name="T46" fmla="*/ 558 w 844"/>
                <a:gd name="T47" fmla="*/ 630 h 736"/>
                <a:gd name="T48" fmla="*/ 567 w 844"/>
                <a:gd name="T49" fmla="*/ 684 h 736"/>
                <a:gd name="T50" fmla="*/ 618 w 844"/>
                <a:gd name="T51" fmla="*/ 628 h 736"/>
                <a:gd name="T52" fmla="*/ 644 w 844"/>
                <a:gd name="T53" fmla="*/ 611 h 736"/>
                <a:gd name="T54" fmla="*/ 674 w 844"/>
                <a:gd name="T55" fmla="*/ 585 h 736"/>
                <a:gd name="T56" fmla="*/ 734 w 844"/>
                <a:gd name="T57" fmla="*/ 621 h 736"/>
                <a:gd name="T58" fmla="*/ 713 w 844"/>
                <a:gd name="T59" fmla="*/ 566 h 736"/>
                <a:gd name="T60" fmla="*/ 687 w 844"/>
                <a:gd name="T61" fmla="*/ 568 h 736"/>
                <a:gd name="T62" fmla="*/ 685 w 844"/>
                <a:gd name="T63" fmla="*/ 551 h 736"/>
                <a:gd name="T64" fmla="*/ 707 w 844"/>
                <a:gd name="T65" fmla="*/ 525 h 736"/>
                <a:gd name="T66" fmla="*/ 709 w 844"/>
                <a:gd name="T67" fmla="*/ 484 h 736"/>
                <a:gd name="T68" fmla="*/ 679 w 844"/>
                <a:gd name="T69" fmla="*/ 447 h 736"/>
                <a:gd name="T70" fmla="*/ 651 w 844"/>
                <a:gd name="T71" fmla="*/ 387 h 736"/>
                <a:gd name="T72" fmla="*/ 735 w 844"/>
                <a:gd name="T73" fmla="*/ 362 h 736"/>
                <a:gd name="T74" fmla="*/ 844 w 844"/>
                <a:gd name="T75" fmla="*/ 346 h 736"/>
                <a:gd name="T76" fmla="*/ 797 w 844"/>
                <a:gd name="T77" fmla="*/ 256 h 736"/>
                <a:gd name="T78" fmla="*/ 737 w 844"/>
                <a:gd name="T79" fmla="*/ 252 h 736"/>
                <a:gd name="T80" fmla="*/ 769 w 844"/>
                <a:gd name="T81" fmla="*/ 183 h 736"/>
                <a:gd name="T82" fmla="*/ 726 w 844"/>
                <a:gd name="T83" fmla="*/ 105 h 736"/>
                <a:gd name="T84" fmla="*/ 698 w 844"/>
                <a:gd name="T85" fmla="*/ 58 h 736"/>
                <a:gd name="T86" fmla="*/ 646 w 844"/>
                <a:gd name="T87" fmla="*/ 37 h 736"/>
                <a:gd name="T88" fmla="*/ 584 w 844"/>
                <a:gd name="T89" fmla="*/ 0 h 7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4"/>
                <a:gd name="T136" fmla="*/ 0 h 736"/>
                <a:gd name="T137" fmla="*/ 844 w 844"/>
                <a:gd name="T138" fmla="*/ 736 h 7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4" h="736">
                  <a:moveTo>
                    <a:pt x="584" y="0"/>
                  </a:moveTo>
                  <a:lnTo>
                    <a:pt x="581" y="29"/>
                  </a:lnTo>
                  <a:lnTo>
                    <a:pt x="524" y="37"/>
                  </a:lnTo>
                  <a:lnTo>
                    <a:pt x="498" y="62"/>
                  </a:lnTo>
                  <a:lnTo>
                    <a:pt x="487" y="91"/>
                  </a:lnTo>
                  <a:lnTo>
                    <a:pt x="326" y="99"/>
                  </a:lnTo>
                  <a:lnTo>
                    <a:pt x="258" y="135"/>
                  </a:lnTo>
                  <a:lnTo>
                    <a:pt x="256" y="208"/>
                  </a:lnTo>
                  <a:lnTo>
                    <a:pt x="183" y="237"/>
                  </a:lnTo>
                  <a:lnTo>
                    <a:pt x="133" y="263"/>
                  </a:lnTo>
                  <a:lnTo>
                    <a:pt x="92" y="263"/>
                  </a:lnTo>
                  <a:lnTo>
                    <a:pt x="76" y="245"/>
                  </a:lnTo>
                  <a:lnTo>
                    <a:pt x="53" y="268"/>
                  </a:lnTo>
                  <a:lnTo>
                    <a:pt x="42" y="270"/>
                  </a:lnTo>
                  <a:lnTo>
                    <a:pt x="55" y="280"/>
                  </a:lnTo>
                  <a:lnTo>
                    <a:pt x="5" y="324"/>
                  </a:lnTo>
                  <a:lnTo>
                    <a:pt x="16" y="334"/>
                  </a:lnTo>
                  <a:lnTo>
                    <a:pt x="26" y="355"/>
                  </a:lnTo>
                  <a:lnTo>
                    <a:pt x="0" y="392"/>
                  </a:lnTo>
                  <a:lnTo>
                    <a:pt x="29" y="407"/>
                  </a:lnTo>
                  <a:lnTo>
                    <a:pt x="78" y="417"/>
                  </a:lnTo>
                  <a:lnTo>
                    <a:pt x="83" y="397"/>
                  </a:lnTo>
                  <a:lnTo>
                    <a:pt x="112" y="433"/>
                  </a:lnTo>
                  <a:lnTo>
                    <a:pt x="159" y="433"/>
                  </a:lnTo>
                  <a:lnTo>
                    <a:pt x="193" y="397"/>
                  </a:lnTo>
                  <a:lnTo>
                    <a:pt x="237" y="397"/>
                  </a:lnTo>
                  <a:lnTo>
                    <a:pt x="190" y="420"/>
                  </a:lnTo>
                  <a:lnTo>
                    <a:pt x="193" y="446"/>
                  </a:lnTo>
                  <a:lnTo>
                    <a:pt x="203" y="470"/>
                  </a:lnTo>
                  <a:lnTo>
                    <a:pt x="175" y="498"/>
                  </a:lnTo>
                  <a:lnTo>
                    <a:pt x="143" y="498"/>
                  </a:lnTo>
                  <a:lnTo>
                    <a:pt x="149" y="537"/>
                  </a:lnTo>
                  <a:lnTo>
                    <a:pt x="206" y="527"/>
                  </a:lnTo>
                  <a:lnTo>
                    <a:pt x="274" y="590"/>
                  </a:lnTo>
                  <a:lnTo>
                    <a:pt x="270" y="594"/>
                  </a:lnTo>
                  <a:lnTo>
                    <a:pt x="320" y="626"/>
                  </a:lnTo>
                  <a:lnTo>
                    <a:pt x="330" y="652"/>
                  </a:lnTo>
                  <a:lnTo>
                    <a:pt x="375" y="671"/>
                  </a:lnTo>
                  <a:lnTo>
                    <a:pt x="410" y="675"/>
                  </a:lnTo>
                  <a:lnTo>
                    <a:pt x="425" y="716"/>
                  </a:lnTo>
                  <a:lnTo>
                    <a:pt x="479" y="729"/>
                  </a:lnTo>
                  <a:lnTo>
                    <a:pt x="515" y="736"/>
                  </a:lnTo>
                  <a:lnTo>
                    <a:pt x="535" y="714"/>
                  </a:lnTo>
                  <a:lnTo>
                    <a:pt x="515" y="686"/>
                  </a:lnTo>
                  <a:lnTo>
                    <a:pt x="507" y="626"/>
                  </a:lnTo>
                  <a:lnTo>
                    <a:pt x="524" y="607"/>
                  </a:lnTo>
                  <a:lnTo>
                    <a:pt x="547" y="607"/>
                  </a:lnTo>
                  <a:lnTo>
                    <a:pt x="558" y="630"/>
                  </a:lnTo>
                  <a:lnTo>
                    <a:pt x="552" y="673"/>
                  </a:lnTo>
                  <a:lnTo>
                    <a:pt x="567" y="684"/>
                  </a:lnTo>
                  <a:lnTo>
                    <a:pt x="605" y="671"/>
                  </a:lnTo>
                  <a:lnTo>
                    <a:pt x="618" y="628"/>
                  </a:lnTo>
                  <a:lnTo>
                    <a:pt x="601" y="611"/>
                  </a:lnTo>
                  <a:lnTo>
                    <a:pt x="644" y="611"/>
                  </a:lnTo>
                  <a:lnTo>
                    <a:pt x="659" y="583"/>
                  </a:lnTo>
                  <a:lnTo>
                    <a:pt x="674" y="585"/>
                  </a:lnTo>
                  <a:lnTo>
                    <a:pt x="709" y="617"/>
                  </a:lnTo>
                  <a:lnTo>
                    <a:pt x="734" y="621"/>
                  </a:lnTo>
                  <a:lnTo>
                    <a:pt x="735" y="594"/>
                  </a:lnTo>
                  <a:lnTo>
                    <a:pt x="713" y="566"/>
                  </a:lnTo>
                  <a:lnTo>
                    <a:pt x="694" y="566"/>
                  </a:lnTo>
                  <a:lnTo>
                    <a:pt x="687" y="568"/>
                  </a:lnTo>
                  <a:lnTo>
                    <a:pt x="674" y="562"/>
                  </a:lnTo>
                  <a:lnTo>
                    <a:pt x="685" y="551"/>
                  </a:lnTo>
                  <a:lnTo>
                    <a:pt x="685" y="531"/>
                  </a:lnTo>
                  <a:lnTo>
                    <a:pt x="707" y="525"/>
                  </a:lnTo>
                  <a:lnTo>
                    <a:pt x="720" y="495"/>
                  </a:lnTo>
                  <a:lnTo>
                    <a:pt x="709" y="484"/>
                  </a:lnTo>
                  <a:lnTo>
                    <a:pt x="707" y="447"/>
                  </a:lnTo>
                  <a:lnTo>
                    <a:pt x="679" y="447"/>
                  </a:lnTo>
                  <a:lnTo>
                    <a:pt x="651" y="413"/>
                  </a:lnTo>
                  <a:lnTo>
                    <a:pt x="651" y="387"/>
                  </a:lnTo>
                  <a:lnTo>
                    <a:pt x="681" y="372"/>
                  </a:lnTo>
                  <a:lnTo>
                    <a:pt x="735" y="362"/>
                  </a:lnTo>
                  <a:lnTo>
                    <a:pt x="818" y="364"/>
                  </a:lnTo>
                  <a:lnTo>
                    <a:pt x="844" y="346"/>
                  </a:lnTo>
                  <a:lnTo>
                    <a:pt x="835" y="292"/>
                  </a:lnTo>
                  <a:lnTo>
                    <a:pt x="797" y="256"/>
                  </a:lnTo>
                  <a:lnTo>
                    <a:pt x="750" y="262"/>
                  </a:lnTo>
                  <a:lnTo>
                    <a:pt x="737" y="252"/>
                  </a:lnTo>
                  <a:lnTo>
                    <a:pt x="735" y="213"/>
                  </a:lnTo>
                  <a:lnTo>
                    <a:pt x="769" y="183"/>
                  </a:lnTo>
                  <a:lnTo>
                    <a:pt x="743" y="151"/>
                  </a:lnTo>
                  <a:lnTo>
                    <a:pt x="726" y="105"/>
                  </a:lnTo>
                  <a:lnTo>
                    <a:pt x="698" y="88"/>
                  </a:lnTo>
                  <a:lnTo>
                    <a:pt x="698" y="58"/>
                  </a:lnTo>
                  <a:lnTo>
                    <a:pt x="695" y="49"/>
                  </a:lnTo>
                  <a:lnTo>
                    <a:pt x="646" y="37"/>
                  </a:lnTo>
                  <a:lnTo>
                    <a:pt x="623" y="5"/>
                  </a:lnTo>
                  <a:lnTo>
                    <a:pt x="584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44</a:t>
              </a:r>
            </a:p>
          </p:txBody>
        </p:sp>
        <p:sp>
          <p:nvSpPr>
            <p:cNvPr id="158" name="FR-49">
              <a:extLst>
                <a:ext uri="{FF2B5EF4-FFF2-40B4-BE49-F238E27FC236}">
                  <a16:creationId xmlns:a16="http://schemas.microsoft.com/office/drawing/2014/main" id="{2D057BE6-563F-4F64-90C6-E135CA0A556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676945" y="2331154"/>
              <a:ext cx="769490" cy="593677"/>
            </a:xfrm>
            <a:custGeom>
              <a:avLst/>
              <a:gdLst>
                <a:gd name="T0" fmla="*/ 48 w 792"/>
                <a:gd name="T1" fmla="*/ 12 h 627"/>
                <a:gd name="T2" fmla="*/ 47 w 792"/>
                <a:gd name="T3" fmla="*/ 20 h 627"/>
                <a:gd name="T4" fmla="*/ 75 w 792"/>
                <a:gd name="T5" fmla="*/ 67 h 627"/>
                <a:gd name="T6" fmla="*/ 118 w 792"/>
                <a:gd name="T7" fmla="*/ 145 h 627"/>
                <a:gd name="T8" fmla="*/ 86 w 792"/>
                <a:gd name="T9" fmla="*/ 214 h 627"/>
                <a:gd name="T10" fmla="*/ 146 w 792"/>
                <a:gd name="T11" fmla="*/ 218 h 627"/>
                <a:gd name="T12" fmla="*/ 193 w 792"/>
                <a:gd name="T13" fmla="*/ 308 h 627"/>
                <a:gd name="T14" fmla="*/ 84 w 792"/>
                <a:gd name="T15" fmla="*/ 324 h 627"/>
                <a:gd name="T16" fmla="*/ 0 w 792"/>
                <a:gd name="T17" fmla="*/ 349 h 627"/>
                <a:gd name="T18" fmla="*/ 28 w 792"/>
                <a:gd name="T19" fmla="*/ 409 h 627"/>
                <a:gd name="T20" fmla="*/ 58 w 792"/>
                <a:gd name="T21" fmla="*/ 446 h 627"/>
                <a:gd name="T22" fmla="*/ 56 w 792"/>
                <a:gd name="T23" fmla="*/ 487 h 627"/>
                <a:gd name="T24" fmla="*/ 34 w 792"/>
                <a:gd name="T25" fmla="*/ 513 h 627"/>
                <a:gd name="T26" fmla="*/ 36 w 792"/>
                <a:gd name="T27" fmla="*/ 530 h 627"/>
                <a:gd name="T28" fmla="*/ 62 w 792"/>
                <a:gd name="T29" fmla="*/ 528 h 627"/>
                <a:gd name="T30" fmla="*/ 83 w 792"/>
                <a:gd name="T31" fmla="*/ 583 h 627"/>
                <a:gd name="T32" fmla="*/ 109 w 792"/>
                <a:gd name="T33" fmla="*/ 597 h 627"/>
                <a:gd name="T34" fmla="*/ 211 w 792"/>
                <a:gd name="T35" fmla="*/ 627 h 627"/>
                <a:gd name="T36" fmla="*/ 342 w 792"/>
                <a:gd name="T37" fmla="*/ 624 h 627"/>
                <a:gd name="T38" fmla="*/ 378 w 792"/>
                <a:gd name="T39" fmla="*/ 564 h 627"/>
                <a:gd name="T40" fmla="*/ 514 w 792"/>
                <a:gd name="T41" fmla="*/ 545 h 627"/>
                <a:gd name="T42" fmla="*/ 592 w 792"/>
                <a:gd name="T43" fmla="*/ 561 h 627"/>
                <a:gd name="T44" fmla="*/ 628 w 792"/>
                <a:gd name="T45" fmla="*/ 545 h 627"/>
                <a:gd name="T46" fmla="*/ 698 w 792"/>
                <a:gd name="T47" fmla="*/ 493 h 627"/>
                <a:gd name="T48" fmla="*/ 769 w 792"/>
                <a:gd name="T49" fmla="*/ 337 h 627"/>
                <a:gd name="T50" fmla="*/ 792 w 792"/>
                <a:gd name="T51" fmla="*/ 246 h 627"/>
                <a:gd name="T52" fmla="*/ 779 w 792"/>
                <a:gd name="T53" fmla="*/ 214 h 627"/>
                <a:gd name="T54" fmla="*/ 752 w 792"/>
                <a:gd name="T55" fmla="*/ 184 h 627"/>
                <a:gd name="T56" fmla="*/ 541 w 792"/>
                <a:gd name="T57" fmla="*/ 87 h 627"/>
                <a:gd name="T58" fmla="*/ 503 w 792"/>
                <a:gd name="T59" fmla="*/ 59 h 627"/>
                <a:gd name="T60" fmla="*/ 454 w 792"/>
                <a:gd name="T61" fmla="*/ 39 h 627"/>
                <a:gd name="T62" fmla="*/ 376 w 792"/>
                <a:gd name="T63" fmla="*/ 54 h 627"/>
                <a:gd name="T64" fmla="*/ 277 w 792"/>
                <a:gd name="T65" fmla="*/ 39 h 627"/>
                <a:gd name="T66" fmla="*/ 182 w 792"/>
                <a:gd name="T67" fmla="*/ 37 h 627"/>
                <a:gd name="T68" fmla="*/ 101 w 792"/>
                <a:gd name="T69" fmla="*/ 9 h 62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792"/>
                <a:gd name="T106" fmla="*/ 0 h 627"/>
                <a:gd name="T107" fmla="*/ 792 w 792"/>
                <a:gd name="T108" fmla="*/ 627 h 627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792" h="627">
                  <a:moveTo>
                    <a:pt x="54" y="0"/>
                  </a:moveTo>
                  <a:lnTo>
                    <a:pt x="48" y="12"/>
                  </a:lnTo>
                  <a:lnTo>
                    <a:pt x="44" y="11"/>
                  </a:lnTo>
                  <a:lnTo>
                    <a:pt x="47" y="20"/>
                  </a:lnTo>
                  <a:lnTo>
                    <a:pt x="47" y="50"/>
                  </a:lnTo>
                  <a:lnTo>
                    <a:pt x="75" y="67"/>
                  </a:lnTo>
                  <a:lnTo>
                    <a:pt x="92" y="113"/>
                  </a:lnTo>
                  <a:lnTo>
                    <a:pt x="118" y="145"/>
                  </a:lnTo>
                  <a:lnTo>
                    <a:pt x="84" y="175"/>
                  </a:lnTo>
                  <a:lnTo>
                    <a:pt x="86" y="214"/>
                  </a:lnTo>
                  <a:lnTo>
                    <a:pt x="99" y="224"/>
                  </a:lnTo>
                  <a:lnTo>
                    <a:pt x="146" y="218"/>
                  </a:lnTo>
                  <a:lnTo>
                    <a:pt x="184" y="254"/>
                  </a:lnTo>
                  <a:lnTo>
                    <a:pt x="193" y="308"/>
                  </a:lnTo>
                  <a:lnTo>
                    <a:pt x="167" y="326"/>
                  </a:lnTo>
                  <a:lnTo>
                    <a:pt x="84" y="324"/>
                  </a:lnTo>
                  <a:lnTo>
                    <a:pt x="30" y="334"/>
                  </a:lnTo>
                  <a:lnTo>
                    <a:pt x="0" y="349"/>
                  </a:lnTo>
                  <a:lnTo>
                    <a:pt x="0" y="375"/>
                  </a:lnTo>
                  <a:lnTo>
                    <a:pt x="28" y="409"/>
                  </a:lnTo>
                  <a:lnTo>
                    <a:pt x="56" y="409"/>
                  </a:lnTo>
                  <a:lnTo>
                    <a:pt x="58" y="446"/>
                  </a:lnTo>
                  <a:lnTo>
                    <a:pt x="69" y="457"/>
                  </a:lnTo>
                  <a:lnTo>
                    <a:pt x="56" y="487"/>
                  </a:lnTo>
                  <a:lnTo>
                    <a:pt x="34" y="493"/>
                  </a:lnTo>
                  <a:lnTo>
                    <a:pt x="34" y="513"/>
                  </a:lnTo>
                  <a:lnTo>
                    <a:pt x="23" y="524"/>
                  </a:lnTo>
                  <a:lnTo>
                    <a:pt x="36" y="530"/>
                  </a:lnTo>
                  <a:lnTo>
                    <a:pt x="43" y="528"/>
                  </a:lnTo>
                  <a:lnTo>
                    <a:pt x="62" y="528"/>
                  </a:lnTo>
                  <a:lnTo>
                    <a:pt x="84" y="556"/>
                  </a:lnTo>
                  <a:lnTo>
                    <a:pt x="83" y="583"/>
                  </a:lnTo>
                  <a:lnTo>
                    <a:pt x="88" y="584"/>
                  </a:lnTo>
                  <a:lnTo>
                    <a:pt x="109" y="597"/>
                  </a:lnTo>
                  <a:lnTo>
                    <a:pt x="176" y="597"/>
                  </a:lnTo>
                  <a:lnTo>
                    <a:pt x="211" y="627"/>
                  </a:lnTo>
                  <a:lnTo>
                    <a:pt x="261" y="605"/>
                  </a:lnTo>
                  <a:lnTo>
                    <a:pt x="342" y="624"/>
                  </a:lnTo>
                  <a:lnTo>
                    <a:pt x="378" y="600"/>
                  </a:lnTo>
                  <a:lnTo>
                    <a:pt x="378" y="564"/>
                  </a:lnTo>
                  <a:lnTo>
                    <a:pt x="449" y="558"/>
                  </a:lnTo>
                  <a:lnTo>
                    <a:pt x="514" y="545"/>
                  </a:lnTo>
                  <a:lnTo>
                    <a:pt x="584" y="543"/>
                  </a:lnTo>
                  <a:lnTo>
                    <a:pt x="592" y="561"/>
                  </a:lnTo>
                  <a:lnTo>
                    <a:pt x="610" y="577"/>
                  </a:lnTo>
                  <a:lnTo>
                    <a:pt x="628" y="545"/>
                  </a:lnTo>
                  <a:lnTo>
                    <a:pt x="678" y="493"/>
                  </a:lnTo>
                  <a:lnTo>
                    <a:pt x="698" y="493"/>
                  </a:lnTo>
                  <a:lnTo>
                    <a:pt x="727" y="387"/>
                  </a:lnTo>
                  <a:lnTo>
                    <a:pt x="769" y="337"/>
                  </a:lnTo>
                  <a:lnTo>
                    <a:pt x="766" y="280"/>
                  </a:lnTo>
                  <a:lnTo>
                    <a:pt x="792" y="246"/>
                  </a:lnTo>
                  <a:lnTo>
                    <a:pt x="792" y="230"/>
                  </a:lnTo>
                  <a:lnTo>
                    <a:pt x="779" y="214"/>
                  </a:lnTo>
                  <a:lnTo>
                    <a:pt x="788" y="197"/>
                  </a:lnTo>
                  <a:lnTo>
                    <a:pt x="752" y="184"/>
                  </a:lnTo>
                  <a:lnTo>
                    <a:pt x="643" y="117"/>
                  </a:lnTo>
                  <a:lnTo>
                    <a:pt x="541" y="87"/>
                  </a:lnTo>
                  <a:lnTo>
                    <a:pt x="503" y="85"/>
                  </a:lnTo>
                  <a:lnTo>
                    <a:pt x="503" y="59"/>
                  </a:lnTo>
                  <a:lnTo>
                    <a:pt x="479" y="39"/>
                  </a:lnTo>
                  <a:lnTo>
                    <a:pt x="454" y="39"/>
                  </a:lnTo>
                  <a:lnTo>
                    <a:pt x="406" y="24"/>
                  </a:lnTo>
                  <a:lnTo>
                    <a:pt x="376" y="54"/>
                  </a:lnTo>
                  <a:lnTo>
                    <a:pt x="307" y="57"/>
                  </a:lnTo>
                  <a:lnTo>
                    <a:pt x="277" y="39"/>
                  </a:lnTo>
                  <a:lnTo>
                    <a:pt x="200" y="16"/>
                  </a:lnTo>
                  <a:lnTo>
                    <a:pt x="182" y="37"/>
                  </a:lnTo>
                  <a:lnTo>
                    <a:pt x="139" y="9"/>
                  </a:lnTo>
                  <a:lnTo>
                    <a:pt x="101" y="9"/>
                  </a:lnTo>
                  <a:lnTo>
                    <a:pt x="54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49</a:t>
              </a:r>
            </a:p>
          </p:txBody>
        </p:sp>
        <p:sp>
          <p:nvSpPr>
            <p:cNvPr id="159" name="FR-72">
              <a:extLst>
                <a:ext uri="{FF2B5EF4-FFF2-40B4-BE49-F238E27FC236}">
                  <a16:creationId xmlns:a16="http://schemas.microsoft.com/office/drawing/2014/main" id="{815AB064-08C5-4163-B5C0-76FCF1B68E5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142331" y="1866248"/>
              <a:ext cx="643185" cy="653329"/>
            </a:xfrm>
            <a:custGeom>
              <a:avLst/>
              <a:gdLst>
                <a:gd name="T0" fmla="*/ 381 w 662"/>
                <a:gd name="T1" fmla="*/ 0 h 690"/>
                <a:gd name="T2" fmla="*/ 311 w 662"/>
                <a:gd name="T3" fmla="*/ 3 h 690"/>
                <a:gd name="T4" fmla="*/ 240 w 662"/>
                <a:gd name="T5" fmla="*/ 68 h 690"/>
                <a:gd name="T6" fmla="*/ 204 w 662"/>
                <a:gd name="T7" fmla="*/ 65 h 690"/>
                <a:gd name="T8" fmla="*/ 155 w 662"/>
                <a:gd name="T9" fmla="*/ 81 h 690"/>
                <a:gd name="T10" fmla="*/ 140 w 662"/>
                <a:gd name="T11" fmla="*/ 107 h 690"/>
                <a:gd name="T12" fmla="*/ 133 w 662"/>
                <a:gd name="T13" fmla="*/ 163 h 690"/>
                <a:gd name="T14" fmla="*/ 138 w 662"/>
                <a:gd name="T15" fmla="*/ 197 h 690"/>
                <a:gd name="T16" fmla="*/ 99 w 662"/>
                <a:gd name="T17" fmla="*/ 230 h 690"/>
                <a:gd name="T18" fmla="*/ 88 w 662"/>
                <a:gd name="T19" fmla="*/ 251 h 690"/>
                <a:gd name="T20" fmla="*/ 97 w 662"/>
                <a:gd name="T21" fmla="*/ 270 h 690"/>
                <a:gd name="T22" fmla="*/ 86 w 662"/>
                <a:gd name="T23" fmla="*/ 296 h 690"/>
                <a:gd name="T24" fmla="*/ 90 w 662"/>
                <a:gd name="T25" fmla="*/ 307 h 690"/>
                <a:gd name="T26" fmla="*/ 47 w 662"/>
                <a:gd name="T27" fmla="*/ 311 h 690"/>
                <a:gd name="T28" fmla="*/ 41 w 662"/>
                <a:gd name="T29" fmla="*/ 330 h 690"/>
                <a:gd name="T30" fmla="*/ 60 w 662"/>
                <a:gd name="T31" fmla="*/ 378 h 690"/>
                <a:gd name="T32" fmla="*/ 58 w 662"/>
                <a:gd name="T33" fmla="*/ 391 h 690"/>
                <a:gd name="T34" fmla="*/ 41 w 662"/>
                <a:gd name="T35" fmla="*/ 406 h 690"/>
                <a:gd name="T36" fmla="*/ 5 w 662"/>
                <a:gd name="T37" fmla="*/ 408 h 690"/>
                <a:gd name="T38" fmla="*/ 0 w 662"/>
                <a:gd name="T39" fmla="*/ 421 h 690"/>
                <a:gd name="T40" fmla="*/ 9 w 662"/>
                <a:gd name="T41" fmla="*/ 434 h 690"/>
                <a:gd name="T42" fmla="*/ 9 w 662"/>
                <a:gd name="T43" fmla="*/ 511 h 690"/>
                <a:gd name="T44" fmla="*/ 0 w 662"/>
                <a:gd name="T45" fmla="*/ 531 h 690"/>
                <a:gd name="T46" fmla="*/ 24 w 662"/>
                <a:gd name="T47" fmla="*/ 550 h 690"/>
                <a:gd name="T48" fmla="*/ 24 w 662"/>
                <a:gd name="T49" fmla="*/ 576 h 690"/>
                <a:gd name="T50" fmla="*/ 62 w 662"/>
                <a:gd name="T51" fmla="*/ 578 h 690"/>
                <a:gd name="T52" fmla="*/ 164 w 662"/>
                <a:gd name="T53" fmla="*/ 608 h 690"/>
                <a:gd name="T54" fmla="*/ 273 w 662"/>
                <a:gd name="T55" fmla="*/ 675 h 690"/>
                <a:gd name="T56" fmla="*/ 309 w 662"/>
                <a:gd name="T57" fmla="*/ 688 h 690"/>
                <a:gd name="T58" fmla="*/ 326 w 662"/>
                <a:gd name="T59" fmla="*/ 653 h 690"/>
                <a:gd name="T60" fmla="*/ 378 w 662"/>
                <a:gd name="T61" fmla="*/ 690 h 690"/>
                <a:gd name="T62" fmla="*/ 407 w 662"/>
                <a:gd name="T63" fmla="*/ 690 h 690"/>
                <a:gd name="T64" fmla="*/ 391 w 662"/>
                <a:gd name="T65" fmla="*/ 638 h 690"/>
                <a:gd name="T66" fmla="*/ 423 w 662"/>
                <a:gd name="T67" fmla="*/ 659 h 690"/>
                <a:gd name="T68" fmla="*/ 441 w 662"/>
                <a:gd name="T69" fmla="*/ 633 h 690"/>
                <a:gd name="T70" fmla="*/ 516 w 662"/>
                <a:gd name="T71" fmla="*/ 612 h 690"/>
                <a:gd name="T72" fmla="*/ 503 w 662"/>
                <a:gd name="T73" fmla="*/ 580 h 690"/>
                <a:gd name="T74" fmla="*/ 522 w 662"/>
                <a:gd name="T75" fmla="*/ 557 h 690"/>
                <a:gd name="T76" fmla="*/ 561 w 662"/>
                <a:gd name="T77" fmla="*/ 542 h 690"/>
                <a:gd name="T78" fmla="*/ 597 w 662"/>
                <a:gd name="T79" fmla="*/ 495 h 690"/>
                <a:gd name="T80" fmla="*/ 597 w 662"/>
                <a:gd name="T81" fmla="*/ 445 h 690"/>
                <a:gd name="T82" fmla="*/ 623 w 662"/>
                <a:gd name="T83" fmla="*/ 445 h 690"/>
                <a:gd name="T84" fmla="*/ 634 w 662"/>
                <a:gd name="T85" fmla="*/ 409 h 690"/>
                <a:gd name="T86" fmla="*/ 636 w 662"/>
                <a:gd name="T87" fmla="*/ 354 h 690"/>
                <a:gd name="T88" fmla="*/ 610 w 662"/>
                <a:gd name="T89" fmla="*/ 330 h 690"/>
                <a:gd name="T90" fmla="*/ 631 w 662"/>
                <a:gd name="T91" fmla="*/ 294 h 690"/>
                <a:gd name="T92" fmla="*/ 662 w 662"/>
                <a:gd name="T93" fmla="*/ 255 h 690"/>
                <a:gd name="T94" fmla="*/ 626 w 662"/>
                <a:gd name="T95" fmla="*/ 229 h 690"/>
                <a:gd name="T96" fmla="*/ 592 w 662"/>
                <a:gd name="T97" fmla="*/ 224 h 690"/>
                <a:gd name="T98" fmla="*/ 555 w 662"/>
                <a:gd name="T99" fmla="*/ 169 h 690"/>
                <a:gd name="T100" fmla="*/ 545 w 662"/>
                <a:gd name="T101" fmla="*/ 169 h 690"/>
                <a:gd name="T102" fmla="*/ 542 w 662"/>
                <a:gd name="T103" fmla="*/ 195 h 690"/>
                <a:gd name="T104" fmla="*/ 540 w 662"/>
                <a:gd name="T105" fmla="*/ 177 h 690"/>
                <a:gd name="T106" fmla="*/ 485 w 662"/>
                <a:gd name="T107" fmla="*/ 177 h 690"/>
                <a:gd name="T108" fmla="*/ 459 w 662"/>
                <a:gd name="T109" fmla="*/ 138 h 690"/>
                <a:gd name="T110" fmla="*/ 415 w 662"/>
                <a:gd name="T111" fmla="*/ 122 h 690"/>
                <a:gd name="T112" fmla="*/ 402 w 662"/>
                <a:gd name="T113" fmla="*/ 28 h 690"/>
                <a:gd name="T114" fmla="*/ 381 w 662"/>
                <a:gd name="T115" fmla="*/ 0 h 69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62"/>
                <a:gd name="T175" fmla="*/ 0 h 690"/>
                <a:gd name="T176" fmla="*/ 662 w 662"/>
                <a:gd name="T177" fmla="*/ 690 h 69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62" h="690">
                  <a:moveTo>
                    <a:pt x="381" y="0"/>
                  </a:moveTo>
                  <a:lnTo>
                    <a:pt x="311" y="3"/>
                  </a:lnTo>
                  <a:lnTo>
                    <a:pt x="240" y="68"/>
                  </a:lnTo>
                  <a:lnTo>
                    <a:pt x="204" y="65"/>
                  </a:lnTo>
                  <a:lnTo>
                    <a:pt x="155" y="81"/>
                  </a:lnTo>
                  <a:lnTo>
                    <a:pt x="140" y="107"/>
                  </a:lnTo>
                  <a:lnTo>
                    <a:pt x="133" y="163"/>
                  </a:lnTo>
                  <a:lnTo>
                    <a:pt x="138" y="197"/>
                  </a:lnTo>
                  <a:lnTo>
                    <a:pt x="99" y="230"/>
                  </a:lnTo>
                  <a:lnTo>
                    <a:pt x="88" y="251"/>
                  </a:lnTo>
                  <a:lnTo>
                    <a:pt x="97" y="270"/>
                  </a:lnTo>
                  <a:lnTo>
                    <a:pt x="86" y="296"/>
                  </a:lnTo>
                  <a:lnTo>
                    <a:pt x="90" y="307"/>
                  </a:lnTo>
                  <a:lnTo>
                    <a:pt x="47" y="311"/>
                  </a:lnTo>
                  <a:lnTo>
                    <a:pt x="41" y="330"/>
                  </a:lnTo>
                  <a:lnTo>
                    <a:pt x="60" y="378"/>
                  </a:lnTo>
                  <a:lnTo>
                    <a:pt x="58" y="391"/>
                  </a:lnTo>
                  <a:lnTo>
                    <a:pt x="41" y="406"/>
                  </a:lnTo>
                  <a:lnTo>
                    <a:pt x="5" y="408"/>
                  </a:lnTo>
                  <a:lnTo>
                    <a:pt x="0" y="421"/>
                  </a:lnTo>
                  <a:lnTo>
                    <a:pt x="9" y="434"/>
                  </a:lnTo>
                  <a:lnTo>
                    <a:pt x="9" y="511"/>
                  </a:lnTo>
                  <a:lnTo>
                    <a:pt x="0" y="531"/>
                  </a:lnTo>
                  <a:lnTo>
                    <a:pt x="24" y="550"/>
                  </a:lnTo>
                  <a:lnTo>
                    <a:pt x="24" y="576"/>
                  </a:lnTo>
                  <a:lnTo>
                    <a:pt x="62" y="578"/>
                  </a:lnTo>
                  <a:lnTo>
                    <a:pt x="164" y="608"/>
                  </a:lnTo>
                  <a:lnTo>
                    <a:pt x="273" y="675"/>
                  </a:lnTo>
                  <a:lnTo>
                    <a:pt x="309" y="688"/>
                  </a:lnTo>
                  <a:lnTo>
                    <a:pt x="326" y="653"/>
                  </a:lnTo>
                  <a:lnTo>
                    <a:pt x="378" y="690"/>
                  </a:lnTo>
                  <a:lnTo>
                    <a:pt x="407" y="690"/>
                  </a:lnTo>
                  <a:lnTo>
                    <a:pt x="391" y="638"/>
                  </a:lnTo>
                  <a:lnTo>
                    <a:pt x="423" y="659"/>
                  </a:lnTo>
                  <a:lnTo>
                    <a:pt x="441" y="633"/>
                  </a:lnTo>
                  <a:lnTo>
                    <a:pt x="516" y="612"/>
                  </a:lnTo>
                  <a:lnTo>
                    <a:pt x="503" y="580"/>
                  </a:lnTo>
                  <a:lnTo>
                    <a:pt x="522" y="557"/>
                  </a:lnTo>
                  <a:lnTo>
                    <a:pt x="561" y="542"/>
                  </a:lnTo>
                  <a:lnTo>
                    <a:pt x="597" y="495"/>
                  </a:lnTo>
                  <a:lnTo>
                    <a:pt x="597" y="445"/>
                  </a:lnTo>
                  <a:lnTo>
                    <a:pt x="623" y="445"/>
                  </a:lnTo>
                  <a:lnTo>
                    <a:pt x="634" y="409"/>
                  </a:lnTo>
                  <a:lnTo>
                    <a:pt x="636" y="354"/>
                  </a:lnTo>
                  <a:lnTo>
                    <a:pt x="610" y="330"/>
                  </a:lnTo>
                  <a:lnTo>
                    <a:pt x="631" y="294"/>
                  </a:lnTo>
                  <a:lnTo>
                    <a:pt x="662" y="255"/>
                  </a:lnTo>
                  <a:lnTo>
                    <a:pt x="626" y="229"/>
                  </a:lnTo>
                  <a:lnTo>
                    <a:pt x="592" y="224"/>
                  </a:lnTo>
                  <a:lnTo>
                    <a:pt x="555" y="169"/>
                  </a:lnTo>
                  <a:lnTo>
                    <a:pt x="545" y="169"/>
                  </a:lnTo>
                  <a:lnTo>
                    <a:pt x="542" y="195"/>
                  </a:lnTo>
                  <a:lnTo>
                    <a:pt x="540" y="177"/>
                  </a:lnTo>
                  <a:lnTo>
                    <a:pt x="485" y="177"/>
                  </a:lnTo>
                  <a:lnTo>
                    <a:pt x="459" y="138"/>
                  </a:lnTo>
                  <a:lnTo>
                    <a:pt x="415" y="122"/>
                  </a:lnTo>
                  <a:lnTo>
                    <a:pt x="402" y="28"/>
                  </a:lnTo>
                  <a:lnTo>
                    <a:pt x="381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72</a:t>
              </a:r>
            </a:p>
          </p:txBody>
        </p:sp>
        <p:sp>
          <p:nvSpPr>
            <p:cNvPr id="160" name="FR-53">
              <a:extLst>
                <a:ext uri="{FF2B5EF4-FFF2-40B4-BE49-F238E27FC236}">
                  <a16:creationId xmlns:a16="http://schemas.microsoft.com/office/drawing/2014/main" id="{46B2D4A5-C466-47F0-B05D-E622428522A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729410" y="1797128"/>
              <a:ext cx="611123" cy="587996"/>
            </a:xfrm>
            <a:custGeom>
              <a:avLst/>
              <a:gdLst>
                <a:gd name="T0" fmla="*/ 540 w 629"/>
                <a:gd name="T1" fmla="*/ 0 h 621"/>
                <a:gd name="T2" fmla="*/ 515 w 629"/>
                <a:gd name="T3" fmla="*/ 3 h 621"/>
                <a:gd name="T4" fmla="*/ 504 w 629"/>
                <a:gd name="T5" fmla="*/ 28 h 621"/>
                <a:gd name="T6" fmla="*/ 465 w 629"/>
                <a:gd name="T7" fmla="*/ 44 h 621"/>
                <a:gd name="T8" fmla="*/ 395 w 629"/>
                <a:gd name="T9" fmla="*/ 34 h 621"/>
                <a:gd name="T10" fmla="*/ 324 w 629"/>
                <a:gd name="T11" fmla="*/ 76 h 621"/>
                <a:gd name="T12" fmla="*/ 298 w 629"/>
                <a:gd name="T13" fmla="*/ 57 h 621"/>
                <a:gd name="T14" fmla="*/ 259 w 629"/>
                <a:gd name="T15" fmla="*/ 83 h 621"/>
                <a:gd name="T16" fmla="*/ 230 w 629"/>
                <a:gd name="T17" fmla="*/ 63 h 621"/>
                <a:gd name="T18" fmla="*/ 212 w 629"/>
                <a:gd name="T19" fmla="*/ 31 h 621"/>
                <a:gd name="T20" fmla="*/ 173 w 629"/>
                <a:gd name="T21" fmla="*/ 16 h 621"/>
                <a:gd name="T22" fmla="*/ 147 w 629"/>
                <a:gd name="T23" fmla="*/ 36 h 621"/>
                <a:gd name="T24" fmla="*/ 103 w 629"/>
                <a:gd name="T25" fmla="*/ 31 h 621"/>
                <a:gd name="T26" fmla="*/ 100 w 629"/>
                <a:gd name="T27" fmla="*/ 99 h 621"/>
                <a:gd name="T28" fmla="*/ 113 w 629"/>
                <a:gd name="T29" fmla="*/ 109 h 621"/>
                <a:gd name="T30" fmla="*/ 113 w 629"/>
                <a:gd name="T31" fmla="*/ 161 h 621"/>
                <a:gd name="T32" fmla="*/ 87 w 629"/>
                <a:gd name="T33" fmla="*/ 188 h 621"/>
                <a:gd name="T34" fmla="*/ 87 w 629"/>
                <a:gd name="T35" fmla="*/ 229 h 621"/>
                <a:gd name="T36" fmla="*/ 95 w 629"/>
                <a:gd name="T37" fmla="*/ 255 h 621"/>
                <a:gd name="T38" fmla="*/ 95 w 629"/>
                <a:gd name="T39" fmla="*/ 331 h 621"/>
                <a:gd name="T40" fmla="*/ 113 w 629"/>
                <a:gd name="T41" fmla="*/ 349 h 621"/>
                <a:gd name="T42" fmla="*/ 113 w 629"/>
                <a:gd name="T43" fmla="*/ 419 h 621"/>
                <a:gd name="T44" fmla="*/ 69 w 629"/>
                <a:gd name="T45" fmla="*/ 414 h 621"/>
                <a:gd name="T46" fmla="*/ 51 w 629"/>
                <a:gd name="T47" fmla="*/ 424 h 621"/>
                <a:gd name="T48" fmla="*/ 17 w 629"/>
                <a:gd name="T49" fmla="*/ 508 h 621"/>
                <a:gd name="T50" fmla="*/ 4 w 629"/>
                <a:gd name="T51" fmla="*/ 555 h 621"/>
                <a:gd name="T52" fmla="*/ 0 w 629"/>
                <a:gd name="T53" fmla="*/ 564 h 621"/>
                <a:gd name="T54" fmla="*/ 47 w 629"/>
                <a:gd name="T55" fmla="*/ 573 h 621"/>
                <a:gd name="T56" fmla="*/ 85 w 629"/>
                <a:gd name="T57" fmla="*/ 573 h 621"/>
                <a:gd name="T58" fmla="*/ 128 w 629"/>
                <a:gd name="T59" fmla="*/ 601 h 621"/>
                <a:gd name="T60" fmla="*/ 146 w 629"/>
                <a:gd name="T61" fmla="*/ 580 h 621"/>
                <a:gd name="T62" fmla="*/ 223 w 629"/>
                <a:gd name="T63" fmla="*/ 603 h 621"/>
                <a:gd name="T64" fmla="*/ 253 w 629"/>
                <a:gd name="T65" fmla="*/ 621 h 621"/>
                <a:gd name="T66" fmla="*/ 322 w 629"/>
                <a:gd name="T67" fmla="*/ 618 h 621"/>
                <a:gd name="T68" fmla="*/ 352 w 629"/>
                <a:gd name="T69" fmla="*/ 588 h 621"/>
                <a:gd name="T70" fmla="*/ 400 w 629"/>
                <a:gd name="T71" fmla="*/ 603 h 621"/>
                <a:gd name="T72" fmla="*/ 425 w 629"/>
                <a:gd name="T73" fmla="*/ 603 h 621"/>
                <a:gd name="T74" fmla="*/ 425 w 629"/>
                <a:gd name="T75" fmla="*/ 604 h 621"/>
                <a:gd name="T76" fmla="*/ 434 w 629"/>
                <a:gd name="T77" fmla="*/ 584 h 621"/>
                <a:gd name="T78" fmla="*/ 434 w 629"/>
                <a:gd name="T79" fmla="*/ 507 h 621"/>
                <a:gd name="T80" fmla="*/ 425 w 629"/>
                <a:gd name="T81" fmla="*/ 494 h 621"/>
                <a:gd name="T82" fmla="*/ 430 w 629"/>
                <a:gd name="T83" fmla="*/ 481 h 621"/>
                <a:gd name="T84" fmla="*/ 466 w 629"/>
                <a:gd name="T85" fmla="*/ 479 h 621"/>
                <a:gd name="T86" fmla="*/ 483 w 629"/>
                <a:gd name="T87" fmla="*/ 464 h 621"/>
                <a:gd name="T88" fmla="*/ 485 w 629"/>
                <a:gd name="T89" fmla="*/ 451 h 621"/>
                <a:gd name="T90" fmla="*/ 466 w 629"/>
                <a:gd name="T91" fmla="*/ 403 h 621"/>
                <a:gd name="T92" fmla="*/ 472 w 629"/>
                <a:gd name="T93" fmla="*/ 384 h 621"/>
                <a:gd name="T94" fmla="*/ 515 w 629"/>
                <a:gd name="T95" fmla="*/ 380 h 621"/>
                <a:gd name="T96" fmla="*/ 511 w 629"/>
                <a:gd name="T97" fmla="*/ 369 h 621"/>
                <a:gd name="T98" fmla="*/ 522 w 629"/>
                <a:gd name="T99" fmla="*/ 343 h 621"/>
                <a:gd name="T100" fmla="*/ 513 w 629"/>
                <a:gd name="T101" fmla="*/ 324 h 621"/>
                <a:gd name="T102" fmla="*/ 524 w 629"/>
                <a:gd name="T103" fmla="*/ 303 h 621"/>
                <a:gd name="T104" fmla="*/ 563 w 629"/>
                <a:gd name="T105" fmla="*/ 270 h 621"/>
                <a:gd name="T106" fmla="*/ 558 w 629"/>
                <a:gd name="T107" fmla="*/ 236 h 621"/>
                <a:gd name="T108" fmla="*/ 565 w 629"/>
                <a:gd name="T109" fmla="*/ 180 h 621"/>
                <a:gd name="T110" fmla="*/ 580 w 629"/>
                <a:gd name="T111" fmla="*/ 154 h 621"/>
                <a:gd name="T112" fmla="*/ 629 w 629"/>
                <a:gd name="T113" fmla="*/ 138 h 621"/>
                <a:gd name="T114" fmla="*/ 621 w 629"/>
                <a:gd name="T115" fmla="*/ 138 h 621"/>
                <a:gd name="T116" fmla="*/ 608 w 629"/>
                <a:gd name="T117" fmla="*/ 91 h 621"/>
                <a:gd name="T118" fmla="*/ 574 w 629"/>
                <a:gd name="T119" fmla="*/ 78 h 621"/>
                <a:gd name="T120" fmla="*/ 564 w 629"/>
                <a:gd name="T121" fmla="*/ 21 h 621"/>
                <a:gd name="T122" fmla="*/ 540 w 629"/>
                <a:gd name="T123" fmla="*/ 0 h 621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29"/>
                <a:gd name="T187" fmla="*/ 0 h 621"/>
                <a:gd name="T188" fmla="*/ 629 w 629"/>
                <a:gd name="T189" fmla="*/ 621 h 621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29" h="621">
                  <a:moveTo>
                    <a:pt x="540" y="0"/>
                  </a:moveTo>
                  <a:lnTo>
                    <a:pt x="515" y="3"/>
                  </a:lnTo>
                  <a:lnTo>
                    <a:pt x="504" y="28"/>
                  </a:lnTo>
                  <a:lnTo>
                    <a:pt x="465" y="44"/>
                  </a:lnTo>
                  <a:lnTo>
                    <a:pt x="395" y="34"/>
                  </a:lnTo>
                  <a:lnTo>
                    <a:pt x="324" y="76"/>
                  </a:lnTo>
                  <a:lnTo>
                    <a:pt x="298" y="57"/>
                  </a:lnTo>
                  <a:lnTo>
                    <a:pt x="259" y="83"/>
                  </a:lnTo>
                  <a:lnTo>
                    <a:pt x="230" y="63"/>
                  </a:lnTo>
                  <a:lnTo>
                    <a:pt x="212" y="31"/>
                  </a:lnTo>
                  <a:lnTo>
                    <a:pt x="173" y="16"/>
                  </a:lnTo>
                  <a:lnTo>
                    <a:pt x="147" y="36"/>
                  </a:lnTo>
                  <a:lnTo>
                    <a:pt x="103" y="31"/>
                  </a:lnTo>
                  <a:lnTo>
                    <a:pt x="100" y="99"/>
                  </a:lnTo>
                  <a:lnTo>
                    <a:pt x="113" y="109"/>
                  </a:lnTo>
                  <a:lnTo>
                    <a:pt x="113" y="161"/>
                  </a:lnTo>
                  <a:lnTo>
                    <a:pt x="87" y="188"/>
                  </a:lnTo>
                  <a:lnTo>
                    <a:pt x="87" y="229"/>
                  </a:lnTo>
                  <a:lnTo>
                    <a:pt x="95" y="255"/>
                  </a:lnTo>
                  <a:lnTo>
                    <a:pt x="95" y="331"/>
                  </a:lnTo>
                  <a:lnTo>
                    <a:pt x="113" y="349"/>
                  </a:lnTo>
                  <a:lnTo>
                    <a:pt x="113" y="419"/>
                  </a:lnTo>
                  <a:lnTo>
                    <a:pt x="69" y="414"/>
                  </a:lnTo>
                  <a:lnTo>
                    <a:pt x="51" y="424"/>
                  </a:lnTo>
                  <a:lnTo>
                    <a:pt x="17" y="508"/>
                  </a:lnTo>
                  <a:lnTo>
                    <a:pt x="4" y="555"/>
                  </a:lnTo>
                  <a:lnTo>
                    <a:pt x="0" y="564"/>
                  </a:lnTo>
                  <a:lnTo>
                    <a:pt x="47" y="573"/>
                  </a:lnTo>
                  <a:lnTo>
                    <a:pt x="85" y="573"/>
                  </a:lnTo>
                  <a:lnTo>
                    <a:pt x="128" y="601"/>
                  </a:lnTo>
                  <a:lnTo>
                    <a:pt x="146" y="580"/>
                  </a:lnTo>
                  <a:lnTo>
                    <a:pt x="223" y="603"/>
                  </a:lnTo>
                  <a:lnTo>
                    <a:pt x="253" y="621"/>
                  </a:lnTo>
                  <a:lnTo>
                    <a:pt x="322" y="618"/>
                  </a:lnTo>
                  <a:lnTo>
                    <a:pt x="352" y="588"/>
                  </a:lnTo>
                  <a:lnTo>
                    <a:pt x="400" y="603"/>
                  </a:lnTo>
                  <a:lnTo>
                    <a:pt x="425" y="603"/>
                  </a:lnTo>
                  <a:lnTo>
                    <a:pt x="425" y="604"/>
                  </a:lnTo>
                  <a:lnTo>
                    <a:pt x="434" y="584"/>
                  </a:lnTo>
                  <a:lnTo>
                    <a:pt x="434" y="507"/>
                  </a:lnTo>
                  <a:lnTo>
                    <a:pt x="425" y="494"/>
                  </a:lnTo>
                  <a:lnTo>
                    <a:pt x="430" y="481"/>
                  </a:lnTo>
                  <a:lnTo>
                    <a:pt x="466" y="479"/>
                  </a:lnTo>
                  <a:lnTo>
                    <a:pt x="483" y="464"/>
                  </a:lnTo>
                  <a:lnTo>
                    <a:pt x="485" y="451"/>
                  </a:lnTo>
                  <a:lnTo>
                    <a:pt x="466" y="403"/>
                  </a:lnTo>
                  <a:lnTo>
                    <a:pt x="472" y="384"/>
                  </a:lnTo>
                  <a:lnTo>
                    <a:pt x="515" y="380"/>
                  </a:lnTo>
                  <a:lnTo>
                    <a:pt x="511" y="369"/>
                  </a:lnTo>
                  <a:lnTo>
                    <a:pt x="522" y="343"/>
                  </a:lnTo>
                  <a:lnTo>
                    <a:pt x="513" y="324"/>
                  </a:lnTo>
                  <a:lnTo>
                    <a:pt x="524" y="303"/>
                  </a:lnTo>
                  <a:lnTo>
                    <a:pt x="563" y="270"/>
                  </a:lnTo>
                  <a:lnTo>
                    <a:pt x="558" y="236"/>
                  </a:lnTo>
                  <a:lnTo>
                    <a:pt x="565" y="180"/>
                  </a:lnTo>
                  <a:lnTo>
                    <a:pt x="580" y="154"/>
                  </a:lnTo>
                  <a:lnTo>
                    <a:pt x="629" y="138"/>
                  </a:lnTo>
                  <a:lnTo>
                    <a:pt x="621" y="138"/>
                  </a:lnTo>
                  <a:lnTo>
                    <a:pt x="608" y="91"/>
                  </a:lnTo>
                  <a:lnTo>
                    <a:pt x="574" y="78"/>
                  </a:lnTo>
                  <a:lnTo>
                    <a:pt x="564" y="21"/>
                  </a:lnTo>
                  <a:lnTo>
                    <a:pt x="540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53</a:t>
              </a:r>
            </a:p>
          </p:txBody>
        </p:sp>
        <p:sp>
          <p:nvSpPr>
            <p:cNvPr id="161" name="FR-14">
              <a:extLst>
                <a:ext uri="{FF2B5EF4-FFF2-40B4-BE49-F238E27FC236}">
                  <a16:creationId xmlns:a16="http://schemas.microsoft.com/office/drawing/2014/main" id="{3A456FFF-46DD-4363-9299-81E10230B56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810051" y="1183567"/>
              <a:ext cx="768519" cy="475321"/>
            </a:xfrm>
            <a:custGeom>
              <a:avLst/>
              <a:gdLst>
                <a:gd name="T0" fmla="*/ 726 w 791"/>
                <a:gd name="T1" fmla="*/ 0 h 502"/>
                <a:gd name="T2" fmla="*/ 665 w 791"/>
                <a:gd name="T3" fmla="*/ 11 h 502"/>
                <a:gd name="T4" fmla="*/ 566 w 791"/>
                <a:gd name="T5" fmla="*/ 68 h 502"/>
                <a:gd name="T6" fmla="*/ 454 w 791"/>
                <a:gd name="T7" fmla="*/ 112 h 502"/>
                <a:gd name="T8" fmla="*/ 366 w 791"/>
                <a:gd name="T9" fmla="*/ 63 h 502"/>
                <a:gd name="T10" fmla="*/ 152 w 791"/>
                <a:gd name="T11" fmla="*/ 31 h 502"/>
                <a:gd name="T12" fmla="*/ 103 w 791"/>
                <a:gd name="T13" fmla="*/ 6 h 502"/>
                <a:gd name="T14" fmla="*/ 26 w 791"/>
                <a:gd name="T15" fmla="*/ 25 h 502"/>
                <a:gd name="T16" fmla="*/ 30 w 791"/>
                <a:gd name="T17" fmla="*/ 54 h 502"/>
                <a:gd name="T18" fmla="*/ 15 w 791"/>
                <a:gd name="T19" fmla="*/ 69 h 502"/>
                <a:gd name="T20" fmla="*/ 17 w 791"/>
                <a:gd name="T21" fmla="*/ 90 h 502"/>
                <a:gd name="T22" fmla="*/ 67 w 791"/>
                <a:gd name="T23" fmla="*/ 140 h 502"/>
                <a:gd name="T24" fmla="*/ 97 w 791"/>
                <a:gd name="T25" fmla="*/ 157 h 502"/>
                <a:gd name="T26" fmla="*/ 119 w 791"/>
                <a:gd name="T27" fmla="*/ 129 h 502"/>
                <a:gd name="T28" fmla="*/ 136 w 791"/>
                <a:gd name="T29" fmla="*/ 151 h 502"/>
                <a:gd name="T30" fmla="*/ 114 w 791"/>
                <a:gd name="T31" fmla="*/ 179 h 502"/>
                <a:gd name="T32" fmla="*/ 134 w 791"/>
                <a:gd name="T33" fmla="*/ 211 h 502"/>
                <a:gd name="T34" fmla="*/ 125 w 791"/>
                <a:gd name="T35" fmla="*/ 221 h 502"/>
                <a:gd name="T36" fmla="*/ 140 w 791"/>
                <a:gd name="T37" fmla="*/ 252 h 502"/>
                <a:gd name="T38" fmla="*/ 132 w 791"/>
                <a:gd name="T39" fmla="*/ 286 h 502"/>
                <a:gd name="T40" fmla="*/ 110 w 791"/>
                <a:gd name="T41" fmla="*/ 321 h 502"/>
                <a:gd name="T42" fmla="*/ 75 w 791"/>
                <a:gd name="T43" fmla="*/ 342 h 502"/>
                <a:gd name="T44" fmla="*/ 56 w 791"/>
                <a:gd name="T45" fmla="*/ 327 h 502"/>
                <a:gd name="T46" fmla="*/ 37 w 791"/>
                <a:gd name="T47" fmla="*/ 344 h 502"/>
                <a:gd name="T48" fmla="*/ 58 w 791"/>
                <a:gd name="T49" fmla="*/ 364 h 502"/>
                <a:gd name="T50" fmla="*/ 41 w 791"/>
                <a:gd name="T51" fmla="*/ 396 h 502"/>
                <a:gd name="T52" fmla="*/ 0 w 791"/>
                <a:gd name="T53" fmla="*/ 411 h 502"/>
                <a:gd name="T54" fmla="*/ 50 w 791"/>
                <a:gd name="T55" fmla="*/ 473 h 502"/>
                <a:gd name="T56" fmla="*/ 99 w 791"/>
                <a:gd name="T57" fmla="*/ 477 h 502"/>
                <a:gd name="T58" fmla="*/ 137 w 791"/>
                <a:gd name="T59" fmla="*/ 502 h 502"/>
                <a:gd name="T60" fmla="*/ 189 w 791"/>
                <a:gd name="T61" fmla="*/ 486 h 502"/>
                <a:gd name="T62" fmla="*/ 228 w 791"/>
                <a:gd name="T63" fmla="*/ 441 h 502"/>
                <a:gd name="T64" fmla="*/ 282 w 791"/>
                <a:gd name="T65" fmla="*/ 456 h 502"/>
                <a:gd name="T66" fmla="*/ 329 w 791"/>
                <a:gd name="T67" fmla="*/ 424 h 502"/>
                <a:gd name="T68" fmla="*/ 357 w 791"/>
                <a:gd name="T69" fmla="*/ 413 h 502"/>
                <a:gd name="T70" fmla="*/ 387 w 791"/>
                <a:gd name="T71" fmla="*/ 443 h 502"/>
                <a:gd name="T72" fmla="*/ 437 w 791"/>
                <a:gd name="T73" fmla="*/ 434 h 502"/>
                <a:gd name="T74" fmla="*/ 480 w 791"/>
                <a:gd name="T75" fmla="*/ 458 h 502"/>
                <a:gd name="T76" fmla="*/ 534 w 791"/>
                <a:gd name="T77" fmla="*/ 441 h 502"/>
                <a:gd name="T78" fmla="*/ 583 w 791"/>
                <a:gd name="T79" fmla="*/ 404 h 502"/>
                <a:gd name="T80" fmla="*/ 615 w 791"/>
                <a:gd name="T81" fmla="*/ 368 h 502"/>
                <a:gd name="T82" fmla="*/ 637 w 791"/>
                <a:gd name="T83" fmla="*/ 364 h 502"/>
                <a:gd name="T84" fmla="*/ 643 w 791"/>
                <a:gd name="T85" fmla="*/ 391 h 502"/>
                <a:gd name="T86" fmla="*/ 660 w 791"/>
                <a:gd name="T87" fmla="*/ 387 h 502"/>
                <a:gd name="T88" fmla="*/ 662 w 791"/>
                <a:gd name="T89" fmla="*/ 368 h 502"/>
                <a:gd name="T90" fmla="*/ 712 w 791"/>
                <a:gd name="T91" fmla="*/ 359 h 502"/>
                <a:gd name="T92" fmla="*/ 729 w 791"/>
                <a:gd name="T93" fmla="*/ 370 h 502"/>
                <a:gd name="T94" fmla="*/ 782 w 791"/>
                <a:gd name="T95" fmla="*/ 358 h 502"/>
                <a:gd name="T96" fmla="*/ 791 w 791"/>
                <a:gd name="T97" fmla="*/ 333 h 502"/>
                <a:gd name="T98" fmla="*/ 788 w 791"/>
                <a:gd name="T99" fmla="*/ 309 h 502"/>
                <a:gd name="T100" fmla="*/ 762 w 791"/>
                <a:gd name="T101" fmla="*/ 299 h 502"/>
                <a:gd name="T102" fmla="*/ 759 w 791"/>
                <a:gd name="T103" fmla="*/ 281 h 502"/>
                <a:gd name="T104" fmla="*/ 783 w 791"/>
                <a:gd name="T105" fmla="*/ 265 h 502"/>
                <a:gd name="T106" fmla="*/ 786 w 791"/>
                <a:gd name="T107" fmla="*/ 239 h 502"/>
                <a:gd name="T108" fmla="*/ 770 w 791"/>
                <a:gd name="T109" fmla="*/ 176 h 502"/>
                <a:gd name="T110" fmla="*/ 739 w 791"/>
                <a:gd name="T111" fmla="*/ 132 h 502"/>
                <a:gd name="T112" fmla="*/ 765 w 791"/>
                <a:gd name="T113" fmla="*/ 117 h 502"/>
                <a:gd name="T114" fmla="*/ 765 w 791"/>
                <a:gd name="T115" fmla="*/ 106 h 502"/>
                <a:gd name="T116" fmla="*/ 739 w 791"/>
                <a:gd name="T117" fmla="*/ 99 h 502"/>
                <a:gd name="T118" fmla="*/ 726 w 791"/>
                <a:gd name="T119" fmla="*/ 0 h 50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791"/>
                <a:gd name="T181" fmla="*/ 0 h 502"/>
                <a:gd name="T182" fmla="*/ 791 w 791"/>
                <a:gd name="T183" fmla="*/ 502 h 50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791" h="502">
                  <a:moveTo>
                    <a:pt x="726" y="0"/>
                  </a:moveTo>
                  <a:lnTo>
                    <a:pt x="665" y="11"/>
                  </a:lnTo>
                  <a:lnTo>
                    <a:pt x="566" y="68"/>
                  </a:lnTo>
                  <a:lnTo>
                    <a:pt x="454" y="112"/>
                  </a:lnTo>
                  <a:lnTo>
                    <a:pt x="366" y="63"/>
                  </a:lnTo>
                  <a:lnTo>
                    <a:pt x="152" y="31"/>
                  </a:lnTo>
                  <a:lnTo>
                    <a:pt x="103" y="6"/>
                  </a:lnTo>
                  <a:lnTo>
                    <a:pt x="26" y="25"/>
                  </a:lnTo>
                  <a:lnTo>
                    <a:pt x="30" y="54"/>
                  </a:lnTo>
                  <a:lnTo>
                    <a:pt x="15" y="69"/>
                  </a:lnTo>
                  <a:lnTo>
                    <a:pt x="17" y="90"/>
                  </a:lnTo>
                  <a:lnTo>
                    <a:pt x="67" y="140"/>
                  </a:lnTo>
                  <a:lnTo>
                    <a:pt x="97" y="157"/>
                  </a:lnTo>
                  <a:lnTo>
                    <a:pt x="119" y="129"/>
                  </a:lnTo>
                  <a:lnTo>
                    <a:pt x="136" y="151"/>
                  </a:lnTo>
                  <a:lnTo>
                    <a:pt x="114" y="179"/>
                  </a:lnTo>
                  <a:lnTo>
                    <a:pt x="134" y="211"/>
                  </a:lnTo>
                  <a:lnTo>
                    <a:pt x="125" y="221"/>
                  </a:lnTo>
                  <a:lnTo>
                    <a:pt x="140" y="252"/>
                  </a:lnTo>
                  <a:lnTo>
                    <a:pt x="132" y="286"/>
                  </a:lnTo>
                  <a:lnTo>
                    <a:pt x="110" y="321"/>
                  </a:lnTo>
                  <a:lnTo>
                    <a:pt x="75" y="342"/>
                  </a:lnTo>
                  <a:lnTo>
                    <a:pt x="56" y="327"/>
                  </a:lnTo>
                  <a:lnTo>
                    <a:pt x="37" y="344"/>
                  </a:lnTo>
                  <a:lnTo>
                    <a:pt x="58" y="364"/>
                  </a:lnTo>
                  <a:lnTo>
                    <a:pt x="41" y="396"/>
                  </a:lnTo>
                  <a:lnTo>
                    <a:pt x="0" y="411"/>
                  </a:lnTo>
                  <a:lnTo>
                    <a:pt x="50" y="473"/>
                  </a:lnTo>
                  <a:lnTo>
                    <a:pt x="99" y="477"/>
                  </a:lnTo>
                  <a:lnTo>
                    <a:pt x="137" y="502"/>
                  </a:lnTo>
                  <a:lnTo>
                    <a:pt x="189" y="486"/>
                  </a:lnTo>
                  <a:lnTo>
                    <a:pt x="228" y="441"/>
                  </a:lnTo>
                  <a:lnTo>
                    <a:pt x="282" y="456"/>
                  </a:lnTo>
                  <a:lnTo>
                    <a:pt x="329" y="424"/>
                  </a:lnTo>
                  <a:lnTo>
                    <a:pt x="357" y="413"/>
                  </a:lnTo>
                  <a:lnTo>
                    <a:pt x="387" y="443"/>
                  </a:lnTo>
                  <a:lnTo>
                    <a:pt x="437" y="434"/>
                  </a:lnTo>
                  <a:lnTo>
                    <a:pt x="480" y="458"/>
                  </a:lnTo>
                  <a:lnTo>
                    <a:pt x="534" y="441"/>
                  </a:lnTo>
                  <a:lnTo>
                    <a:pt x="583" y="404"/>
                  </a:lnTo>
                  <a:lnTo>
                    <a:pt x="615" y="368"/>
                  </a:lnTo>
                  <a:lnTo>
                    <a:pt x="637" y="364"/>
                  </a:lnTo>
                  <a:lnTo>
                    <a:pt x="643" y="391"/>
                  </a:lnTo>
                  <a:lnTo>
                    <a:pt x="660" y="387"/>
                  </a:lnTo>
                  <a:lnTo>
                    <a:pt x="662" y="368"/>
                  </a:lnTo>
                  <a:lnTo>
                    <a:pt x="712" y="359"/>
                  </a:lnTo>
                  <a:lnTo>
                    <a:pt x="729" y="370"/>
                  </a:lnTo>
                  <a:lnTo>
                    <a:pt x="782" y="358"/>
                  </a:lnTo>
                  <a:lnTo>
                    <a:pt x="791" y="333"/>
                  </a:lnTo>
                  <a:lnTo>
                    <a:pt x="788" y="309"/>
                  </a:lnTo>
                  <a:lnTo>
                    <a:pt x="762" y="299"/>
                  </a:lnTo>
                  <a:lnTo>
                    <a:pt x="759" y="281"/>
                  </a:lnTo>
                  <a:lnTo>
                    <a:pt x="783" y="265"/>
                  </a:lnTo>
                  <a:lnTo>
                    <a:pt x="786" y="239"/>
                  </a:lnTo>
                  <a:lnTo>
                    <a:pt x="770" y="176"/>
                  </a:lnTo>
                  <a:lnTo>
                    <a:pt x="739" y="132"/>
                  </a:lnTo>
                  <a:lnTo>
                    <a:pt x="765" y="117"/>
                  </a:lnTo>
                  <a:lnTo>
                    <a:pt x="765" y="106"/>
                  </a:lnTo>
                  <a:lnTo>
                    <a:pt x="739" y="99"/>
                  </a:lnTo>
                  <a:lnTo>
                    <a:pt x="726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14</a:t>
              </a:r>
            </a:p>
          </p:txBody>
        </p:sp>
        <p:sp>
          <p:nvSpPr>
            <p:cNvPr id="162" name="FR-61">
              <a:extLst>
                <a:ext uri="{FF2B5EF4-FFF2-40B4-BE49-F238E27FC236}">
                  <a16:creationId xmlns:a16="http://schemas.microsoft.com/office/drawing/2014/main" id="{6DE5DDAB-6B5A-4C98-992F-577833F22A4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936356" y="1522541"/>
              <a:ext cx="887051" cy="559590"/>
            </a:xfrm>
            <a:custGeom>
              <a:avLst/>
              <a:gdLst>
                <a:gd name="T0" fmla="*/ 599 w 913"/>
                <a:gd name="T1" fmla="*/ 12 h 591"/>
                <a:gd name="T2" fmla="*/ 532 w 913"/>
                <a:gd name="T3" fmla="*/ 10 h 591"/>
                <a:gd name="T4" fmla="*/ 513 w 913"/>
                <a:gd name="T5" fmla="*/ 33 h 591"/>
                <a:gd name="T6" fmla="*/ 485 w 913"/>
                <a:gd name="T7" fmla="*/ 10 h 591"/>
                <a:gd name="T8" fmla="*/ 404 w 913"/>
                <a:gd name="T9" fmla="*/ 83 h 591"/>
                <a:gd name="T10" fmla="*/ 307 w 913"/>
                <a:gd name="T11" fmla="*/ 76 h 591"/>
                <a:gd name="T12" fmla="*/ 227 w 913"/>
                <a:gd name="T13" fmla="*/ 55 h 591"/>
                <a:gd name="T14" fmla="*/ 152 w 913"/>
                <a:gd name="T15" fmla="*/ 98 h 591"/>
                <a:gd name="T16" fmla="*/ 59 w 913"/>
                <a:gd name="T17" fmla="*/ 128 h 591"/>
                <a:gd name="T18" fmla="*/ 36 w 913"/>
                <a:gd name="T19" fmla="*/ 163 h 591"/>
                <a:gd name="T20" fmla="*/ 55 w 913"/>
                <a:gd name="T21" fmla="*/ 214 h 591"/>
                <a:gd name="T22" fmla="*/ 44 w 913"/>
                <a:gd name="T23" fmla="*/ 285 h 591"/>
                <a:gd name="T24" fmla="*/ 17 w 913"/>
                <a:gd name="T25" fmla="*/ 353 h 591"/>
                <a:gd name="T26" fmla="*/ 85 w 913"/>
                <a:gd name="T27" fmla="*/ 347 h 591"/>
                <a:gd name="T28" fmla="*/ 182 w 913"/>
                <a:gd name="T29" fmla="*/ 324 h 591"/>
                <a:gd name="T30" fmla="*/ 291 w 913"/>
                <a:gd name="T31" fmla="*/ 318 h 591"/>
                <a:gd name="T32" fmla="*/ 327 w 913"/>
                <a:gd name="T33" fmla="*/ 290 h 591"/>
                <a:gd name="T34" fmla="*/ 361 w 913"/>
                <a:gd name="T35" fmla="*/ 368 h 591"/>
                <a:gd name="T36" fmla="*/ 408 w 913"/>
                <a:gd name="T37" fmla="*/ 428 h 591"/>
                <a:gd name="T38" fmla="*/ 523 w 913"/>
                <a:gd name="T39" fmla="*/ 366 h 591"/>
                <a:gd name="T40" fmla="*/ 614 w 913"/>
                <a:gd name="T41" fmla="*/ 391 h 591"/>
                <a:gd name="T42" fmla="*/ 671 w 913"/>
                <a:gd name="T43" fmla="*/ 501 h 591"/>
                <a:gd name="T44" fmla="*/ 752 w 913"/>
                <a:gd name="T45" fmla="*/ 540 h 591"/>
                <a:gd name="T46" fmla="*/ 757 w 913"/>
                <a:gd name="T47" fmla="*/ 532 h 591"/>
                <a:gd name="T48" fmla="*/ 804 w 913"/>
                <a:gd name="T49" fmla="*/ 587 h 591"/>
                <a:gd name="T50" fmla="*/ 832 w 913"/>
                <a:gd name="T51" fmla="*/ 530 h 591"/>
                <a:gd name="T52" fmla="*/ 809 w 913"/>
                <a:gd name="T53" fmla="*/ 485 h 591"/>
                <a:gd name="T54" fmla="*/ 887 w 913"/>
                <a:gd name="T55" fmla="*/ 454 h 591"/>
                <a:gd name="T56" fmla="*/ 908 w 913"/>
                <a:gd name="T57" fmla="*/ 326 h 591"/>
                <a:gd name="T58" fmla="*/ 851 w 913"/>
                <a:gd name="T59" fmla="*/ 235 h 591"/>
                <a:gd name="T60" fmla="*/ 822 w 913"/>
                <a:gd name="T61" fmla="*/ 178 h 591"/>
                <a:gd name="T62" fmla="*/ 775 w 913"/>
                <a:gd name="T63" fmla="*/ 126 h 591"/>
                <a:gd name="T64" fmla="*/ 734 w 913"/>
                <a:gd name="T65" fmla="*/ 63 h 591"/>
                <a:gd name="T66" fmla="*/ 640 w 913"/>
                <a:gd name="T67" fmla="*/ 35 h 591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913"/>
                <a:gd name="T103" fmla="*/ 0 h 591"/>
                <a:gd name="T104" fmla="*/ 913 w 913"/>
                <a:gd name="T105" fmla="*/ 591 h 591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913" h="591">
                  <a:moveTo>
                    <a:pt x="652" y="0"/>
                  </a:moveTo>
                  <a:lnTo>
                    <a:pt x="599" y="12"/>
                  </a:lnTo>
                  <a:lnTo>
                    <a:pt x="582" y="1"/>
                  </a:lnTo>
                  <a:lnTo>
                    <a:pt x="532" y="10"/>
                  </a:lnTo>
                  <a:lnTo>
                    <a:pt x="530" y="29"/>
                  </a:lnTo>
                  <a:lnTo>
                    <a:pt x="513" y="33"/>
                  </a:lnTo>
                  <a:lnTo>
                    <a:pt x="507" y="6"/>
                  </a:lnTo>
                  <a:lnTo>
                    <a:pt x="485" y="10"/>
                  </a:lnTo>
                  <a:lnTo>
                    <a:pt x="453" y="46"/>
                  </a:lnTo>
                  <a:lnTo>
                    <a:pt x="404" y="83"/>
                  </a:lnTo>
                  <a:lnTo>
                    <a:pt x="350" y="100"/>
                  </a:lnTo>
                  <a:lnTo>
                    <a:pt x="307" y="76"/>
                  </a:lnTo>
                  <a:lnTo>
                    <a:pt x="257" y="85"/>
                  </a:lnTo>
                  <a:lnTo>
                    <a:pt x="227" y="55"/>
                  </a:lnTo>
                  <a:lnTo>
                    <a:pt x="199" y="66"/>
                  </a:lnTo>
                  <a:lnTo>
                    <a:pt x="152" y="98"/>
                  </a:lnTo>
                  <a:lnTo>
                    <a:pt x="98" y="83"/>
                  </a:lnTo>
                  <a:lnTo>
                    <a:pt x="59" y="128"/>
                  </a:lnTo>
                  <a:lnTo>
                    <a:pt x="7" y="144"/>
                  </a:lnTo>
                  <a:lnTo>
                    <a:pt x="36" y="163"/>
                  </a:lnTo>
                  <a:lnTo>
                    <a:pt x="62" y="188"/>
                  </a:lnTo>
                  <a:lnTo>
                    <a:pt x="55" y="214"/>
                  </a:lnTo>
                  <a:lnTo>
                    <a:pt x="59" y="236"/>
                  </a:lnTo>
                  <a:lnTo>
                    <a:pt x="44" y="285"/>
                  </a:lnTo>
                  <a:lnTo>
                    <a:pt x="0" y="323"/>
                  </a:lnTo>
                  <a:lnTo>
                    <a:pt x="17" y="353"/>
                  </a:lnTo>
                  <a:lnTo>
                    <a:pt x="46" y="373"/>
                  </a:lnTo>
                  <a:lnTo>
                    <a:pt x="85" y="347"/>
                  </a:lnTo>
                  <a:lnTo>
                    <a:pt x="111" y="366"/>
                  </a:lnTo>
                  <a:lnTo>
                    <a:pt x="182" y="324"/>
                  </a:lnTo>
                  <a:lnTo>
                    <a:pt x="252" y="334"/>
                  </a:lnTo>
                  <a:lnTo>
                    <a:pt x="291" y="318"/>
                  </a:lnTo>
                  <a:lnTo>
                    <a:pt x="302" y="293"/>
                  </a:lnTo>
                  <a:lnTo>
                    <a:pt x="327" y="290"/>
                  </a:lnTo>
                  <a:lnTo>
                    <a:pt x="351" y="311"/>
                  </a:lnTo>
                  <a:lnTo>
                    <a:pt x="361" y="368"/>
                  </a:lnTo>
                  <a:lnTo>
                    <a:pt x="395" y="381"/>
                  </a:lnTo>
                  <a:lnTo>
                    <a:pt x="408" y="428"/>
                  </a:lnTo>
                  <a:lnTo>
                    <a:pt x="452" y="431"/>
                  </a:lnTo>
                  <a:lnTo>
                    <a:pt x="523" y="366"/>
                  </a:lnTo>
                  <a:lnTo>
                    <a:pt x="593" y="363"/>
                  </a:lnTo>
                  <a:lnTo>
                    <a:pt x="614" y="391"/>
                  </a:lnTo>
                  <a:lnTo>
                    <a:pt x="627" y="485"/>
                  </a:lnTo>
                  <a:lnTo>
                    <a:pt x="671" y="501"/>
                  </a:lnTo>
                  <a:lnTo>
                    <a:pt x="697" y="540"/>
                  </a:lnTo>
                  <a:lnTo>
                    <a:pt x="752" y="540"/>
                  </a:lnTo>
                  <a:lnTo>
                    <a:pt x="754" y="558"/>
                  </a:lnTo>
                  <a:lnTo>
                    <a:pt x="757" y="532"/>
                  </a:lnTo>
                  <a:lnTo>
                    <a:pt x="767" y="532"/>
                  </a:lnTo>
                  <a:lnTo>
                    <a:pt x="804" y="587"/>
                  </a:lnTo>
                  <a:lnTo>
                    <a:pt x="832" y="591"/>
                  </a:lnTo>
                  <a:lnTo>
                    <a:pt x="832" y="530"/>
                  </a:lnTo>
                  <a:lnTo>
                    <a:pt x="814" y="506"/>
                  </a:lnTo>
                  <a:lnTo>
                    <a:pt x="809" y="485"/>
                  </a:lnTo>
                  <a:lnTo>
                    <a:pt x="848" y="462"/>
                  </a:lnTo>
                  <a:lnTo>
                    <a:pt x="887" y="454"/>
                  </a:lnTo>
                  <a:lnTo>
                    <a:pt x="913" y="423"/>
                  </a:lnTo>
                  <a:lnTo>
                    <a:pt x="908" y="326"/>
                  </a:lnTo>
                  <a:lnTo>
                    <a:pt x="853" y="280"/>
                  </a:lnTo>
                  <a:lnTo>
                    <a:pt x="851" y="235"/>
                  </a:lnTo>
                  <a:lnTo>
                    <a:pt x="804" y="204"/>
                  </a:lnTo>
                  <a:lnTo>
                    <a:pt x="822" y="178"/>
                  </a:lnTo>
                  <a:lnTo>
                    <a:pt x="812" y="139"/>
                  </a:lnTo>
                  <a:lnTo>
                    <a:pt x="775" y="126"/>
                  </a:lnTo>
                  <a:lnTo>
                    <a:pt x="749" y="100"/>
                  </a:lnTo>
                  <a:lnTo>
                    <a:pt x="734" y="63"/>
                  </a:lnTo>
                  <a:lnTo>
                    <a:pt x="661" y="61"/>
                  </a:lnTo>
                  <a:lnTo>
                    <a:pt x="640" y="35"/>
                  </a:lnTo>
                  <a:lnTo>
                    <a:pt x="652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61</a:t>
              </a:r>
            </a:p>
          </p:txBody>
        </p:sp>
        <p:sp>
          <p:nvSpPr>
            <p:cNvPr id="163" name="FR-28">
              <a:extLst>
                <a:ext uri="{FF2B5EF4-FFF2-40B4-BE49-F238E27FC236}">
                  <a16:creationId xmlns:a16="http://schemas.microsoft.com/office/drawing/2014/main" id="{A6FEDE6E-5680-4F91-8AD9-E719F0CE9C0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722363" y="1540531"/>
              <a:ext cx="611123" cy="712034"/>
            </a:xfrm>
            <a:custGeom>
              <a:avLst/>
              <a:gdLst>
                <a:gd name="T0" fmla="*/ 365 w 629"/>
                <a:gd name="T1" fmla="*/ 13 h 752"/>
                <a:gd name="T2" fmla="*/ 313 w 629"/>
                <a:gd name="T3" fmla="*/ 81 h 752"/>
                <a:gd name="T4" fmla="*/ 297 w 629"/>
                <a:gd name="T5" fmla="*/ 138 h 752"/>
                <a:gd name="T6" fmla="*/ 201 w 629"/>
                <a:gd name="T7" fmla="*/ 125 h 752"/>
                <a:gd name="T8" fmla="*/ 70 w 629"/>
                <a:gd name="T9" fmla="*/ 174 h 752"/>
                <a:gd name="T10" fmla="*/ 42 w 629"/>
                <a:gd name="T11" fmla="*/ 216 h 752"/>
                <a:gd name="T12" fmla="*/ 99 w 629"/>
                <a:gd name="T13" fmla="*/ 307 h 752"/>
                <a:gd name="T14" fmla="*/ 78 w 629"/>
                <a:gd name="T15" fmla="*/ 435 h 752"/>
                <a:gd name="T16" fmla="*/ 0 w 629"/>
                <a:gd name="T17" fmla="*/ 466 h 752"/>
                <a:gd name="T18" fmla="*/ 23 w 629"/>
                <a:gd name="T19" fmla="*/ 511 h 752"/>
                <a:gd name="T20" fmla="*/ 29 w 629"/>
                <a:gd name="T21" fmla="*/ 573 h 752"/>
                <a:gd name="T22" fmla="*/ 52 w 629"/>
                <a:gd name="T23" fmla="*/ 616 h 752"/>
                <a:gd name="T24" fmla="*/ 119 w 629"/>
                <a:gd name="T25" fmla="*/ 621 h 752"/>
                <a:gd name="T26" fmla="*/ 141 w 629"/>
                <a:gd name="T27" fmla="*/ 632 h 752"/>
                <a:gd name="T28" fmla="*/ 134 w 629"/>
                <a:gd name="T29" fmla="*/ 657 h 752"/>
                <a:gd name="T30" fmla="*/ 184 w 629"/>
                <a:gd name="T31" fmla="*/ 687 h 752"/>
                <a:gd name="T32" fmla="*/ 223 w 629"/>
                <a:gd name="T33" fmla="*/ 737 h 752"/>
                <a:gd name="T34" fmla="*/ 317 w 629"/>
                <a:gd name="T35" fmla="*/ 748 h 752"/>
                <a:gd name="T36" fmla="*/ 377 w 629"/>
                <a:gd name="T37" fmla="*/ 726 h 752"/>
                <a:gd name="T38" fmla="*/ 383 w 629"/>
                <a:gd name="T39" fmla="*/ 694 h 752"/>
                <a:gd name="T40" fmla="*/ 422 w 629"/>
                <a:gd name="T41" fmla="*/ 698 h 752"/>
                <a:gd name="T42" fmla="*/ 437 w 629"/>
                <a:gd name="T43" fmla="*/ 666 h 752"/>
                <a:gd name="T44" fmla="*/ 476 w 629"/>
                <a:gd name="T45" fmla="*/ 660 h 752"/>
                <a:gd name="T46" fmla="*/ 523 w 629"/>
                <a:gd name="T47" fmla="*/ 662 h 752"/>
                <a:gd name="T48" fmla="*/ 577 w 629"/>
                <a:gd name="T49" fmla="*/ 638 h 752"/>
                <a:gd name="T50" fmla="*/ 610 w 629"/>
                <a:gd name="T51" fmla="*/ 586 h 752"/>
                <a:gd name="T52" fmla="*/ 629 w 629"/>
                <a:gd name="T53" fmla="*/ 517 h 752"/>
                <a:gd name="T54" fmla="*/ 625 w 629"/>
                <a:gd name="T55" fmla="*/ 497 h 752"/>
                <a:gd name="T56" fmla="*/ 612 w 629"/>
                <a:gd name="T57" fmla="*/ 427 h 752"/>
                <a:gd name="T58" fmla="*/ 602 w 629"/>
                <a:gd name="T59" fmla="*/ 386 h 752"/>
                <a:gd name="T60" fmla="*/ 523 w 629"/>
                <a:gd name="T61" fmla="*/ 347 h 752"/>
                <a:gd name="T62" fmla="*/ 485 w 629"/>
                <a:gd name="T63" fmla="*/ 284 h 752"/>
                <a:gd name="T64" fmla="*/ 443 w 629"/>
                <a:gd name="T65" fmla="*/ 229 h 752"/>
                <a:gd name="T66" fmla="*/ 443 w 629"/>
                <a:gd name="T67" fmla="*/ 154 h 752"/>
                <a:gd name="T68" fmla="*/ 425 w 629"/>
                <a:gd name="T69" fmla="*/ 107 h 752"/>
                <a:gd name="T70" fmla="*/ 414 w 629"/>
                <a:gd name="T71" fmla="*/ 57 h 752"/>
                <a:gd name="T72" fmla="*/ 380 w 629"/>
                <a:gd name="T73" fmla="*/ 0 h 75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29"/>
                <a:gd name="T112" fmla="*/ 0 h 752"/>
                <a:gd name="T113" fmla="*/ 629 w 629"/>
                <a:gd name="T114" fmla="*/ 752 h 75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29" h="752">
                  <a:moveTo>
                    <a:pt x="380" y="0"/>
                  </a:moveTo>
                  <a:lnTo>
                    <a:pt x="365" y="13"/>
                  </a:lnTo>
                  <a:lnTo>
                    <a:pt x="365" y="55"/>
                  </a:lnTo>
                  <a:lnTo>
                    <a:pt x="313" y="81"/>
                  </a:lnTo>
                  <a:lnTo>
                    <a:pt x="313" y="120"/>
                  </a:lnTo>
                  <a:lnTo>
                    <a:pt x="297" y="138"/>
                  </a:lnTo>
                  <a:lnTo>
                    <a:pt x="232" y="138"/>
                  </a:lnTo>
                  <a:lnTo>
                    <a:pt x="201" y="125"/>
                  </a:lnTo>
                  <a:lnTo>
                    <a:pt x="107" y="174"/>
                  </a:lnTo>
                  <a:lnTo>
                    <a:pt x="70" y="174"/>
                  </a:lnTo>
                  <a:lnTo>
                    <a:pt x="33" y="210"/>
                  </a:lnTo>
                  <a:lnTo>
                    <a:pt x="42" y="216"/>
                  </a:lnTo>
                  <a:lnTo>
                    <a:pt x="44" y="261"/>
                  </a:lnTo>
                  <a:lnTo>
                    <a:pt x="99" y="307"/>
                  </a:lnTo>
                  <a:lnTo>
                    <a:pt x="104" y="404"/>
                  </a:lnTo>
                  <a:lnTo>
                    <a:pt x="78" y="435"/>
                  </a:lnTo>
                  <a:lnTo>
                    <a:pt x="39" y="443"/>
                  </a:lnTo>
                  <a:lnTo>
                    <a:pt x="0" y="466"/>
                  </a:lnTo>
                  <a:lnTo>
                    <a:pt x="5" y="487"/>
                  </a:lnTo>
                  <a:lnTo>
                    <a:pt x="23" y="511"/>
                  </a:lnTo>
                  <a:lnTo>
                    <a:pt x="23" y="572"/>
                  </a:lnTo>
                  <a:lnTo>
                    <a:pt x="29" y="573"/>
                  </a:lnTo>
                  <a:lnTo>
                    <a:pt x="65" y="599"/>
                  </a:lnTo>
                  <a:lnTo>
                    <a:pt x="52" y="616"/>
                  </a:lnTo>
                  <a:lnTo>
                    <a:pt x="78" y="629"/>
                  </a:lnTo>
                  <a:lnTo>
                    <a:pt x="119" y="621"/>
                  </a:lnTo>
                  <a:lnTo>
                    <a:pt x="143" y="621"/>
                  </a:lnTo>
                  <a:lnTo>
                    <a:pt x="141" y="632"/>
                  </a:lnTo>
                  <a:lnTo>
                    <a:pt x="119" y="645"/>
                  </a:lnTo>
                  <a:lnTo>
                    <a:pt x="134" y="657"/>
                  </a:lnTo>
                  <a:lnTo>
                    <a:pt x="171" y="657"/>
                  </a:lnTo>
                  <a:lnTo>
                    <a:pt x="184" y="687"/>
                  </a:lnTo>
                  <a:lnTo>
                    <a:pt x="207" y="699"/>
                  </a:lnTo>
                  <a:lnTo>
                    <a:pt x="223" y="737"/>
                  </a:lnTo>
                  <a:lnTo>
                    <a:pt x="281" y="752"/>
                  </a:lnTo>
                  <a:lnTo>
                    <a:pt x="317" y="748"/>
                  </a:lnTo>
                  <a:lnTo>
                    <a:pt x="349" y="718"/>
                  </a:lnTo>
                  <a:lnTo>
                    <a:pt x="377" y="726"/>
                  </a:lnTo>
                  <a:lnTo>
                    <a:pt x="384" y="711"/>
                  </a:lnTo>
                  <a:lnTo>
                    <a:pt x="383" y="694"/>
                  </a:lnTo>
                  <a:lnTo>
                    <a:pt x="398" y="683"/>
                  </a:lnTo>
                  <a:lnTo>
                    <a:pt x="422" y="698"/>
                  </a:lnTo>
                  <a:lnTo>
                    <a:pt x="437" y="687"/>
                  </a:lnTo>
                  <a:lnTo>
                    <a:pt x="437" y="666"/>
                  </a:lnTo>
                  <a:lnTo>
                    <a:pt x="457" y="653"/>
                  </a:lnTo>
                  <a:lnTo>
                    <a:pt x="476" y="660"/>
                  </a:lnTo>
                  <a:lnTo>
                    <a:pt x="493" y="679"/>
                  </a:lnTo>
                  <a:lnTo>
                    <a:pt x="523" y="662"/>
                  </a:lnTo>
                  <a:lnTo>
                    <a:pt x="554" y="662"/>
                  </a:lnTo>
                  <a:lnTo>
                    <a:pt x="577" y="638"/>
                  </a:lnTo>
                  <a:lnTo>
                    <a:pt x="590" y="589"/>
                  </a:lnTo>
                  <a:lnTo>
                    <a:pt x="610" y="586"/>
                  </a:lnTo>
                  <a:lnTo>
                    <a:pt x="605" y="537"/>
                  </a:lnTo>
                  <a:lnTo>
                    <a:pt x="629" y="517"/>
                  </a:lnTo>
                  <a:lnTo>
                    <a:pt x="622" y="502"/>
                  </a:lnTo>
                  <a:lnTo>
                    <a:pt x="625" y="497"/>
                  </a:lnTo>
                  <a:lnTo>
                    <a:pt x="618" y="497"/>
                  </a:lnTo>
                  <a:lnTo>
                    <a:pt x="612" y="427"/>
                  </a:lnTo>
                  <a:lnTo>
                    <a:pt x="607" y="419"/>
                  </a:lnTo>
                  <a:lnTo>
                    <a:pt x="602" y="386"/>
                  </a:lnTo>
                  <a:lnTo>
                    <a:pt x="547" y="375"/>
                  </a:lnTo>
                  <a:lnTo>
                    <a:pt x="523" y="347"/>
                  </a:lnTo>
                  <a:lnTo>
                    <a:pt x="516" y="289"/>
                  </a:lnTo>
                  <a:lnTo>
                    <a:pt x="485" y="284"/>
                  </a:lnTo>
                  <a:lnTo>
                    <a:pt x="479" y="255"/>
                  </a:lnTo>
                  <a:lnTo>
                    <a:pt x="443" y="229"/>
                  </a:lnTo>
                  <a:lnTo>
                    <a:pt x="425" y="185"/>
                  </a:lnTo>
                  <a:lnTo>
                    <a:pt x="443" y="154"/>
                  </a:lnTo>
                  <a:lnTo>
                    <a:pt x="425" y="133"/>
                  </a:lnTo>
                  <a:lnTo>
                    <a:pt x="425" y="107"/>
                  </a:lnTo>
                  <a:lnTo>
                    <a:pt x="435" y="78"/>
                  </a:lnTo>
                  <a:lnTo>
                    <a:pt x="414" y="57"/>
                  </a:lnTo>
                  <a:lnTo>
                    <a:pt x="406" y="26"/>
                  </a:lnTo>
                  <a:lnTo>
                    <a:pt x="380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28</a:t>
              </a:r>
            </a:p>
          </p:txBody>
        </p:sp>
        <p:sp>
          <p:nvSpPr>
            <p:cNvPr id="164" name="FR-89">
              <a:extLst>
                <a:ext uri="{FF2B5EF4-FFF2-40B4-BE49-F238E27FC236}">
                  <a16:creationId xmlns:a16="http://schemas.microsoft.com/office/drawing/2014/main" id="{CE128D05-C74D-4505-8101-607F94BD9C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755151" y="1935369"/>
              <a:ext cx="739371" cy="770739"/>
            </a:xfrm>
            <a:custGeom>
              <a:avLst/>
              <a:gdLst>
                <a:gd name="T0" fmla="*/ 245 w 761"/>
                <a:gd name="T1" fmla="*/ 18 h 814"/>
                <a:gd name="T2" fmla="*/ 96 w 761"/>
                <a:gd name="T3" fmla="*/ 36 h 814"/>
                <a:gd name="T4" fmla="*/ 99 w 761"/>
                <a:gd name="T5" fmla="*/ 99 h 814"/>
                <a:gd name="T6" fmla="*/ 44 w 761"/>
                <a:gd name="T7" fmla="*/ 164 h 814"/>
                <a:gd name="T8" fmla="*/ 104 w 761"/>
                <a:gd name="T9" fmla="*/ 250 h 814"/>
                <a:gd name="T10" fmla="*/ 138 w 761"/>
                <a:gd name="T11" fmla="*/ 333 h 814"/>
                <a:gd name="T12" fmla="*/ 93 w 761"/>
                <a:gd name="T13" fmla="*/ 417 h 814"/>
                <a:gd name="T14" fmla="*/ 52 w 761"/>
                <a:gd name="T15" fmla="*/ 482 h 814"/>
                <a:gd name="T16" fmla="*/ 7 w 761"/>
                <a:gd name="T17" fmla="*/ 510 h 814"/>
                <a:gd name="T18" fmla="*/ 49 w 761"/>
                <a:gd name="T19" fmla="*/ 599 h 814"/>
                <a:gd name="T20" fmla="*/ 42 w 761"/>
                <a:gd name="T21" fmla="*/ 632 h 814"/>
                <a:gd name="T22" fmla="*/ 99 w 761"/>
                <a:gd name="T23" fmla="*/ 640 h 814"/>
                <a:gd name="T24" fmla="*/ 129 w 761"/>
                <a:gd name="T25" fmla="*/ 619 h 814"/>
                <a:gd name="T26" fmla="*/ 144 w 761"/>
                <a:gd name="T27" fmla="*/ 657 h 814"/>
                <a:gd name="T28" fmla="*/ 185 w 761"/>
                <a:gd name="T29" fmla="*/ 668 h 814"/>
                <a:gd name="T30" fmla="*/ 234 w 761"/>
                <a:gd name="T31" fmla="*/ 683 h 814"/>
                <a:gd name="T32" fmla="*/ 264 w 761"/>
                <a:gd name="T33" fmla="*/ 692 h 814"/>
                <a:gd name="T34" fmla="*/ 314 w 761"/>
                <a:gd name="T35" fmla="*/ 683 h 814"/>
                <a:gd name="T36" fmla="*/ 331 w 761"/>
                <a:gd name="T37" fmla="*/ 632 h 814"/>
                <a:gd name="T38" fmla="*/ 346 w 761"/>
                <a:gd name="T39" fmla="*/ 658 h 814"/>
                <a:gd name="T40" fmla="*/ 376 w 761"/>
                <a:gd name="T41" fmla="*/ 705 h 814"/>
                <a:gd name="T42" fmla="*/ 475 w 761"/>
                <a:gd name="T43" fmla="*/ 760 h 814"/>
                <a:gd name="T44" fmla="*/ 508 w 761"/>
                <a:gd name="T45" fmla="*/ 745 h 814"/>
                <a:gd name="T46" fmla="*/ 537 w 761"/>
                <a:gd name="T47" fmla="*/ 739 h 814"/>
                <a:gd name="T48" fmla="*/ 531 w 761"/>
                <a:gd name="T49" fmla="*/ 775 h 814"/>
                <a:gd name="T50" fmla="*/ 576 w 761"/>
                <a:gd name="T51" fmla="*/ 761 h 814"/>
                <a:gd name="T52" fmla="*/ 596 w 761"/>
                <a:gd name="T53" fmla="*/ 814 h 814"/>
                <a:gd name="T54" fmla="*/ 655 w 761"/>
                <a:gd name="T55" fmla="*/ 778 h 814"/>
                <a:gd name="T56" fmla="*/ 628 w 761"/>
                <a:gd name="T57" fmla="*/ 757 h 814"/>
                <a:gd name="T58" fmla="*/ 652 w 761"/>
                <a:gd name="T59" fmla="*/ 718 h 814"/>
                <a:gd name="T60" fmla="*/ 656 w 761"/>
                <a:gd name="T61" fmla="*/ 690 h 814"/>
                <a:gd name="T62" fmla="*/ 677 w 761"/>
                <a:gd name="T63" fmla="*/ 630 h 814"/>
                <a:gd name="T64" fmla="*/ 712 w 761"/>
                <a:gd name="T65" fmla="*/ 539 h 814"/>
                <a:gd name="T66" fmla="*/ 733 w 761"/>
                <a:gd name="T67" fmla="*/ 526 h 814"/>
                <a:gd name="T68" fmla="*/ 723 w 761"/>
                <a:gd name="T69" fmla="*/ 496 h 814"/>
                <a:gd name="T70" fmla="*/ 761 w 761"/>
                <a:gd name="T71" fmla="*/ 436 h 814"/>
                <a:gd name="T72" fmla="*/ 727 w 761"/>
                <a:gd name="T73" fmla="*/ 414 h 814"/>
                <a:gd name="T74" fmla="*/ 722 w 761"/>
                <a:gd name="T75" fmla="*/ 376 h 814"/>
                <a:gd name="T76" fmla="*/ 746 w 761"/>
                <a:gd name="T77" fmla="*/ 339 h 814"/>
                <a:gd name="T78" fmla="*/ 729 w 761"/>
                <a:gd name="T79" fmla="*/ 349 h 814"/>
                <a:gd name="T80" fmla="*/ 695 w 761"/>
                <a:gd name="T81" fmla="*/ 317 h 814"/>
                <a:gd name="T82" fmla="*/ 539 w 761"/>
                <a:gd name="T83" fmla="*/ 338 h 814"/>
                <a:gd name="T84" fmla="*/ 497 w 761"/>
                <a:gd name="T85" fmla="*/ 271 h 814"/>
                <a:gd name="T86" fmla="*/ 450 w 761"/>
                <a:gd name="T87" fmla="*/ 174 h 814"/>
                <a:gd name="T88" fmla="*/ 377 w 761"/>
                <a:gd name="T89" fmla="*/ 156 h 814"/>
                <a:gd name="T90" fmla="*/ 317 w 761"/>
                <a:gd name="T91" fmla="*/ 15 h 814"/>
                <a:gd name="T92" fmla="*/ 268 w 761"/>
                <a:gd name="T93" fmla="*/ 0 h 81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61"/>
                <a:gd name="T142" fmla="*/ 0 h 814"/>
                <a:gd name="T143" fmla="*/ 761 w 761"/>
                <a:gd name="T144" fmla="*/ 814 h 81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61" h="814">
                  <a:moveTo>
                    <a:pt x="268" y="0"/>
                  </a:moveTo>
                  <a:lnTo>
                    <a:pt x="245" y="18"/>
                  </a:lnTo>
                  <a:lnTo>
                    <a:pt x="143" y="13"/>
                  </a:lnTo>
                  <a:lnTo>
                    <a:pt x="96" y="36"/>
                  </a:lnTo>
                  <a:lnTo>
                    <a:pt x="78" y="75"/>
                  </a:lnTo>
                  <a:lnTo>
                    <a:pt x="99" y="99"/>
                  </a:lnTo>
                  <a:lnTo>
                    <a:pt x="67" y="135"/>
                  </a:lnTo>
                  <a:lnTo>
                    <a:pt x="44" y="164"/>
                  </a:lnTo>
                  <a:lnTo>
                    <a:pt x="91" y="208"/>
                  </a:lnTo>
                  <a:lnTo>
                    <a:pt x="104" y="250"/>
                  </a:lnTo>
                  <a:lnTo>
                    <a:pt x="138" y="286"/>
                  </a:lnTo>
                  <a:lnTo>
                    <a:pt x="138" y="333"/>
                  </a:lnTo>
                  <a:lnTo>
                    <a:pt x="70" y="390"/>
                  </a:lnTo>
                  <a:lnTo>
                    <a:pt x="93" y="417"/>
                  </a:lnTo>
                  <a:lnTo>
                    <a:pt x="88" y="455"/>
                  </a:lnTo>
                  <a:lnTo>
                    <a:pt x="52" y="482"/>
                  </a:lnTo>
                  <a:lnTo>
                    <a:pt x="0" y="482"/>
                  </a:lnTo>
                  <a:lnTo>
                    <a:pt x="7" y="510"/>
                  </a:lnTo>
                  <a:lnTo>
                    <a:pt x="41" y="557"/>
                  </a:lnTo>
                  <a:lnTo>
                    <a:pt x="49" y="599"/>
                  </a:lnTo>
                  <a:lnTo>
                    <a:pt x="57" y="627"/>
                  </a:lnTo>
                  <a:lnTo>
                    <a:pt x="42" y="632"/>
                  </a:lnTo>
                  <a:lnTo>
                    <a:pt x="75" y="640"/>
                  </a:lnTo>
                  <a:lnTo>
                    <a:pt x="99" y="640"/>
                  </a:lnTo>
                  <a:lnTo>
                    <a:pt x="112" y="619"/>
                  </a:lnTo>
                  <a:lnTo>
                    <a:pt x="129" y="619"/>
                  </a:lnTo>
                  <a:lnTo>
                    <a:pt x="147" y="636"/>
                  </a:lnTo>
                  <a:lnTo>
                    <a:pt x="144" y="657"/>
                  </a:lnTo>
                  <a:lnTo>
                    <a:pt x="161" y="668"/>
                  </a:lnTo>
                  <a:lnTo>
                    <a:pt x="185" y="668"/>
                  </a:lnTo>
                  <a:lnTo>
                    <a:pt x="219" y="690"/>
                  </a:lnTo>
                  <a:lnTo>
                    <a:pt x="234" y="683"/>
                  </a:lnTo>
                  <a:lnTo>
                    <a:pt x="249" y="696"/>
                  </a:lnTo>
                  <a:lnTo>
                    <a:pt x="264" y="692"/>
                  </a:lnTo>
                  <a:lnTo>
                    <a:pt x="290" y="675"/>
                  </a:lnTo>
                  <a:lnTo>
                    <a:pt x="314" y="683"/>
                  </a:lnTo>
                  <a:lnTo>
                    <a:pt x="331" y="679"/>
                  </a:lnTo>
                  <a:lnTo>
                    <a:pt x="331" y="632"/>
                  </a:lnTo>
                  <a:lnTo>
                    <a:pt x="340" y="634"/>
                  </a:lnTo>
                  <a:lnTo>
                    <a:pt x="346" y="658"/>
                  </a:lnTo>
                  <a:lnTo>
                    <a:pt x="376" y="677"/>
                  </a:lnTo>
                  <a:lnTo>
                    <a:pt x="376" y="705"/>
                  </a:lnTo>
                  <a:lnTo>
                    <a:pt x="419" y="707"/>
                  </a:lnTo>
                  <a:lnTo>
                    <a:pt x="475" y="760"/>
                  </a:lnTo>
                  <a:lnTo>
                    <a:pt x="510" y="761"/>
                  </a:lnTo>
                  <a:lnTo>
                    <a:pt x="508" y="745"/>
                  </a:lnTo>
                  <a:lnTo>
                    <a:pt x="523" y="722"/>
                  </a:lnTo>
                  <a:lnTo>
                    <a:pt x="537" y="739"/>
                  </a:lnTo>
                  <a:lnTo>
                    <a:pt x="525" y="757"/>
                  </a:lnTo>
                  <a:lnTo>
                    <a:pt x="531" y="775"/>
                  </a:lnTo>
                  <a:lnTo>
                    <a:pt x="551" y="761"/>
                  </a:lnTo>
                  <a:lnTo>
                    <a:pt x="576" y="761"/>
                  </a:lnTo>
                  <a:lnTo>
                    <a:pt x="574" y="799"/>
                  </a:lnTo>
                  <a:lnTo>
                    <a:pt x="596" y="814"/>
                  </a:lnTo>
                  <a:lnTo>
                    <a:pt x="613" y="806"/>
                  </a:lnTo>
                  <a:lnTo>
                    <a:pt x="655" y="778"/>
                  </a:lnTo>
                  <a:lnTo>
                    <a:pt x="652" y="772"/>
                  </a:lnTo>
                  <a:lnTo>
                    <a:pt x="628" y="757"/>
                  </a:lnTo>
                  <a:lnTo>
                    <a:pt x="626" y="731"/>
                  </a:lnTo>
                  <a:lnTo>
                    <a:pt x="652" y="718"/>
                  </a:lnTo>
                  <a:lnTo>
                    <a:pt x="664" y="703"/>
                  </a:lnTo>
                  <a:lnTo>
                    <a:pt x="656" y="690"/>
                  </a:lnTo>
                  <a:lnTo>
                    <a:pt x="656" y="660"/>
                  </a:lnTo>
                  <a:lnTo>
                    <a:pt x="677" y="630"/>
                  </a:lnTo>
                  <a:lnTo>
                    <a:pt x="707" y="567"/>
                  </a:lnTo>
                  <a:lnTo>
                    <a:pt x="712" y="539"/>
                  </a:lnTo>
                  <a:lnTo>
                    <a:pt x="731" y="531"/>
                  </a:lnTo>
                  <a:lnTo>
                    <a:pt x="733" y="526"/>
                  </a:lnTo>
                  <a:lnTo>
                    <a:pt x="723" y="518"/>
                  </a:lnTo>
                  <a:lnTo>
                    <a:pt x="723" y="496"/>
                  </a:lnTo>
                  <a:lnTo>
                    <a:pt x="753" y="473"/>
                  </a:lnTo>
                  <a:lnTo>
                    <a:pt x="761" y="436"/>
                  </a:lnTo>
                  <a:lnTo>
                    <a:pt x="748" y="414"/>
                  </a:lnTo>
                  <a:lnTo>
                    <a:pt x="727" y="414"/>
                  </a:lnTo>
                  <a:lnTo>
                    <a:pt x="722" y="408"/>
                  </a:lnTo>
                  <a:lnTo>
                    <a:pt x="722" y="376"/>
                  </a:lnTo>
                  <a:lnTo>
                    <a:pt x="748" y="357"/>
                  </a:lnTo>
                  <a:lnTo>
                    <a:pt x="746" y="339"/>
                  </a:lnTo>
                  <a:lnTo>
                    <a:pt x="742" y="320"/>
                  </a:lnTo>
                  <a:lnTo>
                    <a:pt x="729" y="349"/>
                  </a:lnTo>
                  <a:lnTo>
                    <a:pt x="710" y="346"/>
                  </a:lnTo>
                  <a:lnTo>
                    <a:pt x="695" y="317"/>
                  </a:lnTo>
                  <a:lnTo>
                    <a:pt x="643" y="344"/>
                  </a:lnTo>
                  <a:lnTo>
                    <a:pt x="539" y="338"/>
                  </a:lnTo>
                  <a:lnTo>
                    <a:pt x="526" y="310"/>
                  </a:lnTo>
                  <a:lnTo>
                    <a:pt x="497" y="271"/>
                  </a:lnTo>
                  <a:lnTo>
                    <a:pt x="492" y="224"/>
                  </a:lnTo>
                  <a:lnTo>
                    <a:pt x="450" y="174"/>
                  </a:lnTo>
                  <a:lnTo>
                    <a:pt x="424" y="192"/>
                  </a:lnTo>
                  <a:lnTo>
                    <a:pt x="377" y="156"/>
                  </a:lnTo>
                  <a:lnTo>
                    <a:pt x="385" y="86"/>
                  </a:lnTo>
                  <a:lnTo>
                    <a:pt x="317" y="15"/>
                  </a:lnTo>
                  <a:lnTo>
                    <a:pt x="286" y="15"/>
                  </a:lnTo>
                  <a:lnTo>
                    <a:pt x="268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89</a:t>
              </a:r>
            </a:p>
          </p:txBody>
        </p:sp>
        <p:sp>
          <p:nvSpPr>
            <p:cNvPr id="165" name="FR-70">
              <a:extLst>
                <a:ext uri="{FF2B5EF4-FFF2-40B4-BE49-F238E27FC236}">
                  <a16:creationId xmlns:a16="http://schemas.microsoft.com/office/drawing/2014/main" id="{C6E239C7-F172-431E-A88B-C70C3DE6145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017232" y="2164507"/>
              <a:ext cx="720911" cy="553909"/>
            </a:xfrm>
            <a:custGeom>
              <a:avLst/>
              <a:gdLst>
                <a:gd name="T0" fmla="*/ 321 w 742"/>
                <a:gd name="T1" fmla="*/ 8 h 585"/>
                <a:gd name="T2" fmla="*/ 286 w 742"/>
                <a:gd name="T3" fmla="*/ 52 h 585"/>
                <a:gd name="T4" fmla="*/ 256 w 742"/>
                <a:gd name="T5" fmla="*/ 39 h 585"/>
                <a:gd name="T6" fmla="*/ 240 w 742"/>
                <a:gd name="T7" fmla="*/ 70 h 585"/>
                <a:gd name="T8" fmla="*/ 219 w 742"/>
                <a:gd name="T9" fmla="*/ 102 h 585"/>
                <a:gd name="T10" fmla="*/ 182 w 742"/>
                <a:gd name="T11" fmla="*/ 135 h 585"/>
                <a:gd name="T12" fmla="*/ 143 w 742"/>
                <a:gd name="T13" fmla="*/ 164 h 585"/>
                <a:gd name="T14" fmla="*/ 169 w 742"/>
                <a:gd name="T15" fmla="*/ 198 h 585"/>
                <a:gd name="T16" fmla="*/ 148 w 742"/>
                <a:gd name="T17" fmla="*/ 265 h 585"/>
                <a:gd name="T18" fmla="*/ 86 w 742"/>
                <a:gd name="T19" fmla="*/ 281 h 585"/>
                <a:gd name="T20" fmla="*/ 8 w 742"/>
                <a:gd name="T21" fmla="*/ 281 h 585"/>
                <a:gd name="T22" fmla="*/ 36 w 742"/>
                <a:gd name="T23" fmla="*/ 313 h 585"/>
                <a:gd name="T24" fmla="*/ 60 w 742"/>
                <a:gd name="T25" fmla="*/ 375 h 585"/>
                <a:gd name="T26" fmla="*/ 11 w 742"/>
                <a:gd name="T27" fmla="*/ 419 h 585"/>
                <a:gd name="T28" fmla="*/ 29 w 742"/>
                <a:gd name="T29" fmla="*/ 445 h 585"/>
                <a:gd name="T30" fmla="*/ 57 w 742"/>
                <a:gd name="T31" fmla="*/ 490 h 585"/>
                <a:gd name="T32" fmla="*/ 71 w 742"/>
                <a:gd name="T33" fmla="*/ 552 h 585"/>
                <a:gd name="T34" fmla="*/ 92 w 742"/>
                <a:gd name="T35" fmla="*/ 566 h 585"/>
                <a:gd name="T36" fmla="*/ 148 w 742"/>
                <a:gd name="T37" fmla="*/ 585 h 585"/>
                <a:gd name="T38" fmla="*/ 184 w 742"/>
                <a:gd name="T39" fmla="*/ 573 h 585"/>
                <a:gd name="T40" fmla="*/ 260 w 742"/>
                <a:gd name="T41" fmla="*/ 530 h 585"/>
                <a:gd name="T42" fmla="*/ 292 w 742"/>
                <a:gd name="T43" fmla="*/ 518 h 585"/>
                <a:gd name="T44" fmla="*/ 387 w 742"/>
                <a:gd name="T45" fmla="*/ 485 h 585"/>
                <a:gd name="T46" fmla="*/ 428 w 742"/>
                <a:gd name="T47" fmla="*/ 452 h 585"/>
                <a:gd name="T48" fmla="*/ 477 w 742"/>
                <a:gd name="T49" fmla="*/ 403 h 585"/>
                <a:gd name="T50" fmla="*/ 546 w 742"/>
                <a:gd name="T51" fmla="*/ 372 h 585"/>
                <a:gd name="T52" fmla="*/ 621 w 742"/>
                <a:gd name="T53" fmla="*/ 385 h 585"/>
                <a:gd name="T54" fmla="*/ 641 w 742"/>
                <a:gd name="T55" fmla="*/ 347 h 585"/>
                <a:gd name="T56" fmla="*/ 686 w 742"/>
                <a:gd name="T57" fmla="*/ 326 h 585"/>
                <a:gd name="T58" fmla="*/ 709 w 742"/>
                <a:gd name="T59" fmla="*/ 267 h 585"/>
                <a:gd name="T60" fmla="*/ 698 w 742"/>
                <a:gd name="T61" fmla="*/ 201 h 585"/>
                <a:gd name="T62" fmla="*/ 718 w 742"/>
                <a:gd name="T63" fmla="*/ 153 h 585"/>
                <a:gd name="T64" fmla="*/ 740 w 742"/>
                <a:gd name="T65" fmla="*/ 135 h 585"/>
                <a:gd name="T66" fmla="*/ 633 w 742"/>
                <a:gd name="T67" fmla="*/ 65 h 585"/>
                <a:gd name="T68" fmla="*/ 589 w 742"/>
                <a:gd name="T69" fmla="*/ 60 h 585"/>
                <a:gd name="T70" fmla="*/ 565 w 742"/>
                <a:gd name="T71" fmla="*/ 88 h 585"/>
                <a:gd name="T72" fmla="*/ 513 w 742"/>
                <a:gd name="T73" fmla="*/ 44 h 585"/>
                <a:gd name="T74" fmla="*/ 435 w 742"/>
                <a:gd name="T75" fmla="*/ 63 h 585"/>
                <a:gd name="T76" fmla="*/ 381 w 742"/>
                <a:gd name="T77" fmla="*/ 39 h 585"/>
                <a:gd name="T78" fmla="*/ 370 w 742"/>
                <a:gd name="T79" fmla="*/ 0 h 585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742"/>
                <a:gd name="T121" fmla="*/ 0 h 585"/>
                <a:gd name="T122" fmla="*/ 742 w 742"/>
                <a:gd name="T123" fmla="*/ 585 h 585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742" h="585">
                  <a:moveTo>
                    <a:pt x="370" y="0"/>
                  </a:moveTo>
                  <a:lnTo>
                    <a:pt x="321" y="8"/>
                  </a:lnTo>
                  <a:lnTo>
                    <a:pt x="313" y="34"/>
                  </a:lnTo>
                  <a:lnTo>
                    <a:pt x="286" y="52"/>
                  </a:lnTo>
                  <a:lnTo>
                    <a:pt x="268" y="31"/>
                  </a:lnTo>
                  <a:lnTo>
                    <a:pt x="256" y="39"/>
                  </a:lnTo>
                  <a:lnTo>
                    <a:pt x="266" y="55"/>
                  </a:lnTo>
                  <a:lnTo>
                    <a:pt x="240" y="70"/>
                  </a:lnTo>
                  <a:lnTo>
                    <a:pt x="248" y="91"/>
                  </a:lnTo>
                  <a:lnTo>
                    <a:pt x="219" y="102"/>
                  </a:lnTo>
                  <a:lnTo>
                    <a:pt x="219" y="135"/>
                  </a:lnTo>
                  <a:lnTo>
                    <a:pt x="182" y="135"/>
                  </a:lnTo>
                  <a:lnTo>
                    <a:pt x="180" y="156"/>
                  </a:lnTo>
                  <a:lnTo>
                    <a:pt x="143" y="164"/>
                  </a:lnTo>
                  <a:lnTo>
                    <a:pt x="146" y="195"/>
                  </a:lnTo>
                  <a:lnTo>
                    <a:pt x="169" y="198"/>
                  </a:lnTo>
                  <a:lnTo>
                    <a:pt x="156" y="213"/>
                  </a:lnTo>
                  <a:lnTo>
                    <a:pt x="148" y="265"/>
                  </a:lnTo>
                  <a:lnTo>
                    <a:pt x="125" y="265"/>
                  </a:lnTo>
                  <a:lnTo>
                    <a:pt x="86" y="281"/>
                  </a:lnTo>
                  <a:lnTo>
                    <a:pt x="44" y="265"/>
                  </a:lnTo>
                  <a:lnTo>
                    <a:pt x="8" y="281"/>
                  </a:lnTo>
                  <a:lnTo>
                    <a:pt x="8" y="308"/>
                  </a:lnTo>
                  <a:lnTo>
                    <a:pt x="36" y="313"/>
                  </a:lnTo>
                  <a:lnTo>
                    <a:pt x="57" y="354"/>
                  </a:lnTo>
                  <a:lnTo>
                    <a:pt x="60" y="375"/>
                  </a:lnTo>
                  <a:lnTo>
                    <a:pt x="26" y="414"/>
                  </a:lnTo>
                  <a:lnTo>
                    <a:pt x="11" y="419"/>
                  </a:lnTo>
                  <a:lnTo>
                    <a:pt x="0" y="432"/>
                  </a:lnTo>
                  <a:lnTo>
                    <a:pt x="29" y="445"/>
                  </a:lnTo>
                  <a:lnTo>
                    <a:pt x="34" y="487"/>
                  </a:lnTo>
                  <a:lnTo>
                    <a:pt x="57" y="490"/>
                  </a:lnTo>
                  <a:lnTo>
                    <a:pt x="60" y="542"/>
                  </a:lnTo>
                  <a:lnTo>
                    <a:pt x="71" y="552"/>
                  </a:lnTo>
                  <a:lnTo>
                    <a:pt x="72" y="560"/>
                  </a:lnTo>
                  <a:lnTo>
                    <a:pt x="92" y="566"/>
                  </a:lnTo>
                  <a:lnTo>
                    <a:pt x="114" y="585"/>
                  </a:lnTo>
                  <a:lnTo>
                    <a:pt x="148" y="585"/>
                  </a:lnTo>
                  <a:lnTo>
                    <a:pt x="161" y="572"/>
                  </a:lnTo>
                  <a:lnTo>
                    <a:pt x="184" y="573"/>
                  </a:lnTo>
                  <a:lnTo>
                    <a:pt x="208" y="573"/>
                  </a:lnTo>
                  <a:lnTo>
                    <a:pt x="260" y="530"/>
                  </a:lnTo>
                  <a:lnTo>
                    <a:pt x="275" y="530"/>
                  </a:lnTo>
                  <a:lnTo>
                    <a:pt x="292" y="518"/>
                  </a:lnTo>
                  <a:lnTo>
                    <a:pt x="346" y="519"/>
                  </a:lnTo>
                  <a:lnTo>
                    <a:pt x="387" y="485"/>
                  </a:lnTo>
                  <a:lnTo>
                    <a:pt x="417" y="480"/>
                  </a:lnTo>
                  <a:lnTo>
                    <a:pt x="428" y="452"/>
                  </a:lnTo>
                  <a:lnTo>
                    <a:pt x="453" y="445"/>
                  </a:lnTo>
                  <a:lnTo>
                    <a:pt x="477" y="403"/>
                  </a:lnTo>
                  <a:lnTo>
                    <a:pt x="511" y="377"/>
                  </a:lnTo>
                  <a:lnTo>
                    <a:pt x="546" y="372"/>
                  </a:lnTo>
                  <a:lnTo>
                    <a:pt x="572" y="390"/>
                  </a:lnTo>
                  <a:lnTo>
                    <a:pt x="621" y="385"/>
                  </a:lnTo>
                  <a:lnTo>
                    <a:pt x="621" y="358"/>
                  </a:lnTo>
                  <a:lnTo>
                    <a:pt x="641" y="347"/>
                  </a:lnTo>
                  <a:lnTo>
                    <a:pt x="656" y="326"/>
                  </a:lnTo>
                  <a:lnTo>
                    <a:pt x="686" y="326"/>
                  </a:lnTo>
                  <a:lnTo>
                    <a:pt x="703" y="308"/>
                  </a:lnTo>
                  <a:lnTo>
                    <a:pt x="709" y="267"/>
                  </a:lnTo>
                  <a:lnTo>
                    <a:pt x="709" y="241"/>
                  </a:lnTo>
                  <a:lnTo>
                    <a:pt x="698" y="201"/>
                  </a:lnTo>
                  <a:lnTo>
                    <a:pt x="698" y="168"/>
                  </a:lnTo>
                  <a:lnTo>
                    <a:pt x="718" y="153"/>
                  </a:lnTo>
                  <a:lnTo>
                    <a:pt x="742" y="140"/>
                  </a:lnTo>
                  <a:lnTo>
                    <a:pt x="740" y="135"/>
                  </a:lnTo>
                  <a:lnTo>
                    <a:pt x="656" y="91"/>
                  </a:lnTo>
                  <a:lnTo>
                    <a:pt x="633" y="65"/>
                  </a:lnTo>
                  <a:lnTo>
                    <a:pt x="610" y="50"/>
                  </a:lnTo>
                  <a:lnTo>
                    <a:pt x="589" y="60"/>
                  </a:lnTo>
                  <a:lnTo>
                    <a:pt x="586" y="75"/>
                  </a:lnTo>
                  <a:lnTo>
                    <a:pt x="565" y="88"/>
                  </a:lnTo>
                  <a:lnTo>
                    <a:pt x="552" y="88"/>
                  </a:lnTo>
                  <a:lnTo>
                    <a:pt x="513" y="44"/>
                  </a:lnTo>
                  <a:lnTo>
                    <a:pt x="458" y="44"/>
                  </a:lnTo>
                  <a:lnTo>
                    <a:pt x="435" y="63"/>
                  </a:lnTo>
                  <a:lnTo>
                    <a:pt x="414" y="65"/>
                  </a:lnTo>
                  <a:lnTo>
                    <a:pt x="381" y="39"/>
                  </a:lnTo>
                  <a:lnTo>
                    <a:pt x="383" y="10"/>
                  </a:lnTo>
                  <a:lnTo>
                    <a:pt x="370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70</a:t>
              </a:r>
            </a:p>
          </p:txBody>
        </p:sp>
        <p:sp>
          <p:nvSpPr>
            <p:cNvPr id="166" name="FR-76">
              <a:extLst>
                <a:ext uri="{FF2B5EF4-FFF2-40B4-BE49-F238E27FC236}">
                  <a16:creationId xmlns:a16="http://schemas.microsoft.com/office/drawing/2014/main" id="{16F6603E-0921-4270-985B-D69F57F8C78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403686" y="725290"/>
              <a:ext cx="832643" cy="587049"/>
            </a:xfrm>
            <a:custGeom>
              <a:avLst/>
              <a:gdLst>
                <a:gd name="T0" fmla="*/ 639 w 857"/>
                <a:gd name="T1" fmla="*/ 0 h 620"/>
                <a:gd name="T2" fmla="*/ 622 w 857"/>
                <a:gd name="T3" fmla="*/ 21 h 620"/>
                <a:gd name="T4" fmla="*/ 510 w 857"/>
                <a:gd name="T5" fmla="*/ 107 h 620"/>
                <a:gd name="T6" fmla="*/ 312 w 857"/>
                <a:gd name="T7" fmla="*/ 156 h 620"/>
                <a:gd name="T8" fmla="*/ 182 w 857"/>
                <a:gd name="T9" fmla="*/ 203 h 620"/>
                <a:gd name="T10" fmla="*/ 75 w 857"/>
                <a:gd name="T11" fmla="*/ 260 h 620"/>
                <a:gd name="T12" fmla="*/ 13 w 857"/>
                <a:gd name="T13" fmla="*/ 354 h 620"/>
                <a:gd name="T14" fmla="*/ 0 w 857"/>
                <a:gd name="T15" fmla="*/ 427 h 620"/>
                <a:gd name="T16" fmla="*/ 52 w 857"/>
                <a:gd name="T17" fmla="*/ 466 h 620"/>
                <a:gd name="T18" fmla="*/ 127 w 857"/>
                <a:gd name="T19" fmla="*/ 482 h 620"/>
                <a:gd name="T20" fmla="*/ 115 w 857"/>
                <a:gd name="T21" fmla="*/ 484 h 620"/>
                <a:gd name="T22" fmla="*/ 116 w 857"/>
                <a:gd name="T23" fmla="*/ 486 h 620"/>
                <a:gd name="T24" fmla="*/ 174 w 857"/>
                <a:gd name="T25" fmla="*/ 478 h 620"/>
                <a:gd name="T26" fmla="*/ 204 w 857"/>
                <a:gd name="T27" fmla="*/ 446 h 620"/>
                <a:gd name="T28" fmla="*/ 226 w 857"/>
                <a:gd name="T29" fmla="*/ 441 h 620"/>
                <a:gd name="T30" fmla="*/ 252 w 857"/>
                <a:gd name="T31" fmla="*/ 486 h 620"/>
                <a:gd name="T32" fmla="*/ 288 w 857"/>
                <a:gd name="T33" fmla="*/ 482 h 620"/>
                <a:gd name="T34" fmla="*/ 303 w 857"/>
                <a:gd name="T35" fmla="*/ 508 h 620"/>
                <a:gd name="T36" fmla="*/ 366 w 857"/>
                <a:gd name="T37" fmla="*/ 504 h 620"/>
                <a:gd name="T38" fmla="*/ 430 w 857"/>
                <a:gd name="T39" fmla="*/ 549 h 620"/>
                <a:gd name="T40" fmla="*/ 389 w 857"/>
                <a:gd name="T41" fmla="*/ 562 h 620"/>
                <a:gd name="T42" fmla="*/ 419 w 857"/>
                <a:gd name="T43" fmla="*/ 585 h 620"/>
                <a:gd name="T44" fmla="*/ 438 w 857"/>
                <a:gd name="T45" fmla="*/ 585 h 620"/>
                <a:gd name="T46" fmla="*/ 454 w 857"/>
                <a:gd name="T47" fmla="*/ 620 h 620"/>
                <a:gd name="T48" fmla="*/ 484 w 857"/>
                <a:gd name="T49" fmla="*/ 620 h 620"/>
                <a:gd name="T50" fmla="*/ 493 w 857"/>
                <a:gd name="T51" fmla="*/ 598 h 620"/>
                <a:gd name="T52" fmla="*/ 471 w 857"/>
                <a:gd name="T53" fmla="*/ 583 h 620"/>
                <a:gd name="T54" fmla="*/ 535 w 857"/>
                <a:gd name="T55" fmla="*/ 564 h 620"/>
                <a:gd name="T56" fmla="*/ 602 w 857"/>
                <a:gd name="T57" fmla="*/ 557 h 620"/>
                <a:gd name="T58" fmla="*/ 619 w 857"/>
                <a:gd name="T59" fmla="*/ 508 h 620"/>
                <a:gd name="T60" fmla="*/ 651 w 857"/>
                <a:gd name="T61" fmla="*/ 480 h 620"/>
                <a:gd name="T62" fmla="*/ 711 w 857"/>
                <a:gd name="T63" fmla="*/ 478 h 620"/>
                <a:gd name="T64" fmla="*/ 780 w 857"/>
                <a:gd name="T65" fmla="*/ 514 h 620"/>
                <a:gd name="T66" fmla="*/ 821 w 857"/>
                <a:gd name="T67" fmla="*/ 518 h 620"/>
                <a:gd name="T68" fmla="*/ 828 w 857"/>
                <a:gd name="T69" fmla="*/ 497 h 620"/>
                <a:gd name="T70" fmla="*/ 846 w 857"/>
                <a:gd name="T71" fmla="*/ 463 h 620"/>
                <a:gd name="T72" fmla="*/ 857 w 857"/>
                <a:gd name="T73" fmla="*/ 445 h 620"/>
                <a:gd name="T74" fmla="*/ 831 w 857"/>
                <a:gd name="T75" fmla="*/ 445 h 620"/>
                <a:gd name="T76" fmla="*/ 831 w 857"/>
                <a:gd name="T77" fmla="*/ 400 h 620"/>
                <a:gd name="T78" fmla="*/ 815 w 857"/>
                <a:gd name="T79" fmla="*/ 374 h 620"/>
                <a:gd name="T80" fmla="*/ 826 w 857"/>
                <a:gd name="T81" fmla="*/ 322 h 620"/>
                <a:gd name="T82" fmla="*/ 836 w 857"/>
                <a:gd name="T83" fmla="*/ 296 h 620"/>
                <a:gd name="T84" fmla="*/ 815 w 857"/>
                <a:gd name="T85" fmla="*/ 296 h 620"/>
                <a:gd name="T86" fmla="*/ 826 w 857"/>
                <a:gd name="T87" fmla="*/ 270 h 620"/>
                <a:gd name="T88" fmla="*/ 851 w 857"/>
                <a:gd name="T89" fmla="*/ 239 h 620"/>
                <a:gd name="T90" fmla="*/ 826 w 857"/>
                <a:gd name="T91" fmla="*/ 192 h 620"/>
                <a:gd name="T92" fmla="*/ 818 w 857"/>
                <a:gd name="T93" fmla="*/ 145 h 620"/>
                <a:gd name="T94" fmla="*/ 703 w 857"/>
                <a:gd name="T95" fmla="*/ 33 h 620"/>
                <a:gd name="T96" fmla="*/ 690 w 857"/>
                <a:gd name="T97" fmla="*/ 7 h 620"/>
                <a:gd name="T98" fmla="*/ 661 w 857"/>
                <a:gd name="T99" fmla="*/ 10 h 620"/>
                <a:gd name="T100" fmla="*/ 639 w 857"/>
                <a:gd name="T101" fmla="*/ 0 h 62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57"/>
                <a:gd name="T154" fmla="*/ 0 h 620"/>
                <a:gd name="T155" fmla="*/ 857 w 857"/>
                <a:gd name="T156" fmla="*/ 620 h 62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57" h="620">
                  <a:moveTo>
                    <a:pt x="639" y="0"/>
                  </a:moveTo>
                  <a:lnTo>
                    <a:pt x="622" y="21"/>
                  </a:lnTo>
                  <a:lnTo>
                    <a:pt x="510" y="107"/>
                  </a:lnTo>
                  <a:lnTo>
                    <a:pt x="312" y="156"/>
                  </a:lnTo>
                  <a:lnTo>
                    <a:pt x="182" y="203"/>
                  </a:lnTo>
                  <a:lnTo>
                    <a:pt x="75" y="260"/>
                  </a:lnTo>
                  <a:lnTo>
                    <a:pt x="13" y="354"/>
                  </a:lnTo>
                  <a:lnTo>
                    <a:pt x="0" y="427"/>
                  </a:lnTo>
                  <a:lnTo>
                    <a:pt x="52" y="466"/>
                  </a:lnTo>
                  <a:lnTo>
                    <a:pt x="127" y="482"/>
                  </a:lnTo>
                  <a:lnTo>
                    <a:pt x="115" y="484"/>
                  </a:lnTo>
                  <a:lnTo>
                    <a:pt x="116" y="486"/>
                  </a:lnTo>
                  <a:lnTo>
                    <a:pt x="174" y="478"/>
                  </a:lnTo>
                  <a:lnTo>
                    <a:pt x="204" y="446"/>
                  </a:lnTo>
                  <a:lnTo>
                    <a:pt x="226" y="441"/>
                  </a:lnTo>
                  <a:lnTo>
                    <a:pt x="252" y="486"/>
                  </a:lnTo>
                  <a:lnTo>
                    <a:pt x="288" y="482"/>
                  </a:lnTo>
                  <a:lnTo>
                    <a:pt x="303" y="508"/>
                  </a:lnTo>
                  <a:lnTo>
                    <a:pt x="366" y="504"/>
                  </a:lnTo>
                  <a:lnTo>
                    <a:pt x="430" y="549"/>
                  </a:lnTo>
                  <a:lnTo>
                    <a:pt x="389" y="562"/>
                  </a:lnTo>
                  <a:lnTo>
                    <a:pt x="419" y="585"/>
                  </a:lnTo>
                  <a:lnTo>
                    <a:pt x="438" y="585"/>
                  </a:lnTo>
                  <a:lnTo>
                    <a:pt x="454" y="620"/>
                  </a:lnTo>
                  <a:lnTo>
                    <a:pt x="484" y="620"/>
                  </a:lnTo>
                  <a:lnTo>
                    <a:pt x="493" y="598"/>
                  </a:lnTo>
                  <a:lnTo>
                    <a:pt x="471" y="583"/>
                  </a:lnTo>
                  <a:lnTo>
                    <a:pt x="535" y="564"/>
                  </a:lnTo>
                  <a:lnTo>
                    <a:pt x="602" y="557"/>
                  </a:lnTo>
                  <a:lnTo>
                    <a:pt x="619" y="508"/>
                  </a:lnTo>
                  <a:lnTo>
                    <a:pt x="651" y="480"/>
                  </a:lnTo>
                  <a:lnTo>
                    <a:pt x="711" y="478"/>
                  </a:lnTo>
                  <a:lnTo>
                    <a:pt x="780" y="514"/>
                  </a:lnTo>
                  <a:lnTo>
                    <a:pt x="821" y="518"/>
                  </a:lnTo>
                  <a:lnTo>
                    <a:pt x="828" y="497"/>
                  </a:lnTo>
                  <a:lnTo>
                    <a:pt x="846" y="463"/>
                  </a:lnTo>
                  <a:lnTo>
                    <a:pt x="857" y="445"/>
                  </a:lnTo>
                  <a:lnTo>
                    <a:pt x="831" y="445"/>
                  </a:lnTo>
                  <a:lnTo>
                    <a:pt x="831" y="400"/>
                  </a:lnTo>
                  <a:lnTo>
                    <a:pt x="815" y="374"/>
                  </a:lnTo>
                  <a:lnTo>
                    <a:pt x="826" y="322"/>
                  </a:lnTo>
                  <a:lnTo>
                    <a:pt x="836" y="296"/>
                  </a:lnTo>
                  <a:lnTo>
                    <a:pt x="815" y="296"/>
                  </a:lnTo>
                  <a:lnTo>
                    <a:pt x="826" y="270"/>
                  </a:lnTo>
                  <a:lnTo>
                    <a:pt x="851" y="239"/>
                  </a:lnTo>
                  <a:lnTo>
                    <a:pt x="826" y="192"/>
                  </a:lnTo>
                  <a:lnTo>
                    <a:pt x="818" y="145"/>
                  </a:lnTo>
                  <a:lnTo>
                    <a:pt x="703" y="33"/>
                  </a:lnTo>
                  <a:lnTo>
                    <a:pt x="690" y="7"/>
                  </a:lnTo>
                  <a:lnTo>
                    <a:pt x="661" y="10"/>
                  </a:lnTo>
                  <a:lnTo>
                    <a:pt x="639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76</a:t>
              </a:r>
            </a:p>
          </p:txBody>
        </p:sp>
        <p:sp>
          <p:nvSpPr>
            <p:cNvPr id="167" name="FR-27">
              <a:extLst>
                <a:ext uri="{FF2B5EF4-FFF2-40B4-BE49-F238E27FC236}">
                  <a16:creationId xmlns:a16="http://schemas.microsoft.com/office/drawing/2014/main" id="{456CADA0-7BF3-4673-A4F6-139360F4E55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516389" y="1142852"/>
              <a:ext cx="727712" cy="596518"/>
            </a:xfrm>
            <a:custGeom>
              <a:avLst/>
              <a:gdLst>
                <a:gd name="T0" fmla="*/ 88 w 749"/>
                <a:gd name="T1" fmla="*/ 5 h 630"/>
                <a:gd name="T2" fmla="*/ 0 w 749"/>
                <a:gd name="T3" fmla="*/ 45 h 630"/>
                <a:gd name="T4" fmla="*/ 38 w 749"/>
                <a:gd name="T5" fmla="*/ 149 h 630"/>
                <a:gd name="T6" fmla="*/ 12 w 749"/>
                <a:gd name="T7" fmla="*/ 175 h 630"/>
                <a:gd name="T8" fmla="*/ 59 w 749"/>
                <a:gd name="T9" fmla="*/ 282 h 630"/>
                <a:gd name="T10" fmla="*/ 32 w 749"/>
                <a:gd name="T11" fmla="*/ 324 h 630"/>
                <a:gd name="T12" fmla="*/ 61 w 749"/>
                <a:gd name="T13" fmla="*/ 352 h 630"/>
                <a:gd name="T14" fmla="*/ 43 w 749"/>
                <a:gd name="T15" fmla="*/ 436 h 630"/>
                <a:gd name="T16" fmla="*/ 137 w 749"/>
                <a:gd name="T17" fmla="*/ 464 h 630"/>
                <a:gd name="T18" fmla="*/ 178 w 749"/>
                <a:gd name="T19" fmla="*/ 527 h 630"/>
                <a:gd name="T20" fmla="*/ 225 w 749"/>
                <a:gd name="T21" fmla="*/ 579 h 630"/>
                <a:gd name="T22" fmla="*/ 245 w 749"/>
                <a:gd name="T23" fmla="*/ 630 h 630"/>
                <a:gd name="T24" fmla="*/ 319 w 749"/>
                <a:gd name="T25" fmla="*/ 594 h 630"/>
                <a:gd name="T26" fmla="*/ 444 w 749"/>
                <a:gd name="T27" fmla="*/ 558 h 630"/>
                <a:gd name="T28" fmla="*/ 525 w 749"/>
                <a:gd name="T29" fmla="*/ 540 h 630"/>
                <a:gd name="T30" fmla="*/ 577 w 749"/>
                <a:gd name="T31" fmla="*/ 475 h 630"/>
                <a:gd name="T32" fmla="*/ 591 w 749"/>
                <a:gd name="T33" fmla="*/ 422 h 630"/>
                <a:gd name="T34" fmla="*/ 603 w 749"/>
                <a:gd name="T35" fmla="*/ 397 h 630"/>
                <a:gd name="T36" fmla="*/ 580 w 749"/>
                <a:gd name="T37" fmla="*/ 371 h 630"/>
                <a:gd name="T38" fmla="*/ 577 w 749"/>
                <a:gd name="T39" fmla="*/ 337 h 630"/>
                <a:gd name="T40" fmla="*/ 668 w 749"/>
                <a:gd name="T41" fmla="*/ 285 h 630"/>
                <a:gd name="T42" fmla="*/ 703 w 749"/>
                <a:gd name="T43" fmla="*/ 204 h 630"/>
                <a:gd name="T44" fmla="*/ 730 w 749"/>
                <a:gd name="T45" fmla="*/ 186 h 630"/>
                <a:gd name="T46" fmla="*/ 735 w 749"/>
                <a:gd name="T47" fmla="*/ 160 h 630"/>
                <a:gd name="T48" fmla="*/ 705 w 749"/>
                <a:gd name="T49" fmla="*/ 79 h 630"/>
                <a:gd name="T50" fmla="*/ 664 w 749"/>
                <a:gd name="T51" fmla="*/ 73 h 630"/>
                <a:gd name="T52" fmla="*/ 535 w 749"/>
                <a:gd name="T53" fmla="*/ 39 h 630"/>
                <a:gd name="T54" fmla="*/ 486 w 749"/>
                <a:gd name="T55" fmla="*/ 116 h 630"/>
                <a:gd name="T56" fmla="*/ 355 w 749"/>
                <a:gd name="T57" fmla="*/ 142 h 630"/>
                <a:gd name="T58" fmla="*/ 368 w 749"/>
                <a:gd name="T59" fmla="*/ 179 h 630"/>
                <a:gd name="T60" fmla="*/ 322 w 749"/>
                <a:gd name="T61" fmla="*/ 144 h 630"/>
                <a:gd name="T62" fmla="*/ 273 w 749"/>
                <a:gd name="T63" fmla="*/ 121 h 630"/>
                <a:gd name="T64" fmla="*/ 250 w 749"/>
                <a:gd name="T65" fmla="*/ 63 h 630"/>
                <a:gd name="T66" fmla="*/ 172 w 749"/>
                <a:gd name="T67" fmla="*/ 41 h 630"/>
                <a:gd name="T68" fmla="*/ 110 w 749"/>
                <a:gd name="T69" fmla="*/ 0 h 63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749"/>
                <a:gd name="T106" fmla="*/ 0 h 630"/>
                <a:gd name="T107" fmla="*/ 749 w 749"/>
                <a:gd name="T108" fmla="*/ 630 h 63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749" h="630">
                  <a:moveTo>
                    <a:pt x="110" y="0"/>
                  </a:moveTo>
                  <a:lnTo>
                    <a:pt x="88" y="5"/>
                  </a:lnTo>
                  <a:lnTo>
                    <a:pt x="58" y="37"/>
                  </a:lnTo>
                  <a:lnTo>
                    <a:pt x="0" y="45"/>
                  </a:lnTo>
                  <a:lnTo>
                    <a:pt x="12" y="142"/>
                  </a:lnTo>
                  <a:lnTo>
                    <a:pt x="38" y="149"/>
                  </a:lnTo>
                  <a:lnTo>
                    <a:pt x="38" y="160"/>
                  </a:lnTo>
                  <a:lnTo>
                    <a:pt x="12" y="175"/>
                  </a:lnTo>
                  <a:lnTo>
                    <a:pt x="43" y="219"/>
                  </a:lnTo>
                  <a:lnTo>
                    <a:pt x="59" y="282"/>
                  </a:lnTo>
                  <a:lnTo>
                    <a:pt x="56" y="308"/>
                  </a:lnTo>
                  <a:lnTo>
                    <a:pt x="32" y="324"/>
                  </a:lnTo>
                  <a:lnTo>
                    <a:pt x="35" y="342"/>
                  </a:lnTo>
                  <a:lnTo>
                    <a:pt x="61" y="352"/>
                  </a:lnTo>
                  <a:lnTo>
                    <a:pt x="64" y="376"/>
                  </a:lnTo>
                  <a:lnTo>
                    <a:pt x="43" y="436"/>
                  </a:lnTo>
                  <a:lnTo>
                    <a:pt x="64" y="462"/>
                  </a:lnTo>
                  <a:lnTo>
                    <a:pt x="137" y="464"/>
                  </a:lnTo>
                  <a:lnTo>
                    <a:pt x="152" y="501"/>
                  </a:lnTo>
                  <a:lnTo>
                    <a:pt x="178" y="527"/>
                  </a:lnTo>
                  <a:lnTo>
                    <a:pt x="215" y="540"/>
                  </a:lnTo>
                  <a:lnTo>
                    <a:pt x="225" y="579"/>
                  </a:lnTo>
                  <a:lnTo>
                    <a:pt x="207" y="605"/>
                  </a:lnTo>
                  <a:lnTo>
                    <a:pt x="245" y="630"/>
                  </a:lnTo>
                  <a:lnTo>
                    <a:pt x="282" y="594"/>
                  </a:lnTo>
                  <a:lnTo>
                    <a:pt x="319" y="594"/>
                  </a:lnTo>
                  <a:lnTo>
                    <a:pt x="413" y="545"/>
                  </a:lnTo>
                  <a:lnTo>
                    <a:pt x="444" y="558"/>
                  </a:lnTo>
                  <a:lnTo>
                    <a:pt x="509" y="558"/>
                  </a:lnTo>
                  <a:lnTo>
                    <a:pt x="525" y="540"/>
                  </a:lnTo>
                  <a:lnTo>
                    <a:pt x="525" y="501"/>
                  </a:lnTo>
                  <a:lnTo>
                    <a:pt x="577" y="475"/>
                  </a:lnTo>
                  <a:lnTo>
                    <a:pt x="577" y="433"/>
                  </a:lnTo>
                  <a:lnTo>
                    <a:pt x="591" y="422"/>
                  </a:lnTo>
                  <a:lnTo>
                    <a:pt x="590" y="410"/>
                  </a:lnTo>
                  <a:lnTo>
                    <a:pt x="603" y="397"/>
                  </a:lnTo>
                  <a:lnTo>
                    <a:pt x="580" y="392"/>
                  </a:lnTo>
                  <a:lnTo>
                    <a:pt x="580" y="371"/>
                  </a:lnTo>
                  <a:lnTo>
                    <a:pt x="566" y="350"/>
                  </a:lnTo>
                  <a:lnTo>
                    <a:pt x="577" y="337"/>
                  </a:lnTo>
                  <a:lnTo>
                    <a:pt x="650" y="316"/>
                  </a:lnTo>
                  <a:lnTo>
                    <a:pt x="668" y="285"/>
                  </a:lnTo>
                  <a:lnTo>
                    <a:pt x="684" y="227"/>
                  </a:lnTo>
                  <a:lnTo>
                    <a:pt x="703" y="204"/>
                  </a:lnTo>
                  <a:lnTo>
                    <a:pt x="707" y="173"/>
                  </a:lnTo>
                  <a:lnTo>
                    <a:pt x="730" y="186"/>
                  </a:lnTo>
                  <a:lnTo>
                    <a:pt x="749" y="181"/>
                  </a:lnTo>
                  <a:lnTo>
                    <a:pt x="735" y="160"/>
                  </a:lnTo>
                  <a:lnTo>
                    <a:pt x="728" y="100"/>
                  </a:lnTo>
                  <a:lnTo>
                    <a:pt x="705" y="79"/>
                  </a:lnTo>
                  <a:lnTo>
                    <a:pt x="705" y="77"/>
                  </a:lnTo>
                  <a:lnTo>
                    <a:pt x="664" y="73"/>
                  </a:lnTo>
                  <a:lnTo>
                    <a:pt x="595" y="37"/>
                  </a:lnTo>
                  <a:lnTo>
                    <a:pt x="535" y="39"/>
                  </a:lnTo>
                  <a:lnTo>
                    <a:pt x="503" y="67"/>
                  </a:lnTo>
                  <a:lnTo>
                    <a:pt x="486" y="116"/>
                  </a:lnTo>
                  <a:lnTo>
                    <a:pt x="419" y="123"/>
                  </a:lnTo>
                  <a:lnTo>
                    <a:pt x="355" y="142"/>
                  </a:lnTo>
                  <a:lnTo>
                    <a:pt x="377" y="157"/>
                  </a:lnTo>
                  <a:lnTo>
                    <a:pt x="368" y="179"/>
                  </a:lnTo>
                  <a:lnTo>
                    <a:pt x="338" y="179"/>
                  </a:lnTo>
                  <a:lnTo>
                    <a:pt x="322" y="144"/>
                  </a:lnTo>
                  <a:lnTo>
                    <a:pt x="303" y="144"/>
                  </a:lnTo>
                  <a:lnTo>
                    <a:pt x="273" y="121"/>
                  </a:lnTo>
                  <a:lnTo>
                    <a:pt x="314" y="108"/>
                  </a:lnTo>
                  <a:lnTo>
                    <a:pt x="250" y="63"/>
                  </a:lnTo>
                  <a:lnTo>
                    <a:pt x="187" y="67"/>
                  </a:lnTo>
                  <a:lnTo>
                    <a:pt x="172" y="41"/>
                  </a:lnTo>
                  <a:lnTo>
                    <a:pt x="136" y="45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27</a:t>
              </a:r>
            </a:p>
          </p:txBody>
        </p:sp>
        <p:sp>
          <p:nvSpPr>
            <p:cNvPr id="168" name="FR-37">
              <a:extLst>
                <a:ext uri="{FF2B5EF4-FFF2-40B4-BE49-F238E27FC236}">
                  <a16:creationId xmlns:a16="http://schemas.microsoft.com/office/drawing/2014/main" id="{0FBCA58D-0176-47FC-8C84-7556864EC96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55107" y="2434361"/>
              <a:ext cx="660673" cy="693097"/>
            </a:xfrm>
            <a:custGeom>
              <a:avLst/>
              <a:gdLst>
                <a:gd name="T0" fmla="*/ 297 w 680"/>
                <a:gd name="T1" fmla="*/ 12 h 732"/>
                <a:gd name="T2" fmla="*/ 204 w 680"/>
                <a:gd name="T3" fmla="*/ 59 h 732"/>
                <a:gd name="T4" fmla="*/ 188 w 680"/>
                <a:gd name="T5" fmla="*/ 90 h 732"/>
                <a:gd name="T6" fmla="*/ 107 w 680"/>
                <a:gd name="T7" fmla="*/ 53 h 732"/>
                <a:gd name="T8" fmla="*/ 94 w 680"/>
                <a:gd name="T9" fmla="*/ 121 h 732"/>
                <a:gd name="T10" fmla="*/ 68 w 680"/>
                <a:gd name="T11" fmla="*/ 171 h 732"/>
                <a:gd name="T12" fmla="*/ 29 w 680"/>
                <a:gd name="T13" fmla="*/ 278 h 732"/>
                <a:gd name="T14" fmla="*/ 3 w 680"/>
                <a:gd name="T15" fmla="*/ 384 h 732"/>
                <a:gd name="T16" fmla="*/ 63 w 680"/>
                <a:gd name="T17" fmla="*/ 436 h 732"/>
                <a:gd name="T18" fmla="*/ 126 w 680"/>
                <a:gd name="T19" fmla="*/ 486 h 732"/>
                <a:gd name="T20" fmla="*/ 123 w 680"/>
                <a:gd name="T21" fmla="*/ 567 h 732"/>
                <a:gd name="T22" fmla="*/ 269 w 680"/>
                <a:gd name="T23" fmla="*/ 551 h 732"/>
                <a:gd name="T24" fmla="*/ 284 w 680"/>
                <a:gd name="T25" fmla="*/ 509 h 732"/>
                <a:gd name="T26" fmla="*/ 323 w 680"/>
                <a:gd name="T27" fmla="*/ 546 h 732"/>
                <a:gd name="T28" fmla="*/ 383 w 680"/>
                <a:gd name="T29" fmla="*/ 655 h 732"/>
                <a:gd name="T30" fmla="*/ 429 w 680"/>
                <a:gd name="T31" fmla="*/ 732 h 732"/>
                <a:gd name="T32" fmla="*/ 480 w 680"/>
                <a:gd name="T33" fmla="*/ 703 h 732"/>
                <a:gd name="T34" fmla="*/ 513 w 680"/>
                <a:gd name="T35" fmla="*/ 560 h 732"/>
                <a:gd name="T36" fmla="*/ 564 w 680"/>
                <a:gd name="T37" fmla="*/ 498 h 732"/>
                <a:gd name="T38" fmla="*/ 611 w 680"/>
                <a:gd name="T39" fmla="*/ 520 h 732"/>
                <a:gd name="T40" fmla="*/ 650 w 680"/>
                <a:gd name="T41" fmla="*/ 470 h 732"/>
                <a:gd name="T42" fmla="*/ 674 w 680"/>
                <a:gd name="T43" fmla="*/ 448 h 732"/>
                <a:gd name="T44" fmla="*/ 659 w 680"/>
                <a:gd name="T45" fmla="*/ 395 h 732"/>
                <a:gd name="T46" fmla="*/ 648 w 680"/>
                <a:gd name="T47" fmla="*/ 371 h 732"/>
                <a:gd name="T48" fmla="*/ 558 w 680"/>
                <a:gd name="T49" fmla="*/ 313 h 732"/>
                <a:gd name="T50" fmla="*/ 543 w 680"/>
                <a:gd name="T51" fmla="*/ 197 h 732"/>
                <a:gd name="T52" fmla="*/ 519 w 680"/>
                <a:gd name="T53" fmla="*/ 75 h 732"/>
                <a:gd name="T54" fmla="*/ 463 w 680"/>
                <a:gd name="T55" fmla="*/ 51 h 732"/>
                <a:gd name="T56" fmla="*/ 429 w 680"/>
                <a:gd name="T57" fmla="*/ 70 h 732"/>
                <a:gd name="T58" fmla="*/ 409 w 680"/>
                <a:gd name="T59" fmla="*/ 33 h 732"/>
                <a:gd name="T60" fmla="*/ 429 w 680"/>
                <a:gd name="T61" fmla="*/ 14 h 732"/>
                <a:gd name="T62" fmla="*/ 292 w 680"/>
                <a:gd name="T63" fmla="*/ 0 h 73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80"/>
                <a:gd name="T97" fmla="*/ 0 h 732"/>
                <a:gd name="T98" fmla="*/ 680 w 680"/>
                <a:gd name="T99" fmla="*/ 732 h 73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80" h="732">
                  <a:moveTo>
                    <a:pt x="292" y="0"/>
                  </a:moveTo>
                  <a:lnTo>
                    <a:pt x="297" y="12"/>
                  </a:lnTo>
                  <a:lnTo>
                    <a:pt x="222" y="33"/>
                  </a:lnTo>
                  <a:lnTo>
                    <a:pt x="204" y="59"/>
                  </a:lnTo>
                  <a:lnTo>
                    <a:pt x="172" y="38"/>
                  </a:lnTo>
                  <a:lnTo>
                    <a:pt x="188" y="90"/>
                  </a:lnTo>
                  <a:lnTo>
                    <a:pt x="159" y="90"/>
                  </a:lnTo>
                  <a:lnTo>
                    <a:pt x="107" y="53"/>
                  </a:lnTo>
                  <a:lnTo>
                    <a:pt x="81" y="105"/>
                  </a:lnTo>
                  <a:lnTo>
                    <a:pt x="94" y="121"/>
                  </a:lnTo>
                  <a:lnTo>
                    <a:pt x="94" y="137"/>
                  </a:lnTo>
                  <a:lnTo>
                    <a:pt x="68" y="171"/>
                  </a:lnTo>
                  <a:lnTo>
                    <a:pt x="71" y="228"/>
                  </a:lnTo>
                  <a:lnTo>
                    <a:pt x="29" y="278"/>
                  </a:lnTo>
                  <a:lnTo>
                    <a:pt x="0" y="384"/>
                  </a:lnTo>
                  <a:lnTo>
                    <a:pt x="3" y="384"/>
                  </a:lnTo>
                  <a:lnTo>
                    <a:pt x="13" y="426"/>
                  </a:lnTo>
                  <a:lnTo>
                    <a:pt x="63" y="436"/>
                  </a:lnTo>
                  <a:lnTo>
                    <a:pt x="63" y="468"/>
                  </a:lnTo>
                  <a:lnTo>
                    <a:pt x="126" y="486"/>
                  </a:lnTo>
                  <a:lnTo>
                    <a:pt x="126" y="535"/>
                  </a:lnTo>
                  <a:lnTo>
                    <a:pt x="123" y="567"/>
                  </a:lnTo>
                  <a:lnTo>
                    <a:pt x="201" y="567"/>
                  </a:lnTo>
                  <a:lnTo>
                    <a:pt x="269" y="551"/>
                  </a:lnTo>
                  <a:lnTo>
                    <a:pt x="263" y="522"/>
                  </a:lnTo>
                  <a:lnTo>
                    <a:pt x="284" y="509"/>
                  </a:lnTo>
                  <a:lnTo>
                    <a:pt x="305" y="538"/>
                  </a:lnTo>
                  <a:lnTo>
                    <a:pt x="323" y="546"/>
                  </a:lnTo>
                  <a:lnTo>
                    <a:pt x="339" y="608"/>
                  </a:lnTo>
                  <a:lnTo>
                    <a:pt x="383" y="655"/>
                  </a:lnTo>
                  <a:lnTo>
                    <a:pt x="388" y="692"/>
                  </a:lnTo>
                  <a:lnTo>
                    <a:pt x="429" y="732"/>
                  </a:lnTo>
                  <a:lnTo>
                    <a:pt x="452" y="730"/>
                  </a:lnTo>
                  <a:lnTo>
                    <a:pt x="480" y="703"/>
                  </a:lnTo>
                  <a:lnTo>
                    <a:pt x="501" y="597"/>
                  </a:lnTo>
                  <a:lnTo>
                    <a:pt x="513" y="560"/>
                  </a:lnTo>
                  <a:lnTo>
                    <a:pt x="523" y="513"/>
                  </a:lnTo>
                  <a:lnTo>
                    <a:pt x="564" y="498"/>
                  </a:lnTo>
                  <a:lnTo>
                    <a:pt x="592" y="503"/>
                  </a:lnTo>
                  <a:lnTo>
                    <a:pt x="611" y="520"/>
                  </a:lnTo>
                  <a:lnTo>
                    <a:pt x="631" y="487"/>
                  </a:lnTo>
                  <a:lnTo>
                    <a:pt x="650" y="470"/>
                  </a:lnTo>
                  <a:lnTo>
                    <a:pt x="650" y="449"/>
                  </a:lnTo>
                  <a:lnTo>
                    <a:pt x="674" y="448"/>
                  </a:lnTo>
                  <a:lnTo>
                    <a:pt x="680" y="423"/>
                  </a:lnTo>
                  <a:lnTo>
                    <a:pt x="659" y="395"/>
                  </a:lnTo>
                  <a:lnTo>
                    <a:pt x="663" y="383"/>
                  </a:lnTo>
                  <a:lnTo>
                    <a:pt x="648" y="371"/>
                  </a:lnTo>
                  <a:lnTo>
                    <a:pt x="609" y="313"/>
                  </a:lnTo>
                  <a:lnTo>
                    <a:pt x="558" y="313"/>
                  </a:lnTo>
                  <a:lnTo>
                    <a:pt x="543" y="290"/>
                  </a:lnTo>
                  <a:lnTo>
                    <a:pt x="543" y="197"/>
                  </a:lnTo>
                  <a:lnTo>
                    <a:pt x="523" y="143"/>
                  </a:lnTo>
                  <a:lnTo>
                    <a:pt x="519" y="75"/>
                  </a:lnTo>
                  <a:lnTo>
                    <a:pt x="493" y="73"/>
                  </a:lnTo>
                  <a:lnTo>
                    <a:pt x="463" y="51"/>
                  </a:lnTo>
                  <a:lnTo>
                    <a:pt x="456" y="51"/>
                  </a:lnTo>
                  <a:lnTo>
                    <a:pt x="429" y="70"/>
                  </a:lnTo>
                  <a:lnTo>
                    <a:pt x="413" y="58"/>
                  </a:lnTo>
                  <a:lnTo>
                    <a:pt x="409" y="33"/>
                  </a:lnTo>
                  <a:lnTo>
                    <a:pt x="428" y="23"/>
                  </a:lnTo>
                  <a:lnTo>
                    <a:pt x="429" y="14"/>
                  </a:lnTo>
                  <a:lnTo>
                    <a:pt x="418" y="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37</a:t>
              </a:r>
            </a:p>
          </p:txBody>
        </p:sp>
        <p:sp>
          <p:nvSpPr>
            <p:cNvPr id="169" name="FR-45">
              <a:extLst>
                <a:ext uri="{FF2B5EF4-FFF2-40B4-BE49-F238E27FC236}">
                  <a16:creationId xmlns:a16="http://schemas.microsoft.com/office/drawing/2014/main" id="{A4EFF014-28A7-43C7-A98B-C6256F40DC8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088649" y="1975137"/>
              <a:ext cx="800581" cy="619242"/>
            </a:xfrm>
            <a:custGeom>
              <a:avLst/>
              <a:gdLst>
                <a:gd name="T0" fmla="*/ 324 w 824"/>
                <a:gd name="T1" fmla="*/ 31 h 654"/>
                <a:gd name="T2" fmla="*/ 245 w 824"/>
                <a:gd name="T3" fmla="*/ 43 h 654"/>
                <a:gd name="T4" fmla="*/ 228 w 824"/>
                <a:gd name="T5" fmla="*/ 78 h 654"/>
                <a:gd name="T6" fmla="*/ 213 w 824"/>
                <a:gd name="T7" fmla="*/ 130 h 654"/>
                <a:gd name="T8" fmla="*/ 177 w 824"/>
                <a:gd name="T9" fmla="*/ 203 h 654"/>
                <a:gd name="T10" fmla="*/ 116 w 824"/>
                <a:gd name="T11" fmla="*/ 220 h 654"/>
                <a:gd name="T12" fmla="*/ 80 w 824"/>
                <a:gd name="T13" fmla="*/ 194 h 654"/>
                <a:gd name="T14" fmla="*/ 60 w 824"/>
                <a:gd name="T15" fmla="*/ 228 h 654"/>
                <a:gd name="T16" fmla="*/ 21 w 824"/>
                <a:gd name="T17" fmla="*/ 224 h 654"/>
                <a:gd name="T18" fmla="*/ 7 w 824"/>
                <a:gd name="T19" fmla="*/ 252 h 654"/>
                <a:gd name="T20" fmla="*/ 6 w 824"/>
                <a:gd name="T21" fmla="*/ 269 h 654"/>
                <a:gd name="T22" fmla="*/ 26 w 824"/>
                <a:gd name="T23" fmla="*/ 284 h 654"/>
                <a:gd name="T24" fmla="*/ 11 w 824"/>
                <a:gd name="T25" fmla="*/ 323 h 654"/>
                <a:gd name="T26" fmla="*/ 39 w 824"/>
                <a:gd name="T27" fmla="*/ 338 h 654"/>
                <a:gd name="T28" fmla="*/ 13 w 824"/>
                <a:gd name="T29" fmla="*/ 383 h 654"/>
                <a:gd name="T30" fmla="*/ 28 w 824"/>
                <a:gd name="T31" fmla="*/ 435 h 654"/>
                <a:gd name="T32" fmla="*/ 86 w 824"/>
                <a:gd name="T33" fmla="*/ 455 h 654"/>
                <a:gd name="T34" fmla="*/ 114 w 824"/>
                <a:gd name="T35" fmla="*/ 506 h 654"/>
                <a:gd name="T36" fmla="*/ 164 w 824"/>
                <a:gd name="T37" fmla="*/ 527 h 654"/>
                <a:gd name="T38" fmla="*/ 217 w 824"/>
                <a:gd name="T39" fmla="*/ 508 h 654"/>
                <a:gd name="T40" fmla="*/ 252 w 824"/>
                <a:gd name="T41" fmla="*/ 518 h 654"/>
                <a:gd name="T42" fmla="*/ 361 w 824"/>
                <a:gd name="T43" fmla="*/ 506 h 654"/>
                <a:gd name="T44" fmla="*/ 409 w 824"/>
                <a:gd name="T45" fmla="*/ 551 h 654"/>
                <a:gd name="T46" fmla="*/ 460 w 824"/>
                <a:gd name="T47" fmla="*/ 568 h 654"/>
                <a:gd name="T48" fmla="*/ 484 w 824"/>
                <a:gd name="T49" fmla="*/ 558 h 654"/>
                <a:gd name="T50" fmla="*/ 548 w 824"/>
                <a:gd name="T51" fmla="*/ 587 h 654"/>
                <a:gd name="T52" fmla="*/ 589 w 824"/>
                <a:gd name="T53" fmla="*/ 643 h 654"/>
                <a:gd name="T54" fmla="*/ 618 w 824"/>
                <a:gd name="T55" fmla="*/ 652 h 654"/>
                <a:gd name="T56" fmla="*/ 628 w 824"/>
                <a:gd name="T57" fmla="*/ 611 h 654"/>
                <a:gd name="T58" fmla="*/ 658 w 824"/>
                <a:gd name="T59" fmla="*/ 637 h 654"/>
                <a:gd name="T60" fmla="*/ 698 w 824"/>
                <a:gd name="T61" fmla="*/ 632 h 654"/>
                <a:gd name="T62" fmla="*/ 691 w 824"/>
                <a:gd name="T63" fmla="*/ 601 h 654"/>
                <a:gd name="T64" fmla="*/ 735 w 824"/>
                <a:gd name="T65" fmla="*/ 557 h 654"/>
                <a:gd name="T66" fmla="*/ 693 w 824"/>
                <a:gd name="T67" fmla="*/ 468 h 654"/>
                <a:gd name="T68" fmla="*/ 738 w 824"/>
                <a:gd name="T69" fmla="*/ 440 h 654"/>
                <a:gd name="T70" fmla="*/ 779 w 824"/>
                <a:gd name="T71" fmla="*/ 375 h 654"/>
                <a:gd name="T72" fmla="*/ 824 w 824"/>
                <a:gd name="T73" fmla="*/ 291 h 654"/>
                <a:gd name="T74" fmla="*/ 790 w 824"/>
                <a:gd name="T75" fmla="*/ 208 h 654"/>
                <a:gd name="T76" fmla="*/ 730 w 824"/>
                <a:gd name="T77" fmla="*/ 122 h 654"/>
                <a:gd name="T78" fmla="*/ 660 w 824"/>
                <a:gd name="T79" fmla="*/ 138 h 654"/>
                <a:gd name="T80" fmla="*/ 623 w 824"/>
                <a:gd name="T81" fmla="*/ 156 h 654"/>
                <a:gd name="T82" fmla="*/ 527 w 824"/>
                <a:gd name="T83" fmla="*/ 158 h 654"/>
                <a:gd name="T84" fmla="*/ 475 w 824"/>
                <a:gd name="T85" fmla="*/ 156 h 654"/>
                <a:gd name="T86" fmla="*/ 514 w 824"/>
                <a:gd name="T87" fmla="*/ 83 h 654"/>
                <a:gd name="T88" fmla="*/ 456 w 824"/>
                <a:gd name="T89" fmla="*/ 28 h 654"/>
                <a:gd name="T90" fmla="*/ 358 w 824"/>
                <a:gd name="T91" fmla="*/ 0 h 65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824"/>
                <a:gd name="T139" fmla="*/ 0 h 654"/>
                <a:gd name="T140" fmla="*/ 824 w 824"/>
                <a:gd name="T141" fmla="*/ 654 h 65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824" h="654">
                  <a:moveTo>
                    <a:pt x="358" y="0"/>
                  </a:moveTo>
                  <a:lnTo>
                    <a:pt x="324" y="31"/>
                  </a:lnTo>
                  <a:lnTo>
                    <a:pt x="248" y="38"/>
                  </a:lnTo>
                  <a:lnTo>
                    <a:pt x="245" y="43"/>
                  </a:lnTo>
                  <a:lnTo>
                    <a:pt x="252" y="58"/>
                  </a:lnTo>
                  <a:lnTo>
                    <a:pt x="228" y="78"/>
                  </a:lnTo>
                  <a:lnTo>
                    <a:pt x="233" y="127"/>
                  </a:lnTo>
                  <a:lnTo>
                    <a:pt x="213" y="130"/>
                  </a:lnTo>
                  <a:lnTo>
                    <a:pt x="200" y="179"/>
                  </a:lnTo>
                  <a:lnTo>
                    <a:pt x="177" y="203"/>
                  </a:lnTo>
                  <a:lnTo>
                    <a:pt x="146" y="203"/>
                  </a:lnTo>
                  <a:lnTo>
                    <a:pt x="116" y="220"/>
                  </a:lnTo>
                  <a:lnTo>
                    <a:pt x="99" y="201"/>
                  </a:lnTo>
                  <a:lnTo>
                    <a:pt x="80" y="194"/>
                  </a:lnTo>
                  <a:lnTo>
                    <a:pt x="60" y="207"/>
                  </a:lnTo>
                  <a:lnTo>
                    <a:pt x="60" y="228"/>
                  </a:lnTo>
                  <a:lnTo>
                    <a:pt x="45" y="239"/>
                  </a:lnTo>
                  <a:lnTo>
                    <a:pt x="21" y="224"/>
                  </a:lnTo>
                  <a:lnTo>
                    <a:pt x="6" y="235"/>
                  </a:lnTo>
                  <a:lnTo>
                    <a:pt x="7" y="252"/>
                  </a:lnTo>
                  <a:lnTo>
                    <a:pt x="0" y="267"/>
                  </a:lnTo>
                  <a:lnTo>
                    <a:pt x="6" y="269"/>
                  </a:lnTo>
                  <a:lnTo>
                    <a:pt x="28" y="269"/>
                  </a:lnTo>
                  <a:lnTo>
                    <a:pt x="26" y="284"/>
                  </a:lnTo>
                  <a:lnTo>
                    <a:pt x="11" y="310"/>
                  </a:lnTo>
                  <a:lnTo>
                    <a:pt x="11" y="323"/>
                  </a:lnTo>
                  <a:lnTo>
                    <a:pt x="26" y="323"/>
                  </a:lnTo>
                  <a:lnTo>
                    <a:pt x="39" y="338"/>
                  </a:lnTo>
                  <a:lnTo>
                    <a:pt x="43" y="353"/>
                  </a:lnTo>
                  <a:lnTo>
                    <a:pt x="13" y="383"/>
                  </a:lnTo>
                  <a:lnTo>
                    <a:pt x="28" y="418"/>
                  </a:lnTo>
                  <a:lnTo>
                    <a:pt x="28" y="435"/>
                  </a:lnTo>
                  <a:lnTo>
                    <a:pt x="52" y="452"/>
                  </a:lnTo>
                  <a:lnTo>
                    <a:pt x="86" y="455"/>
                  </a:lnTo>
                  <a:lnTo>
                    <a:pt x="108" y="474"/>
                  </a:lnTo>
                  <a:lnTo>
                    <a:pt x="114" y="506"/>
                  </a:lnTo>
                  <a:lnTo>
                    <a:pt x="138" y="534"/>
                  </a:lnTo>
                  <a:lnTo>
                    <a:pt x="164" y="527"/>
                  </a:lnTo>
                  <a:lnTo>
                    <a:pt x="176" y="503"/>
                  </a:lnTo>
                  <a:lnTo>
                    <a:pt x="217" y="508"/>
                  </a:lnTo>
                  <a:lnTo>
                    <a:pt x="226" y="518"/>
                  </a:lnTo>
                  <a:lnTo>
                    <a:pt x="252" y="518"/>
                  </a:lnTo>
                  <a:lnTo>
                    <a:pt x="265" y="503"/>
                  </a:lnTo>
                  <a:lnTo>
                    <a:pt x="361" y="506"/>
                  </a:lnTo>
                  <a:lnTo>
                    <a:pt x="383" y="540"/>
                  </a:lnTo>
                  <a:lnTo>
                    <a:pt x="409" y="551"/>
                  </a:lnTo>
                  <a:lnTo>
                    <a:pt x="432" y="572"/>
                  </a:lnTo>
                  <a:lnTo>
                    <a:pt x="460" y="568"/>
                  </a:lnTo>
                  <a:lnTo>
                    <a:pt x="467" y="558"/>
                  </a:lnTo>
                  <a:lnTo>
                    <a:pt x="484" y="558"/>
                  </a:lnTo>
                  <a:lnTo>
                    <a:pt x="505" y="585"/>
                  </a:lnTo>
                  <a:lnTo>
                    <a:pt x="548" y="587"/>
                  </a:lnTo>
                  <a:lnTo>
                    <a:pt x="559" y="601"/>
                  </a:lnTo>
                  <a:lnTo>
                    <a:pt x="589" y="643"/>
                  </a:lnTo>
                  <a:lnTo>
                    <a:pt x="602" y="654"/>
                  </a:lnTo>
                  <a:lnTo>
                    <a:pt x="618" y="652"/>
                  </a:lnTo>
                  <a:lnTo>
                    <a:pt x="621" y="615"/>
                  </a:lnTo>
                  <a:lnTo>
                    <a:pt x="628" y="611"/>
                  </a:lnTo>
                  <a:lnTo>
                    <a:pt x="639" y="613"/>
                  </a:lnTo>
                  <a:lnTo>
                    <a:pt x="658" y="637"/>
                  </a:lnTo>
                  <a:lnTo>
                    <a:pt x="671" y="643"/>
                  </a:lnTo>
                  <a:lnTo>
                    <a:pt x="698" y="632"/>
                  </a:lnTo>
                  <a:lnTo>
                    <a:pt x="693" y="627"/>
                  </a:lnTo>
                  <a:lnTo>
                    <a:pt x="691" y="601"/>
                  </a:lnTo>
                  <a:lnTo>
                    <a:pt x="743" y="585"/>
                  </a:lnTo>
                  <a:lnTo>
                    <a:pt x="735" y="557"/>
                  </a:lnTo>
                  <a:lnTo>
                    <a:pt x="727" y="515"/>
                  </a:lnTo>
                  <a:lnTo>
                    <a:pt x="693" y="468"/>
                  </a:lnTo>
                  <a:lnTo>
                    <a:pt x="686" y="440"/>
                  </a:lnTo>
                  <a:lnTo>
                    <a:pt x="738" y="440"/>
                  </a:lnTo>
                  <a:lnTo>
                    <a:pt x="774" y="413"/>
                  </a:lnTo>
                  <a:lnTo>
                    <a:pt x="779" y="375"/>
                  </a:lnTo>
                  <a:lnTo>
                    <a:pt x="756" y="348"/>
                  </a:lnTo>
                  <a:lnTo>
                    <a:pt x="824" y="291"/>
                  </a:lnTo>
                  <a:lnTo>
                    <a:pt x="824" y="244"/>
                  </a:lnTo>
                  <a:lnTo>
                    <a:pt x="790" y="208"/>
                  </a:lnTo>
                  <a:lnTo>
                    <a:pt x="777" y="166"/>
                  </a:lnTo>
                  <a:lnTo>
                    <a:pt x="730" y="122"/>
                  </a:lnTo>
                  <a:lnTo>
                    <a:pt x="665" y="158"/>
                  </a:lnTo>
                  <a:lnTo>
                    <a:pt x="660" y="138"/>
                  </a:lnTo>
                  <a:lnTo>
                    <a:pt x="631" y="135"/>
                  </a:lnTo>
                  <a:lnTo>
                    <a:pt x="623" y="156"/>
                  </a:lnTo>
                  <a:lnTo>
                    <a:pt x="597" y="161"/>
                  </a:lnTo>
                  <a:lnTo>
                    <a:pt x="527" y="158"/>
                  </a:lnTo>
                  <a:lnTo>
                    <a:pt x="498" y="177"/>
                  </a:lnTo>
                  <a:lnTo>
                    <a:pt x="475" y="156"/>
                  </a:lnTo>
                  <a:lnTo>
                    <a:pt x="516" y="127"/>
                  </a:lnTo>
                  <a:lnTo>
                    <a:pt x="514" y="83"/>
                  </a:lnTo>
                  <a:lnTo>
                    <a:pt x="483" y="67"/>
                  </a:lnTo>
                  <a:lnTo>
                    <a:pt x="456" y="28"/>
                  </a:lnTo>
                  <a:lnTo>
                    <a:pt x="386" y="23"/>
                  </a:lnTo>
                  <a:lnTo>
                    <a:pt x="358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45</a:t>
              </a:r>
            </a:p>
          </p:txBody>
        </p:sp>
        <p:sp>
          <p:nvSpPr>
            <p:cNvPr id="170" name="FR-36">
              <a:extLst>
                <a:ext uri="{FF2B5EF4-FFF2-40B4-BE49-F238E27FC236}">
                  <a16:creationId xmlns:a16="http://schemas.microsoft.com/office/drawing/2014/main" id="{1E7029FA-CCD2-48CF-8BA2-901474F89B5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768028" y="2744929"/>
              <a:ext cx="663588" cy="662798"/>
            </a:xfrm>
            <a:custGeom>
              <a:avLst/>
              <a:gdLst>
                <a:gd name="T0" fmla="*/ 418 w 683"/>
                <a:gd name="T1" fmla="*/ 5 h 700"/>
                <a:gd name="T2" fmla="*/ 345 w 683"/>
                <a:gd name="T3" fmla="*/ 17 h 700"/>
                <a:gd name="T4" fmla="*/ 332 w 683"/>
                <a:gd name="T5" fmla="*/ 30 h 700"/>
                <a:gd name="T6" fmla="*/ 264 w 683"/>
                <a:gd name="T7" fmla="*/ 50 h 700"/>
                <a:gd name="T8" fmla="*/ 234 w 683"/>
                <a:gd name="T9" fmla="*/ 67 h 700"/>
                <a:gd name="T10" fmla="*/ 249 w 683"/>
                <a:gd name="T11" fmla="*/ 120 h 700"/>
                <a:gd name="T12" fmla="*/ 225 w 683"/>
                <a:gd name="T13" fmla="*/ 142 h 700"/>
                <a:gd name="T14" fmla="*/ 186 w 683"/>
                <a:gd name="T15" fmla="*/ 192 h 700"/>
                <a:gd name="T16" fmla="*/ 139 w 683"/>
                <a:gd name="T17" fmla="*/ 170 h 700"/>
                <a:gd name="T18" fmla="*/ 88 w 683"/>
                <a:gd name="T19" fmla="*/ 232 h 700"/>
                <a:gd name="T20" fmla="*/ 55 w 683"/>
                <a:gd name="T21" fmla="*/ 375 h 700"/>
                <a:gd name="T22" fmla="*/ 4 w 683"/>
                <a:gd name="T23" fmla="*/ 404 h 700"/>
                <a:gd name="T24" fmla="*/ 11 w 683"/>
                <a:gd name="T25" fmla="*/ 460 h 700"/>
                <a:gd name="T26" fmla="*/ 50 w 683"/>
                <a:gd name="T27" fmla="*/ 530 h 700"/>
                <a:gd name="T28" fmla="*/ 117 w 683"/>
                <a:gd name="T29" fmla="*/ 562 h 700"/>
                <a:gd name="T30" fmla="*/ 161 w 683"/>
                <a:gd name="T31" fmla="*/ 632 h 700"/>
                <a:gd name="T32" fmla="*/ 136 w 683"/>
                <a:gd name="T33" fmla="*/ 675 h 700"/>
                <a:gd name="T34" fmla="*/ 208 w 683"/>
                <a:gd name="T35" fmla="*/ 681 h 700"/>
                <a:gd name="T36" fmla="*/ 273 w 683"/>
                <a:gd name="T37" fmla="*/ 700 h 700"/>
                <a:gd name="T38" fmla="*/ 349 w 683"/>
                <a:gd name="T39" fmla="*/ 655 h 700"/>
                <a:gd name="T40" fmla="*/ 391 w 683"/>
                <a:gd name="T41" fmla="*/ 658 h 700"/>
                <a:gd name="T42" fmla="*/ 453 w 683"/>
                <a:gd name="T43" fmla="*/ 619 h 700"/>
                <a:gd name="T44" fmla="*/ 633 w 683"/>
                <a:gd name="T45" fmla="*/ 647 h 700"/>
                <a:gd name="T46" fmla="*/ 657 w 683"/>
                <a:gd name="T47" fmla="*/ 624 h 700"/>
                <a:gd name="T48" fmla="*/ 678 w 683"/>
                <a:gd name="T49" fmla="*/ 575 h 700"/>
                <a:gd name="T50" fmla="*/ 668 w 683"/>
                <a:gd name="T51" fmla="*/ 535 h 700"/>
                <a:gd name="T52" fmla="*/ 679 w 683"/>
                <a:gd name="T53" fmla="*/ 490 h 700"/>
                <a:gd name="T54" fmla="*/ 659 w 683"/>
                <a:gd name="T55" fmla="*/ 462 h 700"/>
                <a:gd name="T56" fmla="*/ 616 w 683"/>
                <a:gd name="T57" fmla="*/ 417 h 700"/>
                <a:gd name="T58" fmla="*/ 642 w 683"/>
                <a:gd name="T59" fmla="*/ 379 h 700"/>
                <a:gd name="T60" fmla="*/ 618 w 683"/>
                <a:gd name="T61" fmla="*/ 344 h 700"/>
                <a:gd name="T62" fmla="*/ 629 w 683"/>
                <a:gd name="T63" fmla="*/ 321 h 700"/>
                <a:gd name="T64" fmla="*/ 657 w 683"/>
                <a:gd name="T65" fmla="*/ 280 h 700"/>
                <a:gd name="T66" fmla="*/ 631 w 683"/>
                <a:gd name="T67" fmla="*/ 269 h 700"/>
                <a:gd name="T68" fmla="*/ 616 w 683"/>
                <a:gd name="T69" fmla="*/ 243 h 700"/>
                <a:gd name="T70" fmla="*/ 629 w 683"/>
                <a:gd name="T71" fmla="*/ 204 h 700"/>
                <a:gd name="T72" fmla="*/ 605 w 683"/>
                <a:gd name="T73" fmla="*/ 129 h 700"/>
                <a:gd name="T74" fmla="*/ 552 w 683"/>
                <a:gd name="T75" fmla="*/ 117 h 700"/>
                <a:gd name="T76" fmla="*/ 487 w 683"/>
                <a:gd name="T77" fmla="*/ 123 h 700"/>
                <a:gd name="T78" fmla="*/ 464 w 683"/>
                <a:gd name="T79" fmla="*/ 97 h 700"/>
                <a:gd name="T80" fmla="*/ 496 w 683"/>
                <a:gd name="T81" fmla="*/ 43 h 700"/>
                <a:gd name="T82" fmla="*/ 434 w 683"/>
                <a:gd name="T83" fmla="*/ 0 h 70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683"/>
                <a:gd name="T127" fmla="*/ 0 h 700"/>
                <a:gd name="T128" fmla="*/ 683 w 683"/>
                <a:gd name="T129" fmla="*/ 700 h 70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683" h="700">
                  <a:moveTo>
                    <a:pt x="434" y="0"/>
                  </a:moveTo>
                  <a:lnTo>
                    <a:pt x="418" y="5"/>
                  </a:lnTo>
                  <a:lnTo>
                    <a:pt x="384" y="3"/>
                  </a:lnTo>
                  <a:lnTo>
                    <a:pt x="345" y="17"/>
                  </a:lnTo>
                  <a:lnTo>
                    <a:pt x="336" y="37"/>
                  </a:lnTo>
                  <a:lnTo>
                    <a:pt x="332" y="30"/>
                  </a:lnTo>
                  <a:lnTo>
                    <a:pt x="287" y="32"/>
                  </a:lnTo>
                  <a:lnTo>
                    <a:pt x="264" y="50"/>
                  </a:lnTo>
                  <a:lnTo>
                    <a:pt x="238" y="54"/>
                  </a:lnTo>
                  <a:lnTo>
                    <a:pt x="234" y="67"/>
                  </a:lnTo>
                  <a:lnTo>
                    <a:pt x="255" y="95"/>
                  </a:lnTo>
                  <a:lnTo>
                    <a:pt x="249" y="120"/>
                  </a:lnTo>
                  <a:lnTo>
                    <a:pt x="225" y="121"/>
                  </a:lnTo>
                  <a:lnTo>
                    <a:pt x="225" y="142"/>
                  </a:lnTo>
                  <a:lnTo>
                    <a:pt x="206" y="159"/>
                  </a:lnTo>
                  <a:lnTo>
                    <a:pt x="186" y="192"/>
                  </a:lnTo>
                  <a:lnTo>
                    <a:pt x="167" y="175"/>
                  </a:lnTo>
                  <a:lnTo>
                    <a:pt x="139" y="170"/>
                  </a:lnTo>
                  <a:lnTo>
                    <a:pt x="98" y="185"/>
                  </a:lnTo>
                  <a:lnTo>
                    <a:pt x="88" y="232"/>
                  </a:lnTo>
                  <a:lnTo>
                    <a:pt x="76" y="269"/>
                  </a:lnTo>
                  <a:lnTo>
                    <a:pt x="55" y="375"/>
                  </a:lnTo>
                  <a:lnTo>
                    <a:pt x="27" y="402"/>
                  </a:lnTo>
                  <a:lnTo>
                    <a:pt x="4" y="404"/>
                  </a:lnTo>
                  <a:lnTo>
                    <a:pt x="11" y="410"/>
                  </a:lnTo>
                  <a:lnTo>
                    <a:pt x="11" y="460"/>
                  </a:lnTo>
                  <a:lnTo>
                    <a:pt x="0" y="491"/>
                  </a:lnTo>
                  <a:lnTo>
                    <a:pt x="50" y="530"/>
                  </a:lnTo>
                  <a:lnTo>
                    <a:pt x="76" y="556"/>
                  </a:lnTo>
                  <a:lnTo>
                    <a:pt x="117" y="562"/>
                  </a:lnTo>
                  <a:lnTo>
                    <a:pt x="133" y="616"/>
                  </a:lnTo>
                  <a:lnTo>
                    <a:pt x="161" y="632"/>
                  </a:lnTo>
                  <a:lnTo>
                    <a:pt x="156" y="671"/>
                  </a:lnTo>
                  <a:lnTo>
                    <a:pt x="136" y="675"/>
                  </a:lnTo>
                  <a:lnTo>
                    <a:pt x="143" y="676"/>
                  </a:lnTo>
                  <a:lnTo>
                    <a:pt x="208" y="681"/>
                  </a:lnTo>
                  <a:lnTo>
                    <a:pt x="232" y="658"/>
                  </a:lnTo>
                  <a:lnTo>
                    <a:pt x="273" y="700"/>
                  </a:lnTo>
                  <a:lnTo>
                    <a:pt x="326" y="640"/>
                  </a:lnTo>
                  <a:lnTo>
                    <a:pt x="349" y="655"/>
                  </a:lnTo>
                  <a:lnTo>
                    <a:pt x="380" y="652"/>
                  </a:lnTo>
                  <a:lnTo>
                    <a:pt x="391" y="658"/>
                  </a:lnTo>
                  <a:lnTo>
                    <a:pt x="438" y="660"/>
                  </a:lnTo>
                  <a:lnTo>
                    <a:pt x="453" y="619"/>
                  </a:lnTo>
                  <a:lnTo>
                    <a:pt x="583" y="635"/>
                  </a:lnTo>
                  <a:lnTo>
                    <a:pt x="633" y="647"/>
                  </a:lnTo>
                  <a:lnTo>
                    <a:pt x="656" y="645"/>
                  </a:lnTo>
                  <a:lnTo>
                    <a:pt x="657" y="624"/>
                  </a:lnTo>
                  <a:lnTo>
                    <a:pt x="683" y="598"/>
                  </a:lnTo>
                  <a:lnTo>
                    <a:pt x="678" y="575"/>
                  </a:lnTo>
                  <a:lnTo>
                    <a:pt x="663" y="546"/>
                  </a:lnTo>
                  <a:lnTo>
                    <a:pt x="668" y="535"/>
                  </a:lnTo>
                  <a:lnTo>
                    <a:pt x="670" y="501"/>
                  </a:lnTo>
                  <a:lnTo>
                    <a:pt x="679" y="490"/>
                  </a:lnTo>
                  <a:lnTo>
                    <a:pt x="681" y="482"/>
                  </a:lnTo>
                  <a:lnTo>
                    <a:pt x="659" y="462"/>
                  </a:lnTo>
                  <a:lnTo>
                    <a:pt x="651" y="435"/>
                  </a:lnTo>
                  <a:lnTo>
                    <a:pt x="616" y="417"/>
                  </a:lnTo>
                  <a:lnTo>
                    <a:pt x="616" y="394"/>
                  </a:lnTo>
                  <a:lnTo>
                    <a:pt x="642" y="379"/>
                  </a:lnTo>
                  <a:lnTo>
                    <a:pt x="642" y="364"/>
                  </a:lnTo>
                  <a:lnTo>
                    <a:pt x="618" y="344"/>
                  </a:lnTo>
                  <a:lnTo>
                    <a:pt x="610" y="331"/>
                  </a:lnTo>
                  <a:lnTo>
                    <a:pt x="629" y="321"/>
                  </a:lnTo>
                  <a:lnTo>
                    <a:pt x="627" y="305"/>
                  </a:lnTo>
                  <a:lnTo>
                    <a:pt x="657" y="280"/>
                  </a:lnTo>
                  <a:lnTo>
                    <a:pt x="655" y="269"/>
                  </a:lnTo>
                  <a:lnTo>
                    <a:pt x="631" y="269"/>
                  </a:lnTo>
                  <a:lnTo>
                    <a:pt x="616" y="252"/>
                  </a:lnTo>
                  <a:lnTo>
                    <a:pt x="616" y="243"/>
                  </a:lnTo>
                  <a:lnTo>
                    <a:pt x="629" y="220"/>
                  </a:lnTo>
                  <a:lnTo>
                    <a:pt x="629" y="204"/>
                  </a:lnTo>
                  <a:lnTo>
                    <a:pt x="599" y="164"/>
                  </a:lnTo>
                  <a:lnTo>
                    <a:pt x="605" y="129"/>
                  </a:lnTo>
                  <a:lnTo>
                    <a:pt x="588" y="116"/>
                  </a:lnTo>
                  <a:lnTo>
                    <a:pt x="552" y="117"/>
                  </a:lnTo>
                  <a:lnTo>
                    <a:pt x="524" y="129"/>
                  </a:lnTo>
                  <a:lnTo>
                    <a:pt x="487" y="123"/>
                  </a:lnTo>
                  <a:lnTo>
                    <a:pt x="468" y="108"/>
                  </a:lnTo>
                  <a:lnTo>
                    <a:pt x="464" y="97"/>
                  </a:lnTo>
                  <a:lnTo>
                    <a:pt x="494" y="72"/>
                  </a:lnTo>
                  <a:lnTo>
                    <a:pt x="496" y="43"/>
                  </a:lnTo>
                  <a:lnTo>
                    <a:pt x="457" y="20"/>
                  </a:lnTo>
                  <a:lnTo>
                    <a:pt x="434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36</a:t>
              </a:r>
            </a:p>
          </p:txBody>
        </p:sp>
        <p:sp>
          <p:nvSpPr>
            <p:cNvPr id="171" name="FR-41">
              <a:extLst>
                <a:ext uri="{FF2B5EF4-FFF2-40B4-BE49-F238E27FC236}">
                  <a16:creationId xmlns:a16="http://schemas.microsoft.com/office/drawing/2014/main" id="{6445BE54-DBAF-47AB-82B8-4039817DD90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631035" y="2123793"/>
              <a:ext cx="828757" cy="673213"/>
            </a:xfrm>
            <a:custGeom>
              <a:avLst/>
              <a:gdLst>
                <a:gd name="T0" fmla="*/ 128 w 853"/>
                <a:gd name="T1" fmla="*/ 22 h 711"/>
                <a:gd name="T2" fmla="*/ 133 w 853"/>
                <a:gd name="T3" fmla="*/ 82 h 711"/>
                <a:gd name="T4" fmla="*/ 120 w 853"/>
                <a:gd name="T5" fmla="*/ 173 h 711"/>
                <a:gd name="T6" fmla="*/ 94 w 853"/>
                <a:gd name="T7" fmla="*/ 223 h 711"/>
                <a:gd name="T8" fmla="*/ 19 w 853"/>
                <a:gd name="T9" fmla="*/ 285 h 711"/>
                <a:gd name="T10" fmla="*/ 8 w 853"/>
                <a:gd name="T11" fmla="*/ 328 h 711"/>
                <a:gd name="T12" fmla="*/ 145 w 853"/>
                <a:gd name="T13" fmla="*/ 342 h 711"/>
                <a:gd name="T14" fmla="*/ 125 w 853"/>
                <a:gd name="T15" fmla="*/ 361 h 711"/>
                <a:gd name="T16" fmla="*/ 145 w 853"/>
                <a:gd name="T17" fmla="*/ 398 h 711"/>
                <a:gd name="T18" fmla="*/ 179 w 853"/>
                <a:gd name="T19" fmla="*/ 379 h 711"/>
                <a:gd name="T20" fmla="*/ 235 w 853"/>
                <a:gd name="T21" fmla="*/ 403 h 711"/>
                <a:gd name="T22" fmla="*/ 259 w 853"/>
                <a:gd name="T23" fmla="*/ 525 h 711"/>
                <a:gd name="T24" fmla="*/ 274 w 853"/>
                <a:gd name="T25" fmla="*/ 641 h 711"/>
                <a:gd name="T26" fmla="*/ 364 w 853"/>
                <a:gd name="T27" fmla="*/ 699 h 711"/>
                <a:gd name="T28" fmla="*/ 379 w 853"/>
                <a:gd name="T29" fmla="*/ 710 h 711"/>
                <a:gd name="T30" fmla="*/ 428 w 853"/>
                <a:gd name="T31" fmla="*/ 688 h 711"/>
                <a:gd name="T32" fmla="*/ 477 w 853"/>
                <a:gd name="T33" fmla="*/ 693 h 711"/>
                <a:gd name="T34" fmla="*/ 525 w 853"/>
                <a:gd name="T35" fmla="*/ 659 h 711"/>
                <a:gd name="T36" fmla="*/ 575 w 853"/>
                <a:gd name="T37" fmla="*/ 656 h 711"/>
                <a:gd name="T38" fmla="*/ 637 w 853"/>
                <a:gd name="T39" fmla="*/ 699 h 711"/>
                <a:gd name="T40" fmla="*/ 669 w 853"/>
                <a:gd name="T41" fmla="*/ 663 h 711"/>
                <a:gd name="T42" fmla="*/ 699 w 853"/>
                <a:gd name="T43" fmla="*/ 645 h 711"/>
                <a:gd name="T44" fmla="*/ 764 w 853"/>
                <a:gd name="T45" fmla="*/ 654 h 711"/>
                <a:gd name="T46" fmla="*/ 794 w 853"/>
                <a:gd name="T47" fmla="*/ 622 h 711"/>
                <a:gd name="T48" fmla="*/ 787 w 853"/>
                <a:gd name="T49" fmla="*/ 586 h 711"/>
                <a:gd name="T50" fmla="*/ 843 w 853"/>
                <a:gd name="T51" fmla="*/ 528 h 711"/>
                <a:gd name="T52" fmla="*/ 850 w 853"/>
                <a:gd name="T53" fmla="*/ 484 h 711"/>
                <a:gd name="T54" fmla="*/ 817 w 853"/>
                <a:gd name="T55" fmla="*/ 448 h 711"/>
                <a:gd name="T56" fmla="*/ 781 w 853"/>
                <a:gd name="T57" fmla="*/ 428 h 711"/>
                <a:gd name="T58" fmla="*/ 853 w 853"/>
                <a:gd name="T59" fmla="*/ 381 h 711"/>
                <a:gd name="T60" fmla="*/ 736 w 853"/>
                <a:gd name="T61" fmla="*/ 346 h 711"/>
                <a:gd name="T62" fmla="*/ 697 w 853"/>
                <a:gd name="T63" fmla="*/ 361 h 711"/>
                <a:gd name="T64" fmla="*/ 647 w 853"/>
                <a:gd name="T65" fmla="*/ 346 h 711"/>
                <a:gd name="T66" fmla="*/ 609 w 853"/>
                <a:gd name="T67" fmla="*/ 377 h 711"/>
                <a:gd name="T68" fmla="*/ 579 w 853"/>
                <a:gd name="T69" fmla="*/ 317 h 711"/>
                <a:gd name="T70" fmla="*/ 523 w 853"/>
                <a:gd name="T71" fmla="*/ 295 h 711"/>
                <a:gd name="T72" fmla="*/ 499 w 853"/>
                <a:gd name="T73" fmla="*/ 261 h 711"/>
                <a:gd name="T74" fmla="*/ 514 w 853"/>
                <a:gd name="T75" fmla="*/ 196 h 711"/>
                <a:gd name="T76" fmla="*/ 497 w 853"/>
                <a:gd name="T77" fmla="*/ 166 h 711"/>
                <a:gd name="T78" fmla="*/ 482 w 853"/>
                <a:gd name="T79" fmla="*/ 153 h 711"/>
                <a:gd name="T80" fmla="*/ 499 w 853"/>
                <a:gd name="T81" fmla="*/ 112 h 711"/>
                <a:gd name="T82" fmla="*/ 443 w 853"/>
                <a:gd name="T83" fmla="*/ 102 h 711"/>
                <a:gd name="T84" fmla="*/ 375 w 853"/>
                <a:gd name="T85" fmla="*/ 136 h 711"/>
                <a:gd name="T86" fmla="*/ 301 w 853"/>
                <a:gd name="T87" fmla="*/ 83 h 711"/>
                <a:gd name="T88" fmla="*/ 265 w 853"/>
                <a:gd name="T89" fmla="*/ 41 h 711"/>
                <a:gd name="T90" fmla="*/ 213 w 853"/>
                <a:gd name="T91" fmla="*/ 29 h 711"/>
                <a:gd name="T92" fmla="*/ 237 w 853"/>
                <a:gd name="T93" fmla="*/ 5 h 711"/>
                <a:gd name="T94" fmla="*/ 172 w 853"/>
                <a:gd name="T95" fmla="*/ 13 h 711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53"/>
                <a:gd name="T145" fmla="*/ 0 h 711"/>
                <a:gd name="T146" fmla="*/ 853 w 853"/>
                <a:gd name="T147" fmla="*/ 711 h 711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53" h="711">
                  <a:moveTo>
                    <a:pt x="146" y="0"/>
                  </a:moveTo>
                  <a:lnTo>
                    <a:pt x="128" y="22"/>
                  </a:lnTo>
                  <a:lnTo>
                    <a:pt x="107" y="58"/>
                  </a:lnTo>
                  <a:lnTo>
                    <a:pt x="133" y="82"/>
                  </a:lnTo>
                  <a:lnTo>
                    <a:pt x="131" y="137"/>
                  </a:lnTo>
                  <a:lnTo>
                    <a:pt x="120" y="173"/>
                  </a:lnTo>
                  <a:lnTo>
                    <a:pt x="94" y="173"/>
                  </a:lnTo>
                  <a:lnTo>
                    <a:pt x="94" y="223"/>
                  </a:lnTo>
                  <a:lnTo>
                    <a:pt x="58" y="270"/>
                  </a:lnTo>
                  <a:lnTo>
                    <a:pt x="19" y="285"/>
                  </a:lnTo>
                  <a:lnTo>
                    <a:pt x="0" y="308"/>
                  </a:lnTo>
                  <a:lnTo>
                    <a:pt x="8" y="328"/>
                  </a:lnTo>
                  <a:lnTo>
                    <a:pt x="134" y="332"/>
                  </a:lnTo>
                  <a:lnTo>
                    <a:pt x="145" y="342"/>
                  </a:lnTo>
                  <a:lnTo>
                    <a:pt x="144" y="351"/>
                  </a:lnTo>
                  <a:lnTo>
                    <a:pt x="125" y="361"/>
                  </a:lnTo>
                  <a:lnTo>
                    <a:pt x="129" y="386"/>
                  </a:lnTo>
                  <a:lnTo>
                    <a:pt x="145" y="398"/>
                  </a:lnTo>
                  <a:lnTo>
                    <a:pt x="172" y="379"/>
                  </a:lnTo>
                  <a:lnTo>
                    <a:pt x="179" y="379"/>
                  </a:lnTo>
                  <a:lnTo>
                    <a:pt x="209" y="401"/>
                  </a:lnTo>
                  <a:lnTo>
                    <a:pt x="235" y="403"/>
                  </a:lnTo>
                  <a:lnTo>
                    <a:pt x="239" y="471"/>
                  </a:lnTo>
                  <a:lnTo>
                    <a:pt x="259" y="525"/>
                  </a:lnTo>
                  <a:lnTo>
                    <a:pt x="259" y="618"/>
                  </a:lnTo>
                  <a:lnTo>
                    <a:pt x="274" y="641"/>
                  </a:lnTo>
                  <a:lnTo>
                    <a:pt x="325" y="641"/>
                  </a:lnTo>
                  <a:lnTo>
                    <a:pt x="364" y="699"/>
                  </a:lnTo>
                  <a:lnTo>
                    <a:pt x="379" y="711"/>
                  </a:lnTo>
                  <a:lnTo>
                    <a:pt x="379" y="710"/>
                  </a:lnTo>
                  <a:lnTo>
                    <a:pt x="405" y="706"/>
                  </a:lnTo>
                  <a:lnTo>
                    <a:pt x="428" y="688"/>
                  </a:lnTo>
                  <a:lnTo>
                    <a:pt x="473" y="686"/>
                  </a:lnTo>
                  <a:lnTo>
                    <a:pt x="477" y="693"/>
                  </a:lnTo>
                  <a:lnTo>
                    <a:pt x="486" y="673"/>
                  </a:lnTo>
                  <a:lnTo>
                    <a:pt x="525" y="659"/>
                  </a:lnTo>
                  <a:lnTo>
                    <a:pt x="559" y="661"/>
                  </a:lnTo>
                  <a:lnTo>
                    <a:pt x="575" y="656"/>
                  </a:lnTo>
                  <a:lnTo>
                    <a:pt x="598" y="676"/>
                  </a:lnTo>
                  <a:lnTo>
                    <a:pt x="637" y="699"/>
                  </a:lnTo>
                  <a:lnTo>
                    <a:pt x="671" y="697"/>
                  </a:lnTo>
                  <a:lnTo>
                    <a:pt x="669" y="663"/>
                  </a:lnTo>
                  <a:lnTo>
                    <a:pt x="684" y="646"/>
                  </a:lnTo>
                  <a:lnTo>
                    <a:pt x="699" y="645"/>
                  </a:lnTo>
                  <a:lnTo>
                    <a:pt x="712" y="659"/>
                  </a:lnTo>
                  <a:lnTo>
                    <a:pt x="764" y="654"/>
                  </a:lnTo>
                  <a:lnTo>
                    <a:pt x="798" y="635"/>
                  </a:lnTo>
                  <a:lnTo>
                    <a:pt x="794" y="622"/>
                  </a:lnTo>
                  <a:lnTo>
                    <a:pt x="785" y="611"/>
                  </a:lnTo>
                  <a:lnTo>
                    <a:pt x="787" y="586"/>
                  </a:lnTo>
                  <a:lnTo>
                    <a:pt x="811" y="542"/>
                  </a:lnTo>
                  <a:lnTo>
                    <a:pt x="843" y="528"/>
                  </a:lnTo>
                  <a:lnTo>
                    <a:pt x="843" y="501"/>
                  </a:lnTo>
                  <a:lnTo>
                    <a:pt x="850" y="484"/>
                  </a:lnTo>
                  <a:lnTo>
                    <a:pt x="830" y="476"/>
                  </a:lnTo>
                  <a:lnTo>
                    <a:pt x="817" y="448"/>
                  </a:lnTo>
                  <a:lnTo>
                    <a:pt x="783" y="439"/>
                  </a:lnTo>
                  <a:lnTo>
                    <a:pt x="781" y="428"/>
                  </a:lnTo>
                  <a:lnTo>
                    <a:pt x="815" y="400"/>
                  </a:lnTo>
                  <a:lnTo>
                    <a:pt x="853" y="381"/>
                  </a:lnTo>
                  <a:lnTo>
                    <a:pt x="832" y="349"/>
                  </a:lnTo>
                  <a:lnTo>
                    <a:pt x="736" y="346"/>
                  </a:lnTo>
                  <a:lnTo>
                    <a:pt x="723" y="361"/>
                  </a:lnTo>
                  <a:lnTo>
                    <a:pt x="697" y="361"/>
                  </a:lnTo>
                  <a:lnTo>
                    <a:pt x="688" y="351"/>
                  </a:lnTo>
                  <a:lnTo>
                    <a:pt x="647" y="346"/>
                  </a:lnTo>
                  <a:lnTo>
                    <a:pt x="635" y="370"/>
                  </a:lnTo>
                  <a:lnTo>
                    <a:pt x="609" y="377"/>
                  </a:lnTo>
                  <a:lnTo>
                    <a:pt x="585" y="349"/>
                  </a:lnTo>
                  <a:lnTo>
                    <a:pt x="579" y="317"/>
                  </a:lnTo>
                  <a:lnTo>
                    <a:pt x="557" y="298"/>
                  </a:lnTo>
                  <a:lnTo>
                    <a:pt x="523" y="295"/>
                  </a:lnTo>
                  <a:lnTo>
                    <a:pt x="499" y="278"/>
                  </a:lnTo>
                  <a:lnTo>
                    <a:pt x="499" y="261"/>
                  </a:lnTo>
                  <a:lnTo>
                    <a:pt x="484" y="226"/>
                  </a:lnTo>
                  <a:lnTo>
                    <a:pt x="514" y="196"/>
                  </a:lnTo>
                  <a:lnTo>
                    <a:pt x="510" y="181"/>
                  </a:lnTo>
                  <a:lnTo>
                    <a:pt x="497" y="166"/>
                  </a:lnTo>
                  <a:lnTo>
                    <a:pt x="482" y="166"/>
                  </a:lnTo>
                  <a:lnTo>
                    <a:pt x="482" y="153"/>
                  </a:lnTo>
                  <a:lnTo>
                    <a:pt x="497" y="127"/>
                  </a:lnTo>
                  <a:lnTo>
                    <a:pt x="499" y="112"/>
                  </a:lnTo>
                  <a:lnTo>
                    <a:pt x="477" y="112"/>
                  </a:lnTo>
                  <a:lnTo>
                    <a:pt x="443" y="102"/>
                  </a:lnTo>
                  <a:lnTo>
                    <a:pt x="411" y="132"/>
                  </a:lnTo>
                  <a:lnTo>
                    <a:pt x="375" y="136"/>
                  </a:lnTo>
                  <a:lnTo>
                    <a:pt x="317" y="121"/>
                  </a:lnTo>
                  <a:lnTo>
                    <a:pt x="301" y="83"/>
                  </a:lnTo>
                  <a:lnTo>
                    <a:pt x="278" y="71"/>
                  </a:lnTo>
                  <a:lnTo>
                    <a:pt x="265" y="41"/>
                  </a:lnTo>
                  <a:lnTo>
                    <a:pt x="228" y="41"/>
                  </a:lnTo>
                  <a:lnTo>
                    <a:pt x="213" y="29"/>
                  </a:lnTo>
                  <a:lnTo>
                    <a:pt x="235" y="16"/>
                  </a:lnTo>
                  <a:lnTo>
                    <a:pt x="237" y="5"/>
                  </a:lnTo>
                  <a:lnTo>
                    <a:pt x="213" y="5"/>
                  </a:lnTo>
                  <a:lnTo>
                    <a:pt x="172" y="13"/>
                  </a:lnTo>
                  <a:lnTo>
                    <a:pt x="146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41</a:t>
              </a:r>
            </a:p>
          </p:txBody>
        </p:sp>
        <p:sp>
          <p:nvSpPr>
            <p:cNvPr id="172" name="FR-18">
              <a:extLst>
                <a:ext uri="{FF2B5EF4-FFF2-40B4-BE49-F238E27FC236}">
                  <a16:creationId xmlns:a16="http://schemas.microsoft.com/office/drawing/2014/main" id="{4F039BBE-509E-411E-B39A-880DA47BB3B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218840" y="2484544"/>
              <a:ext cx="657759" cy="871105"/>
            </a:xfrm>
            <a:custGeom>
              <a:avLst/>
              <a:gdLst>
                <a:gd name="T0" fmla="*/ 210 w 677"/>
                <a:gd name="T1" fmla="*/ 19 h 920"/>
                <a:gd name="T2" fmla="*/ 178 w 677"/>
                <a:gd name="T3" fmla="*/ 58 h 920"/>
                <a:gd name="T4" fmla="*/ 225 w 677"/>
                <a:gd name="T5" fmla="*/ 95 h 920"/>
                <a:gd name="T6" fmla="*/ 238 w 677"/>
                <a:gd name="T7" fmla="*/ 120 h 920"/>
                <a:gd name="T8" fmla="*/ 206 w 677"/>
                <a:gd name="T9" fmla="*/ 161 h 920"/>
                <a:gd name="T10" fmla="*/ 180 w 677"/>
                <a:gd name="T11" fmla="*/ 230 h 920"/>
                <a:gd name="T12" fmla="*/ 193 w 677"/>
                <a:gd name="T13" fmla="*/ 254 h 920"/>
                <a:gd name="T14" fmla="*/ 107 w 677"/>
                <a:gd name="T15" fmla="*/ 278 h 920"/>
                <a:gd name="T16" fmla="*/ 79 w 677"/>
                <a:gd name="T17" fmla="*/ 265 h 920"/>
                <a:gd name="T18" fmla="*/ 66 w 677"/>
                <a:gd name="T19" fmla="*/ 316 h 920"/>
                <a:gd name="T20" fmla="*/ 30 w 677"/>
                <a:gd name="T21" fmla="*/ 347 h 920"/>
                <a:gd name="T22" fmla="*/ 4 w 677"/>
                <a:gd name="T23" fmla="*/ 383 h 920"/>
                <a:gd name="T24" fmla="*/ 60 w 677"/>
                <a:gd name="T25" fmla="*/ 404 h 920"/>
                <a:gd name="T26" fmla="*/ 124 w 677"/>
                <a:gd name="T27" fmla="*/ 391 h 920"/>
                <a:gd name="T28" fmla="*/ 135 w 677"/>
                <a:gd name="T29" fmla="*/ 439 h 920"/>
                <a:gd name="T30" fmla="*/ 165 w 677"/>
                <a:gd name="T31" fmla="*/ 495 h 920"/>
                <a:gd name="T32" fmla="*/ 152 w 677"/>
                <a:gd name="T33" fmla="*/ 527 h 920"/>
                <a:gd name="T34" fmla="*/ 191 w 677"/>
                <a:gd name="T35" fmla="*/ 544 h 920"/>
                <a:gd name="T36" fmla="*/ 163 w 677"/>
                <a:gd name="T37" fmla="*/ 580 h 920"/>
                <a:gd name="T38" fmla="*/ 146 w 677"/>
                <a:gd name="T39" fmla="*/ 606 h 920"/>
                <a:gd name="T40" fmla="*/ 178 w 677"/>
                <a:gd name="T41" fmla="*/ 639 h 920"/>
                <a:gd name="T42" fmla="*/ 152 w 677"/>
                <a:gd name="T43" fmla="*/ 669 h 920"/>
                <a:gd name="T44" fmla="*/ 187 w 677"/>
                <a:gd name="T45" fmla="*/ 710 h 920"/>
                <a:gd name="T46" fmla="*/ 217 w 677"/>
                <a:gd name="T47" fmla="*/ 757 h 920"/>
                <a:gd name="T48" fmla="*/ 206 w 677"/>
                <a:gd name="T49" fmla="*/ 776 h 920"/>
                <a:gd name="T50" fmla="*/ 199 w 677"/>
                <a:gd name="T51" fmla="*/ 821 h 920"/>
                <a:gd name="T52" fmla="*/ 219 w 677"/>
                <a:gd name="T53" fmla="*/ 873 h 920"/>
                <a:gd name="T54" fmla="*/ 192 w 677"/>
                <a:gd name="T55" fmla="*/ 920 h 920"/>
                <a:gd name="T56" fmla="*/ 265 w 677"/>
                <a:gd name="T57" fmla="*/ 886 h 920"/>
                <a:gd name="T58" fmla="*/ 364 w 677"/>
                <a:gd name="T59" fmla="*/ 834 h 920"/>
                <a:gd name="T60" fmla="*/ 434 w 677"/>
                <a:gd name="T61" fmla="*/ 816 h 920"/>
                <a:gd name="T62" fmla="*/ 419 w 677"/>
                <a:gd name="T63" fmla="*/ 785 h 920"/>
                <a:gd name="T64" fmla="*/ 489 w 677"/>
                <a:gd name="T65" fmla="*/ 672 h 920"/>
                <a:gd name="T66" fmla="*/ 539 w 677"/>
                <a:gd name="T67" fmla="*/ 677 h 920"/>
                <a:gd name="T68" fmla="*/ 596 w 677"/>
                <a:gd name="T69" fmla="*/ 628 h 920"/>
                <a:gd name="T70" fmla="*/ 657 w 677"/>
                <a:gd name="T71" fmla="*/ 647 h 920"/>
                <a:gd name="T72" fmla="*/ 664 w 677"/>
                <a:gd name="T73" fmla="*/ 560 h 920"/>
                <a:gd name="T74" fmla="*/ 674 w 677"/>
                <a:gd name="T75" fmla="*/ 459 h 920"/>
                <a:gd name="T76" fmla="*/ 651 w 677"/>
                <a:gd name="T77" fmla="*/ 368 h 920"/>
                <a:gd name="T78" fmla="*/ 622 w 677"/>
                <a:gd name="T79" fmla="*/ 277 h 920"/>
                <a:gd name="T80" fmla="*/ 567 w 677"/>
                <a:gd name="T81" fmla="*/ 209 h 920"/>
                <a:gd name="T82" fmla="*/ 591 w 677"/>
                <a:gd name="T83" fmla="*/ 125 h 920"/>
                <a:gd name="T84" fmla="*/ 537 w 677"/>
                <a:gd name="T85" fmla="*/ 105 h 920"/>
                <a:gd name="T86" fmla="*/ 505 w 677"/>
                <a:gd name="T87" fmla="*/ 75 h 920"/>
                <a:gd name="T88" fmla="*/ 487 w 677"/>
                <a:gd name="T89" fmla="*/ 77 h 920"/>
                <a:gd name="T90" fmla="*/ 468 w 677"/>
                <a:gd name="T91" fmla="*/ 116 h 920"/>
                <a:gd name="T92" fmla="*/ 425 w 677"/>
                <a:gd name="T93" fmla="*/ 63 h 920"/>
                <a:gd name="T94" fmla="*/ 371 w 677"/>
                <a:gd name="T95" fmla="*/ 47 h 920"/>
                <a:gd name="T96" fmla="*/ 333 w 677"/>
                <a:gd name="T97" fmla="*/ 20 h 920"/>
                <a:gd name="T98" fmla="*/ 298 w 677"/>
                <a:gd name="T99" fmla="*/ 34 h 920"/>
                <a:gd name="T100" fmla="*/ 249 w 677"/>
                <a:gd name="T101" fmla="*/ 2 h 92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77"/>
                <a:gd name="T154" fmla="*/ 0 h 920"/>
                <a:gd name="T155" fmla="*/ 677 w 677"/>
                <a:gd name="T156" fmla="*/ 920 h 92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77" h="920">
                  <a:moveTo>
                    <a:pt x="248" y="0"/>
                  </a:moveTo>
                  <a:lnTo>
                    <a:pt x="210" y="19"/>
                  </a:lnTo>
                  <a:lnTo>
                    <a:pt x="176" y="47"/>
                  </a:lnTo>
                  <a:lnTo>
                    <a:pt x="178" y="58"/>
                  </a:lnTo>
                  <a:lnTo>
                    <a:pt x="212" y="67"/>
                  </a:lnTo>
                  <a:lnTo>
                    <a:pt x="225" y="95"/>
                  </a:lnTo>
                  <a:lnTo>
                    <a:pt x="245" y="103"/>
                  </a:lnTo>
                  <a:lnTo>
                    <a:pt x="238" y="120"/>
                  </a:lnTo>
                  <a:lnTo>
                    <a:pt x="238" y="147"/>
                  </a:lnTo>
                  <a:lnTo>
                    <a:pt x="206" y="161"/>
                  </a:lnTo>
                  <a:lnTo>
                    <a:pt x="182" y="205"/>
                  </a:lnTo>
                  <a:lnTo>
                    <a:pt x="180" y="230"/>
                  </a:lnTo>
                  <a:lnTo>
                    <a:pt x="189" y="241"/>
                  </a:lnTo>
                  <a:lnTo>
                    <a:pt x="193" y="254"/>
                  </a:lnTo>
                  <a:lnTo>
                    <a:pt x="159" y="273"/>
                  </a:lnTo>
                  <a:lnTo>
                    <a:pt x="107" y="278"/>
                  </a:lnTo>
                  <a:lnTo>
                    <a:pt x="94" y="264"/>
                  </a:lnTo>
                  <a:lnTo>
                    <a:pt x="79" y="265"/>
                  </a:lnTo>
                  <a:lnTo>
                    <a:pt x="64" y="282"/>
                  </a:lnTo>
                  <a:lnTo>
                    <a:pt x="66" y="316"/>
                  </a:lnTo>
                  <a:lnTo>
                    <a:pt x="32" y="318"/>
                  </a:lnTo>
                  <a:lnTo>
                    <a:pt x="30" y="347"/>
                  </a:lnTo>
                  <a:lnTo>
                    <a:pt x="0" y="372"/>
                  </a:lnTo>
                  <a:lnTo>
                    <a:pt x="4" y="383"/>
                  </a:lnTo>
                  <a:lnTo>
                    <a:pt x="23" y="398"/>
                  </a:lnTo>
                  <a:lnTo>
                    <a:pt x="60" y="404"/>
                  </a:lnTo>
                  <a:lnTo>
                    <a:pt x="88" y="392"/>
                  </a:lnTo>
                  <a:lnTo>
                    <a:pt x="124" y="391"/>
                  </a:lnTo>
                  <a:lnTo>
                    <a:pt x="141" y="404"/>
                  </a:lnTo>
                  <a:lnTo>
                    <a:pt x="135" y="439"/>
                  </a:lnTo>
                  <a:lnTo>
                    <a:pt x="165" y="479"/>
                  </a:lnTo>
                  <a:lnTo>
                    <a:pt x="165" y="495"/>
                  </a:lnTo>
                  <a:lnTo>
                    <a:pt x="152" y="518"/>
                  </a:lnTo>
                  <a:lnTo>
                    <a:pt x="152" y="527"/>
                  </a:lnTo>
                  <a:lnTo>
                    <a:pt x="167" y="544"/>
                  </a:lnTo>
                  <a:lnTo>
                    <a:pt x="191" y="544"/>
                  </a:lnTo>
                  <a:lnTo>
                    <a:pt x="193" y="555"/>
                  </a:lnTo>
                  <a:lnTo>
                    <a:pt x="163" y="580"/>
                  </a:lnTo>
                  <a:lnTo>
                    <a:pt x="165" y="596"/>
                  </a:lnTo>
                  <a:lnTo>
                    <a:pt x="146" y="606"/>
                  </a:lnTo>
                  <a:lnTo>
                    <a:pt x="154" y="619"/>
                  </a:lnTo>
                  <a:lnTo>
                    <a:pt x="178" y="639"/>
                  </a:lnTo>
                  <a:lnTo>
                    <a:pt x="178" y="654"/>
                  </a:lnTo>
                  <a:lnTo>
                    <a:pt x="152" y="669"/>
                  </a:lnTo>
                  <a:lnTo>
                    <a:pt x="152" y="692"/>
                  </a:lnTo>
                  <a:lnTo>
                    <a:pt x="187" y="710"/>
                  </a:lnTo>
                  <a:lnTo>
                    <a:pt x="195" y="737"/>
                  </a:lnTo>
                  <a:lnTo>
                    <a:pt x="217" y="757"/>
                  </a:lnTo>
                  <a:lnTo>
                    <a:pt x="215" y="765"/>
                  </a:lnTo>
                  <a:lnTo>
                    <a:pt x="206" y="776"/>
                  </a:lnTo>
                  <a:lnTo>
                    <a:pt x="204" y="810"/>
                  </a:lnTo>
                  <a:lnTo>
                    <a:pt x="199" y="821"/>
                  </a:lnTo>
                  <a:lnTo>
                    <a:pt x="214" y="850"/>
                  </a:lnTo>
                  <a:lnTo>
                    <a:pt x="219" y="873"/>
                  </a:lnTo>
                  <a:lnTo>
                    <a:pt x="193" y="899"/>
                  </a:lnTo>
                  <a:lnTo>
                    <a:pt x="192" y="920"/>
                  </a:lnTo>
                  <a:lnTo>
                    <a:pt x="253" y="912"/>
                  </a:lnTo>
                  <a:lnTo>
                    <a:pt x="265" y="886"/>
                  </a:lnTo>
                  <a:lnTo>
                    <a:pt x="299" y="847"/>
                  </a:lnTo>
                  <a:lnTo>
                    <a:pt x="364" y="834"/>
                  </a:lnTo>
                  <a:lnTo>
                    <a:pt x="398" y="844"/>
                  </a:lnTo>
                  <a:lnTo>
                    <a:pt x="434" y="816"/>
                  </a:lnTo>
                  <a:lnTo>
                    <a:pt x="432" y="795"/>
                  </a:lnTo>
                  <a:lnTo>
                    <a:pt x="419" y="785"/>
                  </a:lnTo>
                  <a:lnTo>
                    <a:pt x="419" y="743"/>
                  </a:lnTo>
                  <a:lnTo>
                    <a:pt x="489" y="672"/>
                  </a:lnTo>
                  <a:lnTo>
                    <a:pt x="515" y="701"/>
                  </a:lnTo>
                  <a:lnTo>
                    <a:pt x="539" y="677"/>
                  </a:lnTo>
                  <a:lnTo>
                    <a:pt x="559" y="675"/>
                  </a:lnTo>
                  <a:lnTo>
                    <a:pt x="596" y="628"/>
                  </a:lnTo>
                  <a:lnTo>
                    <a:pt x="656" y="633"/>
                  </a:lnTo>
                  <a:lnTo>
                    <a:pt x="657" y="647"/>
                  </a:lnTo>
                  <a:lnTo>
                    <a:pt x="677" y="584"/>
                  </a:lnTo>
                  <a:lnTo>
                    <a:pt x="664" y="560"/>
                  </a:lnTo>
                  <a:lnTo>
                    <a:pt x="666" y="527"/>
                  </a:lnTo>
                  <a:lnTo>
                    <a:pt x="674" y="459"/>
                  </a:lnTo>
                  <a:lnTo>
                    <a:pt x="645" y="430"/>
                  </a:lnTo>
                  <a:lnTo>
                    <a:pt x="651" y="368"/>
                  </a:lnTo>
                  <a:lnTo>
                    <a:pt x="624" y="313"/>
                  </a:lnTo>
                  <a:lnTo>
                    <a:pt x="622" y="277"/>
                  </a:lnTo>
                  <a:lnTo>
                    <a:pt x="575" y="240"/>
                  </a:lnTo>
                  <a:lnTo>
                    <a:pt x="567" y="209"/>
                  </a:lnTo>
                  <a:lnTo>
                    <a:pt x="591" y="175"/>
                  </a:lnTo>
                  <a:lnTo>
                    <a:pt x="591" y="125"/>
                  </a:lnTo>
                  <a:lnTo>
                    <a:pt x="564" y="94"/>
                  </a:lnTo>
                  <a:lnTo>
                    <a:pt x="537" y="105"/>
                  </a:lnTo>
                  <a:lnTo>
                    <a:pt x="524" y="99"/>
                  </a:lnTo>
                  <a:lnTo>
                    <a:pt x="505" y="75"/>
                  </a:lnTo>
                  <a:lnTo>
                    <a:pt x="494" y="73"/>
                  </a:lnTo>
                  <a:lnTo>
                    <a:pt x="487" y="77"/>
                  </a:lnTo>
                  <a:lnTo>
                    <a:pt x="484" y="114"/>
                  </a:lnTo>
                  <a:lnTo>
                    <a:pt x="468" y="116"/>
                  </a:lnTo>
                  <a:lnTo>
                    <a:pt x="455" y="105"/>
                  </a:lnTo>
                  <a:lnTo>
                    <a:pt x="425" y="63"/>
                  </a:lnTo>
                  <a:lnTo>
                    <a:pt x="414" y="49"/>
                  </a:lnTo>
                  <a:lnTo>
                    <a:pt x="371" y="47"/>
                  </a:lnTo>
                  <a:lnTo>
                    <a:pt x="350" y="20"/>
                  </a:lnTo>
                  <a:lnTo>
                    <a:pt x="333" y="20"/>
                  </a:lnTo>
                  <a:lnTo>
                    <a:pt x="326" y="30"/>
                  </a:lnTo>
                  <a:lnTo>
                    <a:pt x="298" y="34"/>
                  </a:lnTo>
                  <a:lnTo>
                    <a:pt x="275" y="13"/>
                  </a:lnTo>
                  <a:lnTo>
                    <a:pt x="249" y="2"/>
                  </a:lnTo>
                  <a:lnTo>
                    <a:pt x="248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18</a:t>
              </a:r>
            </a:p>
          </p:txBody>
        </p:sp>
        <p:sp>
          <p:nvSpPr>
            <p:cNvPr id="173" name="FR-21">
              <a:extLst>
                <a:ext uri="{FF2B5EF4-FFF2-40B4-BE49-F238E27FC236}">
                  <a16:creationId xmlns:a16="http://schemas.microsoft.com/office/drawing/2014/main" id="{8F22A677-3383-468D-94C6-32BF6D601DE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363360" y="2186285"/>
              <a:ext cx="724798" cy="804826"/>
            </a:xfrm>
            <a:custGeom>
              <a:avLst/>
              <a:gdLst>
                <a:gd name="T0" fmla="*/ 236 w 746"/>
                <a:gd name="T1" fmla="*/ 34 h 850"/>
                <a:gd name="T2" fmla="*/ 116 w 746"/>
                <a:gd name="T3" fmla="*/ 55 h 850"/>
                <a:gd name="T4" fmla="*/ 122 w 746"/>
                <a:gd name="T5" fmla="*/ 92 h 850"/>
                <a:gd name="T6" fmla="*/ 96 w 746"/>
                <a:gd name="T7" fmla="*/ 143 h 850"/>
                <a:gd name="T8" fmla="*/ 122 w 746"/>
                <a:gd name="T9" fmla="*/ 149 h 850"/>
                <a:gd name="T10" fmla="*/ 127 w 746"/>
                <a:gd name="T11" fmla="*/ 208 h 850"/>
                <a:gd name="T12" fmla="*/ 97 w 746"/>
                <a:gd name="T13" fmla="*/ 253 h 850"/>
                <a:gd name="T14" fmla="*/ 105 w 746"/>
                <a:gd name="T15" fmla="*/ 266 h 850"/>
                <a:gd name="T16" fmla="*/ 81 w 746"/>
                <a:gd name="T17" fmla="*/ 302 h 850"/>
                <a:gd name="T18" fmla="*/ 30 w 746"/>
                <a:gd name="T19" fmla="*/ 395 h 850"/>
                <a:gd name="T20" fmla="*/ 38 w 746"/>
                <a:gd name="T21" fmla="*/ 438 h 850"/>
                <a:gd name="T22" fmla="*/ 0 w 746"/>
                <a:gd name="T23" fmla="*/ 466 h 850"/>
                <a:gd name="T24" fmla="*/ 26 w 746"/>
                <a:gd name="T25" fmla="*/ 507 h 850"/>
                <a:gd name="T26" fmla="*/ 32 w 746"/>
                <a:gd name="T27" fmla="*/ 556 h 850"/>
                <a:gd name="T28" fmla="*/ 39 w 746"/>
                <a:gd name="T29" fmla="*/ 599 h 850"/>
                <a:gd name="T30" fmla="*/ 94 w 746"/>
                <a:gd name="T31" fmla="*/ 633 h 850"/>
                <a:gd name="T32" fmla="*/ 82 w 746"/>
                <a:gd name="T33" fmla="*/ 648 h 850"/>
                <a:gd name="T34" fmla="*/ 84 w 746"/>
                <a:gd name="T35" fmla="*/ 676 h 850"/>
                <a:gd name="T36" fmla="*/ 187 w 746"/>
                <a:gd name="T37" fmla="*/ 726 h 850"/>
                <a:gd name="T38" fmla="*/ 268 w 746"/>
                <a:gd name="T39" fmla="*/ 786 h 850"/>
                <a:gd name="T40" fmla="*/ 305 w 746"/>
                <a:gd name="T41" fmla="*/ 825 h 850"/>
                <a:gd name="T42" fmla="*/ 414 w 746"/>
                <a:gd name="T43" fmla="*/ 822 h 850"/>
                <a:gd name="T44" fmla="*/ 492 w 746"/>
                <a:gd name="T45" fmla="*/ 801 h 850"/>
                <a:gd name="T46" fmla="*/ 526 w 746"/>
                <a:gd name="T47" fmla="*/ 792 h 850"/>
                <a:gd name="T48" fmla="*/ 576 w 746"/>
                <a:gd name="T49" fmla="*/ 797 h 850"/>
                <a:gd name="T50" fmla="*/ 629 w 746"/>
                <a:gd name="T51" fmla="*/ 779 h 850"/>
                <a:gd name="T52" fmla="*/ 647 w 746"/>
                <a:gd name="T53" fmla="*/ 766 h 850"/>
                <a:gd name="T54" fmla="*/ 639 w 746"/>
                <a:gd name="T55" fmla="*/ 737 h 850"/>
                <a:gd name="T56" fmla="*/ 696 w 746"/>
                <a:gd name="T57" fmla="*/ 696 h 850"/>
                <a:gd name="T58" fmla="*/ 712 w 746"/>
                <a:gd name="T59" fmla="*/ 654 h 850"/>
                <a:gd name="T60" fmla="*/ 723 w 746"/>
                <a:gd name="T61" fmla="*/ 615 h 850"/>
                <a:gd name="T62" fmla="*/ 736 w 746"/>
                <a:gd name="T63" fmla="*/ 545 h 850"/>
                <a:gd name="T64" fmla="*/ 744 w 746"/>
                <a:gd name="T65" fmla="*/ 529 h 850"/>
                <a:gd name="T66" fmla="*/ 730 w 746"/>
                <a:gd name="T67" fmla="*/ 467 h 850"/>
                <a:gd name="T68" fmla="*/ 702 w 746"/>
                <a:gd name="T69" fmla="*/ 422 h 850"/>
                <a:gd name="T70" fmla="*/ 684 w 746"/>
                <a:gd name="T71" fmla="*/ 396 h 850"/>
                <a:gd name="T72" fmla="*/ 733 w 746"/>
                <a:gd name="T73" fmla="*/ 352 h 850"/>
                <a:gd name="T74" fmla="*/ 709 w 746"/>
                <a:gd name="T75" fmla="*/ 290 h 850"/>
                <a:gd name="T76" fmla="*/ 668 w 746"/>
                <a:gd name="T77" fmla="*/ 310 h 850"/>
                <a:gd name="T78" fmla="*/ 605 w 746"/>
                <a:gd name="T79" fmla="*/ 310 h 850"/>
                <a:gd name="T80" fmla="*/ 540 w 746"/>
                <a:gd name="T81" fmla="*/ 271 h 850"/>
                <a:gd name="T82" fmla="*/ 499 w 746"/>
                <a:gd name="T83" fmla="*/ 248 h 850"/>
                <a:gd name="T84" fmla="*/ 454 w 746"/>
                <a:gd name="T85" fmla="*/ 206 h 850"/>
                <a:gd name="T86" fmla="*/ 465 w 746"/>
                <a:gd name="T87" fmla="*/ 154 h 850"/>
                <a:gd name="T88" fmla="*/ 358 w 746"/>
                <a:gd name="T89" fmla="*/ 24 h 850"/>
                <a:gd name="T90" fmla="*/ 241 w 746"/>
                <a:gd name="T91" fmla="*/ 0 h 85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746"/>
                <a:gd name="T139" fmla="*/ 0 h 850"/>
                <a:gd name="T140" fmla="*/ 746 w 746"/>
                <a:gd name="T141" fmla="*/ 850 h 850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746" h="850">
                  <a:moveTo>
                    <a:pt x="241" y="0"/>
                  </a:moveTo>
                  <a:lnTo>
                    <a:pt x="236" y="34"/>
                  </a:lnTo>
                  <a:lnTo>
                    <a:pt x="202" y="52"/>
                  </a:lnTo>
                  <a:lnTo>
                    <a:pt x="116" y="55"/>
                  </a:lnTo>
                  <a:lnTo>
                    <a:pt x="120" y="74"/>
                  </a:lnTo>
                  <a:lnTo>
                    <a:pt x="122" y="92"/>
                  </a:lnTo>
                  <a:lnTo>
                    <a:pt x="96" y="111"/>
                  </a:lnTo>
                  <a:lnTo>
                    <a:pt x="96" y="143"/>
                  </a:lnTo>
                  <a:lnTo>
                    <a:pt x="101" y="149"/>
                  </a:lnTo>
                  <a:lnTo>
                    <a:pt x="122" y="149"/>
                  </a:lnTo>
                  <a:lnTo>
                    <a:pt x="135" y="171"/>
                  </a:lnTo>
                  <a:lnTo>
                    <a:pt x="127" y="208"/>
                  </a:lnTo>
                  <a:lnTo>
                    <a:pt x="97" y="231"/>
                  </a:lnTo>
                  <a:lnTo>
                    <a:pt x="97" y="253"/>
                  </a:lnTo>
                  <a:lnTo>
                    <a:pt x="107" y="261"/>
                  </a:lnTo>
                  <a:lnTo>
                    <a:pt x="105" y="266"/>
                  </a:lnTo>
                  <a:lnTo>
                    <a:pt x="86" y="274"/>
                  </a:lnTo>
                  <a:lnTo>
                    <a:pt x="81" y="302"/>
                  </a:lnTo>
                  <a:lnTo>
                    <a:pt x="51" y="365"/>
                  </a:lnTo>
                  <a:lnTo>
                    <a:pt x="30" y="395"/>
                  </a:lnTo>
                  <a:lnTo>
                    <a:pt x="30" y="425"/>
                  </a:lnTo>
                  <a:lnTo>
                    <a:pt x="38" y="438"/>
                  </a:lnTo>
                  <a:lnTo>
                    <a:pt x="26" y="453"/>
                  </a:lnTo>
                  <a:lnTo>
                    <a:pt x="0" y="466"/>
                  </a:lnTo>
                  <a:lnTo>
                    <a:pt x="2" y="492"/>
                  </a:lnTo>
                  <a:lnTo>
                    <a:pt x="26" y="507"/>
                  </a:lnTo>
                  <a:lnTo>
                    <a:pt x="36" y="528"/>
                  </a:lnTo>
                  <a:lnTo>
                    <a:pt x="32" y="556"/>
                  </a:lnTo>
                  <a:lnTo>
                    <a:pt x="26" y="577"/>
                  </a:lnTo>
                  <a:lnTo>
                    <a:pt x="39" y="599"/>
                  </a:lnTo>
                  <a:lnTo>
                    <a:pt x="77" y="607"/>
                  </a:lnTo>
                  <a:lnTo>
                    <a:pt x="94" y="633"/>
                  </a:lnTo>
                  <a:lnTo>
                    <a:pt x="94" y="644"/>
                  </a:lnTo>
                  <a:lnTo>
                    <a:pt x="82" y="648"/>
                  </a:lnTo>
                  <a:lnTo>
                    <a:pt x="82" y="675"/>
                  </a:lnTo>
                  <a:lnTo>
                    <a:pt x="84" y="676"/>
                  </a:lnTo>
                  <a:lnTo>
                    <a:pt x="135" y="728"/>
                  </a:lnTo>
                  <a:lnTo>
                    <a:pt x="187" y="726"/>
                  </a:lnTo>
                  <a:lnTo>
                    <a:pt x="234" y="762"/>
                  </a:lnTo>
                  <a:lnTo>
                    <a:pt x="268" y="786"/>
                  </a:lnTo>
                  <a:lnTo>
                    <a:pt x="269" y="818"/>
                  </a:lnTo>
                  <a:lnTo>
                    <a:pt x="305" y="825"/>
                  </a:lnTo>
                  <a:lnTo>
                    <a:pt x="335" y="850"/>
                  </a:lnTo>
                  <a:lnTo>
                    <a:pt x="414" y="822"/>
                  </a:lnTo>
                  <a:lnTo>
                    <a:pt x="468" y="805"/>
                  </a:lnTo>
                  <a:lnTo>
                    <a:pt x="492" y="801"/>
                  </a:lnTo>
                  <a:lnTo>
                    <a:pt x="499" y="790"/>
                  </a:lnTo>
                  <a:lnTo>
                    <a:pt x="526" y="792"/>
                  </a:lnTo>
                  <a:lnTo>
                    <a:pt x="546" y="805"/>
                  </a:lnTo>
                  <a:lnTo>
                    <a:pt x="576" y="797"/>
                  </a:lnTo>
                  <a:lnTo>
                    <a:pt x="606" y="777"/>
                  </a:lnTo>
                  <a:lnTo>
                    <a:pt x="629" y="779"/>
                  </a:lnTo>
                  <a:lnTo>
                    <a:pt x="629" y="777"/>
                  </a:lnTo>
                  <a:lnTo>
                    <a:pt x="647" y="766"/>
                  </a:lnTo>
                  <a:lnTo>
                    <a:pt x="644" y="753"/>
                  </a:lnTo>
                  <a:lnTo>
                    <a:pt x="639" y="737"/>
                  </a:lnTo>
                  <a:lnTo>
                    <a:pt x="652" y="717"/>
                  </a:lnTo>
                  <a:lnTo>
                    <a:pt x="696" y="696"/>
                  </a:lnTo>
                  <a:lnTo>
                    <a:pt x="696" y="675"/>
                  </a:lnTo>
                  <a:lnTo>
                    <a:pt x="712" y="654"/>
                  </a:lnTo>
                  <a:lnTo>
                    <a:pt x="728" y="633"/>
                  </a:lnTo>
                  <a:lnTo>
                    <a:pt x="723" y="615"/>
                  </a:lnTo>
                  <a:lnTo>
                    <a:pt x="730" y="586"/>
                  </a:lnTo>
                  <a:lnTo>
                    <a:pt x="736" y="545"/>
                  </a:lnTo>
                  <a:lnTo>
                    <a:pt x="746" y="545"/>
                  </a:lnTo>
                  <a:lnTo>
                    <a:pt x="744" y="529"/>
                  </a:lnTo>
                  <a:lnTo>
                    <a:pt x="733" y="519"/>
                  </a:lnTo>
                  <a:lnTo>
                    <a:pt x="730" y="467"/>
                  </a:lnTo>
                  <a:lnTo>
                    <a:pt x="707" y="464"/>
                  </a:lnTo>
                  <a:lnTo>
                    <a:pt x="702" y="422"/>
                  </a:lnTo>
                  <a:lnTo>
                    <a:pt x="673" y="409"/>
                  </a:lnTo>
                  <a:lnTo>
                    <a:pt x="684" y="396"/>
                  </a:lnTo>
                  <a:lnTo>
                    <a:pt x="699" y="391"/>
                  </a:lnTo>
                  <a:lnTo>
                    <a:pt x="733" y="352"/>
                  </a:lnTo>
                  <a:lnTo>
                    <a:pt x="730" y="331"/>
                  </a:lnTo>
                  <a:lnTo>
                    <a:pt x="709" y="290"/>
                  </a:lnTo>
                  <a:lnTo>
                    <a:pt x="679" y="284"/>
                  </a:lnTo>
                  <a:lnTo>
                    <a:pt x="668" y="310"/>
                  </a:lnTo>
                  <a:lnTo>
                    <a:pt x="611" y="323"/>
                  </a:lnTo>
                  <a:lnTo>
                    <a:pt x="605" y="310"/>
                  </a:lnTo>
                  <a:lnTo>
                    <a:pt x="564" y="258"/>
                  </a:lnTo>
                  <a:lnTo>
                    <a:pt x="540" y="271"/>
                  </a:lnTo>
                  <a:lnTo>
                    <a:pt x="509" y="269"/>
                  </a:lnTo>
                  <a:lnTo>
                    <a:pt x="499" y="248"/>
                  </a:lnTo>
                  <a:lnTo>
                    <a:pt x="457" y="250"/>
                  </a:lnTo>
                  <a:lnTo>
                    <a:pt x="454" y="206"/>
                  </a:lnTo>
                  <a:lnTo>
                    <a:pt x="431" y="190"/>
                  </a:lnTo>
                  <a:lnTo>
                    <a:pt x="465" y="154"/>
                  </a:lnTo>
                  <a:lnTo>
                    <a:pt x="405" y="73"/>
                  </a:lnTo>
                  <a:lnTo>
                    <a:pt x="358" y="24"/>
                  </a:lnTo>
                  <a:lnTo>
                    <a:pt x="316" y="0"/>
                  </a:lnTo>
                  <a:lnTo>
                    <a:pt x="241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21</a:t>
              </a:r>
            </a:p>
          </p:txBody>
        </p:sp>
        <p:sp>
          <p:nvSpPr>
            <p:cNvPr id="174" name="FR-58">
              <a:extLst>
                <a:ext uri="{FF2B5EF4-FFF2-40B4-BE49-F238E27FC236}">
                  <a16:creationId xmlns:a16="http://schemas.microsoft.com/office/drawing/2014/main" id="{2E3194D5-2A3B-4634-9E9C-C169CD52A13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760009" y="2521471"/>
              <a:ext cx="694679" cy="660904"/>
            </a:xfrm>
            <a:custGeom>
              <a:avLst/>
              <a:gdLst>
                <a:gd name="T0" fmla="*/ 94 w 715"/>
                <a:gd name="T1" fmla="*/ 21 h 698"/>
                <a:gd name="T2" fmla="*/ 37 w 715"/>
                <a:gd name="T3" fmla="*/ 13 h 698"/>
                <a:gd name="T4" fmla="*/ 2 w 715"/>
                <a:gd name="T5" fmla="*/ 50 h 698"/>
                <a:gd name="T6" fmla="*/ 34 w 715"/>
                <a:gd name="T7" fmla="*/ 136 h 698"/>
                <a:gd name="T8" fmla="*/ 18 w 715"/>
                <a:gd name="T9" fmla="*/ 201 h 698"/>
                <a:gd name="T10" fmla="*/ 67 w 715"/>
                <a:gd name="T11" fmla="*/ 274 h 698"/>
                <a:gd name="T12" fmla="*/ 88 w 715"/>
                <a:gd name="T13" fmla="*/ 391 h 698"/>
                <a:gd name="T14" fmla="*/ 109 w 715"/>
                <a:gd name="T15" fmla="*/ 488 h 698"/>
                <a:gd name="T16" fmla="*/ 120 w 715"/>
                <a:gd name="T17" fmla="*/ 545 h 698"/>
                <a:gd name="T18" fmla="*/ 101 w 715"/>
                <a:gd name="T19" fmla="*/ 628 h 698"/>
                <a:gd name="T20" fmla="*/ 177 w 715"/>
                <a:gd name="T21" fmla="*/ 683 h 698"/>
                <a:gd name="T22" fmla="*/ 232 w 715"/>
                <a:gd name="T23" fmla="*/ 652 h 698"/>
                <a:gd name="T24" fmla="*/ 276 w 715"/>
                <a:gd name="T25" fmla="*/ 675 h 698"/>
                <a:gd name="T26" fmla="*/ 310 w 715"/>
                <a:gd name="T27" fmla="*/ 665 h 698"/>
                <a:gd name="T28" fmla="*/ 338 w 715"/>
                <a:gd name="T29" fmla="*/ 693 h 698"/>
                <a:gd name="T30" fmla="*/ 414 w 715"/>
                <a:gd name="T31" fmla="*/ 644 h 698"/>
                <a:gd name="T32" fmla="*/ 459 w 715"/>
                <a:gd name="T33" fmla="*/ 626 h 698"/>
                <a:gd name="T34" fmla="*/ 488 w 715"/>
                <a:gd name="T35" fmla="*/ 660 h 698"/>
                <a:gd name="T36" fmla="*/ 532 w 715"/>
                <a:gd name="T37" fmla="*/ 638 h 698"/>
                <a:gd name="T38" fmla="*/ 575 w 715"/>
                <a:gd name="T39" fmla="*/ 613 h 698"/>
                <a:gd name="T40" fmla="*/ 597 w 715"/>
                <a:gd name="T41" fmla="*/ 596 h 698"/>
                <a:gd name="T42" fmla="*/ 640 w 715"/>
                <a:gd name="T43" fmla="*/ 589 h 698"/>
                <a:gd name="T44" fmla="*/ 621 w 715"/>
                <a:gd name="T45" fmla="*/ 556 h 698"/>
                <a:gd name="T46" fmla="*/ 647 w 715"/>
                <a:gd name="T47" fmla="*/ 529 h 698"/>
                <a:gd name="T48" fmla="*/ 619 w 715"/>
                <a:gd name="T49" fmla="*/ 486 h 698"/>
                <a:gd name="T50" fmla="*/ 605 w 715"/>
                <a:gd name="T51" fmla="*/ 449 h 698"/>
                <a:gd name="T52" fmla="*/ 632 w 715"/>
                <a:gd name="T53" fmla="*/ 421 h 698"/>
                <a:gd name="T54" fmla="*/ 629 w 715"/>
                <a:gd name="T55" fmla="*/ 391 h 698"/>
                <a:gd name="T56" fmla="*/ 632 w 715"/>
                <a:gd name="T57" fmla="*/ 342 h 698"/>
                <a:gd name="T58" fmla="*/ 703 w 715"/>
                <a:gd name="T59" fmla="*/ 323 h 698"/>
                <a:gd name="T60" fmla="*/ 715 w 715"/>
                <a:gd name="T61" fmla="*/ 290 h 698"/>
                <a:gd name="T62" fmla="*/ 698 w 715"/>
                <a:gd name="T63" fmla="*/ 253 h 698"/>
                <a:gd name="T64" fmla="*/ 647 w 715"/>
                <a:gd name="T65" fmla="*/ 223 h 698"/>
                <a:gd name="T66" fmla="*/ 657 w 715"/>
                <a:gd name="T67" fmla="*/ 174 h 698"/>
                <a:gd name="T68" fmla="*/ 608 w 715"/>
                <a:gd name="T69" fmla="*/ 187 h 698"/>
                <a:gd name="T70" fmla="*/ 569 w 715"/>
                <a:gd name="T71" fmla="*/ 180 h 698"/>
                <a:gd name="T72" fmla="*/ 546 w 715"/>
                <a:gd name="T73" fmla="*/ 142 h 698"/>
                <a:gd name="T74" fmla="*/ 520 w 715"/>
                <a:gd name="T75" fmla="*/ 138 h 698"/>
                <a:gd name="T76" fmla="*/ 518 w 715"/>
                <a:gd name="T77" fmla="*/ 103 h 698"/>
                <a:gd name="T78" fmla="*/ 505 w 715"/>
                <a:gd name="T79" fmla="*/ 142 h 698"/>
                <a:gd name="T80" fmla="*/ 414 w 715"/>
                <a:gd name="T81" fmla="*/ 88 h 698"/>
                <a:gd name="T82" fmla="*/ 371 w 715"/>
                <a:gd name="T83" fmla="*/ 58 h 698"/>
                <a:gd name="T84" fmla="*/ 335 w 715"/>
                <a:gd name="T85" fmla="*/ 15 h 698"/>
                <a:gd name="T86" fmla="*/ 326 w 715"/>
                <a:gd name="T87" fmla="*/ 60 h 698"/>
                <a:gd name="T88" fmla="*/ 285 w 715"/>
                <a:gd name="T89" fmla="*/ 56 h 698"/>
                <a:gd name="T90" fmla="*/ 244 w 715"/>
                <a:gd name="T91" fmla="*/ 77 h 698"/>
                <a:gd name="T92" fmla="*/ 214 w 715"/>
                <a:gd name="T93" fmla="*/ 71 h 698"/>
                <a:gd name="T94" fmla="*/ 156 w 715"/>
                <a:gd name="T95" fmla="*/ 49 h 698"/>
                <a:gd name="T96" fmla="*/ 142 w 715"/>
                <a:gd name="T97" fmla="*/ 17 h 698"/>
                <a:gd name="T98" fmla="*/ 107 w 715"/>
                <a:gd name="T99" fmla="*/ 0 h 69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715"/>
                <a:gd name="T151" fmla="*/ 0 h 698"/>
                <a:gd name="T152" fmla="*/ 715 w 715"/>
                <a:gd name="T153" fmla="*/ 698 h 69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715" h="698">
                  <a:moveTo>
                    <a:pt x="107" y="0"/>
                  </a:moveTo>
                  <a:lnTo>
                    <a:pt x="94" y="21"/>
                  </a:lnTo>
                  <a:lnTo>
                    <a:pt x="70" y="21"/>
                  </a:lnTo>
                  <a:lnTo>
                    <a:pt x="37" y="13"/>
                  </a:lnTo>
                  <a:lnTo>
                    <a:pt x="0" y="24"/>
                  </a:lnTo>
                  <a:lnTo>
                    <a:pt x="2" y="50"/>
                  </a:lnTo>
                  <a:lnTo>
                    <a:pt x="34" y="86"/>
                  </a:lnTo>
                  <a:lnTo>
                    <a:pt x="34" y="136"/>
                  </a:lnTo>
                  <a:lnTo>
                    <a:pt x="10" y="170"/>
                  </a:lnTo>
                  <a:lnTo>
                    <a:pt x="18" y="201"/>
                  </a:lnTo>
                  <a:lnTo>
                    <a:pt x="65" y="238"/>
                  </a:lnTo>
                  <a:lnTo>
                    <a:pt x="67" y="274"/>
                  </a:lnTo>
                  <a:lnTo>
                    <a:pt x="94" y="329"/>
                  </a:lnTo>
                  <a:lnTo>
                    <a:pt x="88" y="391"/>
                  </a:lnTo>
                  <a:lnTo>
                    <a:pt x="117" y="420"/>
                  </a:lnTo>
                  <a:lnTo>
                    <a:pt x="109" y="488"/>
                  </a:lnTo>
                  <a:lnTo>
                    <a:pt x="107" y="521"/>
                  </a:lnTo>
                  <a:lnTo>
                    <a:pt x="120" y="545"/>
                  </a:lnTo>
                  <a:lnTo>
                    <a:pt x="100" y="608"/>
                  </a:lnTo>
                  <a:lnTo>
                    <a:pt x="101" y="628"/>
                  </a:lnTo>
                  <a:lnTo>
                    <a:pt x="146" y="649"/>
                  </a:lnTo>
                  <a:lnTo>
                    <a:pt x="177" y="683"/>
                  </a:lnTo>
                  <a:lnTo>
                    <a:pt x="205" y="667"/>
                  </a:lnTo>
                  <a:lnTo>
                    <a:pt x="232" y="652"/>
                  </a:lnTo>
                  <a:lnTo>
                    <a:pt x="237" y="675"/>
                  </a:lnTo>
                  <a:lnTo>
                    <a:pt x="276" y="675"/>
                  </a:lnTo>
                  <a:lnTo>
                    <a:pt x="286" y="654"/>
                  </a:lnTo>
                  <a:lnTo>
                    <a:pt x="310" y="665"/>
                  </a:lnTo>
                  <a:lnTo>
                    <a:pt x="317" y="698"/>
                  </a:lnTo>
                  <a:lnTo>
                    <a:pt x="338" y="693"/>
                  </a:lnTo>
                  <a:lnTo>
                    <a:pt x="388" y="626"/>
                  </a:lnTo>
                  <a:lnTo>
                    <a:pt x="414" y="644"/>
                  </a:lnTo>
                  <a:lnTo>
                    <a:pt x="418" y="652"/>
                  </a:lnTo>
                  <a:lnTo>
                    <a:pt x="459" y="626"/>
                  </a:lnTo>
                  <a:lnTo>
                    <a:pt x="475" y="628"/>
                  </a:lnTo>
                  <a:lnTo>
                    <a:pt x="488" y="660"/>
                  </a:lnTo>
                  <a:lnTo>
                    <a:pt x="513" y="656"/>
                  </a:lnTo>
                  <a:lnTo>
                    <a:pt x="532" y="638"/>
                  </a:lnTo>
                  <a:lnTo>
                    <a:pt x="556" y="638"/>
                  </a:lnTo>
                  <a:lnTo>
                    <a:pt x="575" y="613"/>
                  </a:lnTo>
                  <a:lnTo>
                    <a:pt x="593" y="610"/>
                  </a:lnTo>
                  <a:lnTo>
                    <a:pt x="597" y="596"/>
                  </a:lnTo>
                  <a:lnTo>
                    <a:pt x="638" y="598"/>
                  </a:lnTo>
                  <a:lnTo>
                    <a:pt x="640" y="589"/>
                  </a:lnTo>
                  <a:lnTo>
                    <a:pt x="621" y="572"/>
                  </a:lnTo>
                  <a:lnTo>
                    <a:pt x="621" y="556"/>
                  </a:lnTo>
                  <a:lnTo>
                    <a:pt x="647" y="541"/>
                  </a:lnTo>
                  <a:lnTo>
                    <a:pt x="647" y="529"/>
                  </a:lnTo>
                  <a:lnTo>
                    <a:pt x="623" y="514"/>
                  </a:lnTo>
                  <a:lnTo>
                    <a:pt x="619" y="486"/>
                  </a:lnTo>
                  <a:lnTo>
                    <a:pt x="621" y="460"/>
                  </a:lnTo>
                  <a:lnTo>
                    <a:pt x="605" y="449"/>
                  </a:lnTo>
                  <a:lnTo>
                    <a:pt x="619" y="428"/>
                  </a:lnTo>
                  <a:lnTo>
                    <a:pt x="632" y="421"/>
                  </a:lnTo>
                  <a:lnTo>
                    <a:pt x="642" y="398"/>
                  </a:lnTo>
                  <a:lnTo>
                    <a:pt x="629" y="391"/>
                  </a:lnTo>
                  <a:lnTo>
                    <a:pt x="614" y="368"/>
                  </a:lnTo>
                  <a:lnTo>
                    <a:pt x="632" y="342"/>
                  </a:lnTo>
                  <a:lnTo>
                    <a:pt x="664" y="323"/>
                  </a:lnTo>
                  <a:lnTo>
                    <a:pt x="703" y="323"/>
                  </a:lnTo>
                  <a:lnTo>
                    <a:pt x="703" y="294"/>
                  </a:lnTo>
                  <a:lnTo>
                    <a:pt x="715" y="290"/>
                  </a:lnTo>
                  <a:lnTo>
                    <a:pt x="715" y="279"/>
                  </a:lnTo>
                  <a:lnTo>
                    <a:pt x="698" y="253"/>
                  </a:lnTo>
                  <a:lnTo>
                    <a:pt x="660" y="245"/>
                  </a:lnTo>
                  <a:lnTo>
                    <a:pt x="647" y="223"/>
                  </a:lnTo>
                  <a:lnTo>
                    <a:pt x="653" y="202"/>
                  </a:lnTo>
                  <a:lnTo>
                    <a:pt x="657" y="174"/>
                  </a:lnTo>
                  <a:lnTo>
                    <a:pt x="650" y="159"/>
                  </a:lnTo>
                  <a:lnTo>
                    <a:pt x="608" y="187"/>
                  </a:lnTo>
                  <a:lnTo>
                    <a:pt x="591" y="195"/>
                  </a:lnTo>
                  <a:lnTo>
                    <a:pt x="569" y="180"/>
                  </a:lnTo>
                  <a:lnTo>
                    <a:pt x="571" y="142"/>
                  </a:lnTo>
                  <a:lnTo>
                    <a:pt x="546" y="142"/>
                  </a:lnTo>
                  <a:lnTo>
                    <a:pt x="526" y="156"/>
                  </a:lnTo>
                  <a:lnTo>
                    <a:pt x="520" y="138"/>
                  </a:lnTo>
                  <a:lnTo>
                    <a:pt x="532" y="120"/>
                  </a:lnTo>
                  <a:lnTo>
                    <a:pt x="518" y="103"/>
                  </a:lnTo>
                  <a:lnTo>
                    <a:pt x="503" y="126"/>
                  </a:lnTo>
                  <a:lnTo>
                    <a:pt x="505" y="142"/>
                  </a:lnTo>
                  <a:lnTo>
                    <a:pt x="470" y="141"/>
                  </a:lnTo>
                  <a:lnTo>
                    <a:pt x="414" y="88"/>
                  </a:lnTo>
                  <a:lnTo>
                    <a:pt x="371" y="86"/>
                  </a:lnTo>
                  <a:lnTo>
                    <a:pt x="371" y="58"/>
                  </a:lnTo>
                  <a:lnTo>
                    <a:pt x="341" y="39"/>
                  </a:lnTo>
                  <a:lnTo>
                    <a:pt x="335" y="15"/>
                  </a:lnTo>
                  <a:lnTo>
                    <a:pt x="326" y="13"/>
                  </a:lnTo>
                  <a:lnTo>
                    <a:pt x="326" y="60"/>
                  </a:lnTo>
                  <a:lnTo>
                    <a:pt x="309" y="64"/>
                  </a:lnTo>
                  <a:lnTo>
                    <a:pt x="285" y="56"/>
                  </a:lnTo>
                  <a:lnTo>
                    <a:pt x="259" y="73"/>
                  </a:lnTo>
                  <a:lnTo>
                    <a:pt x="244" y="77"/>
                  </a:lnTo>
                  <a:lnTo>
                    <a:pt x="229" y="64"/>
                  </a:lnTo>
                  <a:lnTo>
                    <a:pt x="214" y="71"/>
                  </a:lnTo>
                  <a:lnTo>
                    <a:pt x="180" y="49"/>
                  </a:lnTo>
                  <a:lnTo>
                    <a:pt x="156" y="49"/>
                  </a:lnTo>
                  <a:lnTo>
                    <a:pt x="139" y="38"/>
                  </a:lnTo>
                  <a:lnTo>
                    <a:pt x="142" y="17"/>
                  </a:lnTo>
                  <a:lnTo>
                    <a:pt x="124" y="0"/>
                  </a:lnTo>
                  <a:lnTo>
                    <a:pt x="107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58</a:t>
              </a:r>
            </a:p>
          </p:txBody>
        </p:sp>
        <p:sp>
          <p:nvSpPr>
            <p:cNvPr id="175" name="FR-71">
              <a:extLst>
                <a:ext uri="{FF2B5EF4-FFF2-40B4-BE49-F238E27FC236}">
                  <a16:creationId xmlns:a16="http://schemas.microsoft.com/office/drawing/2014/main" id="{1792635C-A47C-4B95-9811-4105C6AAE02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166129" y="2825411"/>
              <a:ext cx="909398" cy="710140"/>
            </a:xfrm>
            <a:custGeom>
              <a:avLst/>
              <a:gdLst>
                <a:gd name="T0" fmla="*/ 285 w 936"/>
                <a:gd name="T1" fmla="*/ 2 h 750"/>
                <a:gd name="T2" fmla="*/ 214 w 936"/>
                <a:gd name="T3" fmla="*/ 21 h 750"/>
                <a:gd name="T4" fmla="*/ 211 w 936"/>
                <a:gd name="T5" fmla="*/ 70 h 750"/>
                <a:gd name="T6" fmla="*/ 214 w 936"/>
                <a:gd name="T7" fmla="*/ 100 h 750"/>
                <a:gd name="T8" fmla="*/ 187 w 936"/>
                <a:gd name="T9" fmla="*/ 128 h 750"/>
                <a:gd name="T10" fmla="*/ 201 w 936"/>
                <a:gd name="T11" fmla="*/ 165 h 750"/>
                <a:gd name="T12" fmla="*/ 229 w 936"/>
                <a:gd name="T13" fmla="*/ 208 h 750"/>
                <a:gd name="T14" fmla="*/ 203 w 936"/>
                <a:gd name="T15" fmla="*/ 235 h 750"/>
                <a:gd name="T16" fmla="*/ 222 w 936"/>
                <a:gd name="T17" fmla="*/ 268 h 750"/>
                <a:gd name="T18" fmla="*/ 179 w 936"/>
                <a:gd name="T19" fmla="*/ 275 h 750"/>
                <a:gd name="T20" fmla="*/ 157 w 936"/>
                <a:gd name="T21" fmla="*/ 292 h 750"/>
                <a:gd name="T22" fmla="*/ 114 w 936"/>
                <a:gd name="T23" fmla="*/ 317 h 750"/>
                <a:gd name="T24" fmla="*/ 70 w 936"/>
                <a:gd name="T25" fmla="*/ 339 h 750"/>
                <a:gd name="T26" fmla="*/ 41 w 936"/>
                <a:gd name="T27" fmla="*/ 305 h 750"/>
                <a:gd name="T28" fmla="*/ 48 w 936"/>
                <a:gd name="T29" fmla="*/ 422 h 750"/>
                <a:gd name="T30" fmla="*/ 61 w 936"/>
                <a:gd name="T31" fmla="*/ 477 h 750"/>
                <a:gd name="T32" fmla="*/ 121 w 936"/>
                <a:gd name="T33" fmla="*/ 497 h 750"/>
                <a:gd name="T34" fmla="*/ 181 w 936"/>
                <a:gd name="T35" fmla="*/ 523 h 750"/>
                <a:gd name="T36" fmla="*/ 124 w 936"/>
                <a:gd name="T37" fmla="*/ 667 h 750"/>
                <a:gd name="T38" fmla="*/ 126 w 936"/>
                <a:gd name="T39" fmla="*/ 669 h 750"/>
                <a:gd name="T40" fmla="*/ 137 w 936"/>
                <a:gd name="T41" fmla="*/ 713 h 750"/>
                <a:gd name="T42" fmla="*/ 181 w 936"/>
                <a:gd name="T43" fmla="*/ 740 h 750"/>
                <a:gd name="T44" fmla="*/ 233 w 936"/>
                <a:gd name="T45" fmla="*/ 721 h 750"/>
                <a:gd name="T46" fmla="*/ 332 w 936"/>
                <a:gd name="T47" fmla="*/ 750 h 750"/>
                <a:gd name="T48" fmla="*/ 382 w 936"/>
                <a:gd name="T49" fmla="*/ 729 h 750"/>
                <a:gd name="T50" fmla="*/ 407 w 936"/>
                <a:gd name="T51" fmla="*/ 638 h 750"/>
                <a:gd name="T52" fmla="*/ 465 w 936"/>
                <a:gd name="T53" fmla="*/ 659 h 750"/>
                <a:gd name="T54" fmla="*/ 504 w 936"/>
                <a:gd name="T55" fmla="*/ 659 h 750"/>
                <a:gd name="T56" fmla="*/ 556 w 936"/>
                <a:gd name="T57" fmla="*/ 633 h 750"/>
                <a:gd name="T58" fmla="*/ 579 w 936"/>
                <a:gd name="T59" fmla="*/ 727 h 750"/>
                <a:gd name="T60" fmla="*/ 613 w 936"/>
                <a:gd name="T61" fmla="*/ 692 h 750"/>
                <a:gd name="T62" fmla="*/ 681 w 936"/>
                <a:gd name="T63" fmla="*/ 466 h 750"/>
                <a:gd name="T64" fmla="*/ 738 w 936"/>
                <a:gd name="T65" fmla="*/ 487 h 750"/>
                <a:gd name="T66" fmla="*/ 785 w 936"/>
                <a:gd name="T67" fmla="*/ 463 h 750"/>
                <a:gd name="T68" fmla="*/ 827 w 936"/>
                <a:gd name="T69" fmla="*/ 502 h 750"/>
                <a:gd name="T70" fmla="*/ 910 w 936"/>
                <a:gd name="T71" fmla="*/ 500 h 750"/>
                <a:gd name="T72" fmla="*/ 926 w 936"/>
                <a:gd name="T73" fmla="*/ 463 h 750"/>
                <a:gd name="T74" fmla="*/ 892 w 936"/>
                <a:gd name="T75" fmla="*/ 417 h 750"/>
                <a:gd name="T76" fmla="*/ 928 w 936"/>
                <a:gd name="T77" fmla="*/ 354 h 750"/>
                <a:gd name="T78" fmla="*/ 889 w 936"/>
                <a:gd name="T79" fmla="*/ 292 h 750"/>
                <a:gd name="T80" fmla="*/ 897 w 936"/>
                <a:gd name="T81" fmla="*/ 258 h 750"/>
                <a:gd name="T82" fmla="*/ 871 w 936"/>
                <a:gd name="T83" fmla="*/ 224 h 750"/>
                <a:gd name="T84" fmla="*/ 936 w 936"/>
                <a:gd name="T85" fmla="*/ 195 h 750"/>
                <a:gd name="T86" fmla="*/ 902 w 936"/>
                <a:gd name="T87" fmla="*/ 177 h 750"/>
                <a:gd name="T88" fmla="*/ 850 w 936"/>
                <a:gd name="T89" fmla="*/ 138 h 750"/>
                <a:gd name="T90" fmla="*/ 832 w 936"/>
                <a:gd name="T91" fmla="*/ 104 h 750"/>
                <a:gd name="T92" fmla="*/ 779 w 936"/>
                <a:gd name="T93" fmla="*/ 122 h 750"/>
                <a:gd name="T94" fmla="*/ 729 w 936"/>
                <a:gd name="T95" fmla="*/ 117 h 750"/>
                <a:gd name="T96" fmla="*/ 695 w 936"/>
                <a:gd name="T97" fmla="*/ 126 h 750"/>
                <a:gd name="T98" fmla="*/ 617 w 936"/>
                <a:gd name="T99" fmla="*/ 147 h 750"/>
                <a:gd name="T100" fmla="*/ 508 w 936"/>
                <a:gd name="T101" fmla="*/ 150 h 750"/>
                <a:gd name="T102" fmla="*/ 471 w 936"/>
                <a:gd name="T103" fmla="*/ 111 h 750"/>
                <a:gd name="T104" fmla="*/ 390 w 936"/>
                <a:gd name="T105" fmla="*/ 51 h 750"/>
                <a:gd name="T106" fmla="*/ 287 w 936"/>
                <a:gd name="T107" fmla="*/ 1 h 7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936"/>
                <a:gd name="T163" fmla="*/ 0 h 750"/>
                <a:gd name="T164" fmla="*/ 936 w 936"/>
                <a:gd name="T165" fmla="*/ 750 h 7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936" h="750">
                  <a:moveTo>
                    <a:pt x="285" y="0"/>
                  </a:moveTo>
                  <a:lnTo>
                    <a:pt x="285" y="2"/>
                  </a:lnTo>
                  <a:lnTo>
                    <a:pt x="246" y="2"/>
                  </a:lnTo>
                  <a:lnTo>
                    <a:pt x="214" y="21"/>
                  </a:lnTo>
                  <a:lnTo>
                    <a:pt x="196" y="47"/>
                  </a:lnTo>
                  <a:lnTo>
                    <a:pt x="211" y="70"/>
                  </a:lnTo>
                  <a:lnTo>
                    <a:pt x="224" y="77"/>
                  </a:lnTo>
                  <a:lnTo>
                    <a:pt x="214" y="100"/>
                  </a:lnTo>
                  <a:lnTo>
                    <a:pt x="201" y="107"/>
                  </a:lnTo>
                  <a:lnTo>
                    <a:pt x="187" y="128"/>
                  </a:lnTo>
                  <a:lnTo>
                    <a:pt x="203" y="139"/>
                  </a:lnTo>
                  <a:lnTo>
                    <a:pt x="201" y="165"/>
                  </a:lnTo>
                  <a:lnTo>
                    <a:pt x="205" y="193"/>
                  </a:lnTo>
                  <a:lnTo>
                    <a:pt x="229" y="208"/>
                  </a:lnTo>
                  <a:lnTo>
                    <a:pt x="229" y="220"/>
                  </a:lnTo>
                  <a:lnTo>
                    <a:pt x="203" y="235"/>
                  </a:lnTo>
                  <a:lnTo>
                    <a:pt x="203" y="251"/>
                  </a:lnTo>
                  <a:lnTo>
                    <a:pt x="222" y="268"/>
                  </a:lnTo>
                  <a:lnTo>
                    <a:pt x="220" y="277"/>
                  </a:lnTo>
                  <a:lnTo>
                    <a:pt x="179" y="275"/>
                  </a:lnTo>
                  <a:lnTo>
                    <a:pt x="175" y="289"/>
                  </a:lnTo>
                  <a:lnTo>
                    <a:pt x="157" y="292"/>
                  </a:lnTo>
                  <a:lnTo>
                    <a:pt x="138" y="317"/>
                  </a:lnTo>
                  <a:lnTo>
                    <a:pt x="114" y="317"/>
                  </a:lnTo>
                  <a:lnTo>
                    <a:pt x="95" y="335"/>
                  </a:lnTo>
                  <a:lnTo>
                    <a:pt x="70" y="339"/>
                  </a:lnTo>
                  <a:lnTo>
                    <a:pt x="57" y="307"/>
                  </a:lnTo>
                  <a:lnTo>
                    <a:pt x="41" y="305"/>
                  </a:lnTo>
                  <a:lnTo>
                    <a:pt x="0" y="331"/>
                  </a:lnTo>
                  <a:lnTo>
                    <a:pt x="48" y="422"/>
                  </a:lnTo>
                  <a:lnTo>
                    <a:pt x="48" y="461"/>
                  </a:lnTo>
                  <a:lnTo>
                    <a:pt x="61" y="477"/>
                  </a:lnTo>
                  <a:lnTo>
                    <a:pt x="105" y="477"/>
                  </a:lnTo>
                  <a:lnTo>
                    <a:pt x="121" y="497"/>
                  </a:lnTo>
                  <a:lnTo>
                    <a:pt x="162" y="497"/>
                  </a:lnTo>
                  <a:lnTo>
                    <a:pt x="181" y="523"/>
                  </a:lnTo>
                  <a:lnTo>
                    <a:pt x="178" y="625"/>
                  </a:lnTo>
                  <a:lnTo>
                    <a:pt x="124" y="667"/>
                  </a:lnTo>
                  <a:lnTo>
                    <a:pt x="122" y="670"/>
                  </a:lnTo>
                  <a:lnTo>
                    <a:pt x="126" y="669"/>
                  </a:lnTo>
                  <a:lnTo>
                    <a:pt x="134" y="672"/>
                  </a:lnTo>
                  <a:lnTo>
                    <a:pt x="137" y="713"/>
                  </a:lnTo>
                  <a:lnTo>
                    <a:pt x="176" y="721"/>
                  </a:lnTo>
                  <a:lnTo>
                    <a:pt x="181" y="740"/>
                  </a:lnTo>
                  <a:lnTo>
                    <a:pt x="202" y="740"/>
                  </a:lnTo>
                  <a:lnTo>
                    <a:pt x="233" y="721"/>
                  </a:lnTo>
                  <a:lnTo>
                    <a:pt x="316" y="734"/>
                  </a:lnTo>
                  <a:lnTo>
                    <a:pt x="332" y="750"/>
                  </a:lnTo>
                  <a:lnTo>
                    <a:pt x="353" y="729"/>
                  </a:lnTo>
                  <a:lnTo>
                    <a:pt x="382" y="729"/>
                  </a:lnTo>
                  <a:lnTo>
                    <a:pt x="397" y="646"/>
                  </a:lnTo>
                  <a:lnTo>
                    <a:pt x="407" y="638"/>
                  </a:lnTo>
                  <a:lnTo>
                    <a:pt x="433" y="638"/>
                  </a:lnTo>
                  <a:lnTo>
                    <a:pt x="465" y="659"/>
                  </a:lnTo>
                  <a:lnTo>
                    <a:pt x="488" y="638"/>
                  </a:lnTo>
                  <a:lnTo>
                    <a:pt x="504" y="659"/>
                  </a:lnTo>
                  <a:lnTo>
                    <a:pt x="527" y="635"/>
                  </a:lnTo>
                  <a:lnTo>
                    <a:pt x="556" y="633"/>
                  </a:lnTo>
                  <a:lnTo>
                    <a:pt x="569" y="675"/>
                  </a:lnTo>
                  <a:lnTo>
                    <a:pt x="579" y="727"/>
                  </a:lnTo>
                  <a:lnTo>
                    <a:pt x="597" y="729"/>
                  </a:lnTo>
                  <a:lnTo>
                    <a:pt x="613" y="692"/>
                  </a:lnTo>
                  <a:lnTo>
                    <a:pt x="662" y="500"/>
                  </a:lnTo>
                  <a:lnTo>
                    <a:pt x="681" y="466"/>
                  </a:lnTo>
                  <a:lnTo>
                    <a:pt x="709" y="463"/>
                  </a:lnTo>
                  <a:lnTo>
                    <a:pt x="738" y="487"/>
                  </a:lnTo>
                  <a:lnTo>
                    <a:pt x="759" y="482"/>
                  </a:lnTo>
                  <a:lnTo>
                    <a:pt x="785" y="463"/>
                  </a:lnTo>
                  <a:lnTo>
                    <a:pt x="811" y="469"/>
                  </a:lnTo>
                  <a:lnTo>
                    <a:pt x="827" y="502"/>
                  </a:lnTo>
                  <a:lnTo>
                    <a:pt x="842" y="508"/>
                  </a:lnTo>
                  <a:lnTo>
                    <a:pt x="910" y="500"/>
                  </a:lnTo>
                  <a:lnTo>
                    <a:pt x="936" y="479"/>
                  </a:lnTo>
                  <a:lnTo>
                    <a:pt x="926" y="463"/>
                  </a:lnTo>
                  <a:lnTo>
                    <a:pt x="894" y="453"/>
                  </a:lnTo>
                  <a:lnTo>
                    <a:pt x="892" y="417"/>
                  </a:lnTo>
                  <a:lnTo>
                    <a:pt x="918" y="398"/>
                  </a:lnTo>
                  <a:lnTo>
                    <a:pt x="928" y="354"/>
                  </a:lnTo>
                  <a:lnTo>
                    <a:pt x="905" y="312"/>
                  </a:lnTo>
                  <a:lnTo>
                    <a:pt x="889" y="292"/>
                  </a:lnTo>
                  <a:lnTo>
                    <a:pt x="897" y="284"/>
                  </a:lnTo>
                  <a:lnTo>
                    <a:pt x="897" y="258"/>
                  </a:lnTo>
                  <a:lnTo>
                    <a:pt x="876" y="245"/>
                  </a:lnTo>
                  <a:lnTo>
                    <a:pt x="871" y="224"/>
                  </a:lnTo>
                  <a:lnTo>
                    <a:pt x="931" y="216"/>
                  </a:lnTo>
                  <a:lnTo>
                    <a:pt x="936" y="195"/>
                  </a:lnTo>
                  <a:lnTo>
                    <a:pt x="918" y="195"/>
                  </a:lnTo>
                  <a:lnTo>
                    <a:pt x="902" y="177"/>
                  </a:lnTo>
                  <a:lnTo>
                    <a:pt x="874" y="177"/>
                  </a:lnTo>
                  <a:lnTo>
                    <a:pt x="850" y="138"/>
                  </a:lnTo>
                  <a:lnTo>
                    <a:pt x="829" y="135"/>
                  </a:lnTo>
                  <a:lnTo>
                    <a:pt x="832" y="104"/>
                  </a:lnTo>
                  <a:lnTo>
                    <a:pt x="809" y="102"/>
                  </a:lnTo>
                  <a:lnTo>
                    <a:pt x="779" y="122"/>
                  </a:lnTo>
                  <a:lnTo>
                    <a:pt x="749" y="130"/>
                  </a:lnTo>
                  <a:lnTo>
                    <a:pt x="729" y="117"/>
                  </a:lnTo>
                  <a:lnTo>
                    <a:pt x="702" y="115"/>
                  </a:lnTo>
                  <a:lnTo>
                    <a:pt x="695" y="126"/>
                  </a:lnTo>
                  <a:lnTo>
                    <a:pt x="671" y="130"/>
                  </a:lnTo>
                  <a:lnTo>
                    <a:pt x="617" y="147"/>
                  </a:lnTo>
                  <a:lnTo>
                    <a:pt x="538" y="175"/>
                  </a:lnTo>
                  <a:lnTo>
                    <a:pt x="508" y="150"/>
                  </a:lnTo>
                  <a:lnTo>
                    <a:pt x="472" y="143"/>
                  </a:lnTo>
                  <a:lnTo>
                    <a:pt x="471" y="111"/>
                  </a:lnTo>
                  <a:lnTo>
                    <a:pt x="437" y="87"/>
                  </a:lnTo>
                  <a:lnTo>
                    <a:pt x="390" y="51"/>
                  </a:lnTo>
                  <a:lnTo>
                    <a:pt x="338" y="53"/>
                  </a:lnTo>
                  <a:lnTo>
                    <a:pt x="287" y="1"/>
                  </a:lnTo>
                  <a:lnTo>
                    <a:pt x="285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71</a:t>
              </a:r>
            </a:p>
          </p:txBody>
        </p:sp>
        <p:sp>
          <p:nvSpPr>
            <p:cNvPr id="176" name="FR-39">
              <a:extLst>
                <a:ext uri="{FF2B5EF4-FFF2-40B4-BE49-F238E27FC236}">
                  <a16:creationId xmlns:a16="http://schemas.microsoft.com/office/drawing/2014/main" id="{E37CE9DA-862D-4379-9B4D-7E36B2F1D89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971568" y="2694745"/>
              <a:ext cx="483846" cy="742333"/>
            </a:xfrm>
            <a:custGeom>
              <a:avLst/>
              <a:gdLst>
                <a:gd name="T0" fmla="*/ 120 w 498"/>
                <a:gd name="T1" fmla="*/ 8 h 784"/>
                <a:gd name="T2" fmla="*/ 104 w 498"/>
                <a:gd name="T3" fmla="*/ 49 h 784"/>
                <a:gd name="T4" fmla="*/ 102 w 498"/>
                <a:gd name="T5" fmla="*/ 96 h 784"/>
                <a:gd name="T6" fmla="*/ 70 w 498"/>
                <a:gd name="T7" fmla="*/ 138 h 784"/>
                <a:gd name="T8" fmla="*/ 26 w 498"/>
                <a:gd name="T9" fmla="*/ 180 h 784"/>
                <a:gd name="T10" fmla="*/ 18 w 498"/>
                <a:gd name="T11" fmla="*/ 216 h 784"/>
                <a:gd name="T12" fmla="*/ 3 w 498"/>
                <a:gd name="T13" fmla="*/ 240 h 784"/>
                <a:gd name="T14" fmla="*/ 21 w 498"/>
                <a:gd name="T15" fmla="*/ 276 h 784"/>
                <a:gd name="T16" fmla="*/ 73 w 498"/>
                <a:gd name="T17" fmla="*/ 315 h 784"/>
                <a:gd name="T18" fmla="*/ 107 w 498"/>
                <a:gd name="T19" fmla="*/ 333 h 784"/>
                <a:gd name="T20" fmla="*/ 42 w 498"/>
                <a:gd name="T21" fmla="*/ 362 h 784"/>
                <a:gd name="T22" fmla="*/ 68 w 498"/>
                <a:gd name="T23" fmla="*/ 396 h 784"/>
                <a:gd name="T24" fmla="*/ 60 w 498"/>
                <a:gd name="T25" fmla="*/ 430 h 784"/>
                <a:gd name="T26" fmla="*/ 99 w 498"/>
                <a:gd name="T27" fmla="*/ 492 h 784"/>
                <a:gd name="T28" fmla="*/ 63 w 498"/>
                <a:gd name="T29" fmla="*/ 555 h 784"/>
                <a:gd name="T30" fmla="*/ 97 w 498"/>
                <a:gd name="T31" fmla="*/ 601 h 784"/>
                <a:gd name="T32" fmla="*/ 81 w 498"/>
                <a:gd name="T33" fmla="*/ 638 h 784"/>
                <a:gd name="T34" fmla="*/ 45 w 498"/>
                <a:gd name="T35" fmla="*/ 659 h 784"/>
                <a:gd name="T36" fmla="*/ 130 w 498"/>
                <a:gd name="T37" fmla="*/ 747 h 784"/>
                <a:gd name="T38" fmla="*/ 170 w 498"/>
                <a:gd name="T39" fmla="*/ 778 h 784"/>
                <a:gd name="T40" fmla="*/ 261 w 498"/>
                <a:gd name="T41" fmla="*/ 745 h 784"/>
                <a:gd name="T42" fmla="*/ 336 w 498"/>
                <a:gd name="T43" fmla="*/ 776 h 784"/>
                <a:gd name="T44" fmla="*/ 440 w 498"/>
                <a:gd name="T45" fmla="*/ 654 h 784"/>
                <a:gd name="T46" fmla="*/ 484 w 498"/>
                <a:gd name="T47" fmla="*/ 553 h 784"/>
                <a:gd name="T48" fmla="*/ 460 w 498"/>
                <a:gd name="T49" fmla="*/ 527 h 784"/>
                <a:gd name="T50" fmla="*/ 427 w 498"/>
                <a:gd name="T51" fmla="*/ 505 h 784"/>
                <a:gd name="T52" fmla="*/ 442 w 498"/>
                <a:gd name="T53" fmla="*/ 464 h 784"/>
                <a:gd name="T54" fmla="*/ 477 w 498"/>
                <a:gd name="T55" fmla="*/ 423 h 784"/>
                <a:gd name="T56" fmla="*/ 498 w 498"/>
                <a:gd name="T57" fmla="*/ 369 h 784"/>
                <a:gd name="T58" fmla="*/ 434 w 498"/>
                <a:gd name="T59" fmla="*/ 326 h 784"/>
                <a:gd name="T60" fmla="*/ 376 w 498"/>
                <a:gd name="T61" fmla="*/ 255 h 784"/>
                <a:gd name="T62" fmla="*/ 326 w 498"/>
                <a:gd name="T63" fmla="*/ 219 h 784"/>
                <a:gd name="T64" fmla="*/ 264 w 498"/>
                <a:gd name="T65" fmla="*/ 169 h 784"/>
                <a:gd name="T66" fmla="*/ 287 w 498"/>
                <a:gd name="T67" fmla="*/ 103 h 784"/>
                <a:gd name="T68" fmla="*/ 234 w 498"/>
                <a:gd name="T69" fmla="*/ 56 h 784"/>
                <a:gd name="T70" fmla="*/ 231 w 498"/>
                <a:gd name="T71" fmla="*/ 13 h 784"/>
                <a:gd name="T72" fmla="*/ 195 w 498"/>
                <a:gd name="T73" fmla="*/ 25 h 784"/>
                <a:gd name="T74" fmla="*/ 139 w 498"/>
                <a:gd name="T75" fmla="*/ 6 h 78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98"/>
                <a:gd name="T115" fmla="*/ 0 h 784"/>
                <a:gd name="T116" fmla="*/ 498 w 498"/>
                <a:gd name="T117" fmla="*/ 784 h 784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98" h="784">
                  <a:moveTo>
                    <a:pt x="119" y="0"/>
                  </a:moveTo>
                  <a:lnTo>
                    <a:pt x="120" y="8"/>
                  </a:lnTo>
                  <a:lnTo>
                    <a:pt x="110" y="8"/>
                  </a:lnTo>
                  <a:lnTo>
                    <a:pt x="104" y="49"/>
                  </a:lnTo>
                  <a:lnTo>
                    <a:pt x="97" y="78"/>
                  </a:lnTo>
                  <a:lnTo>
                    <a:pt x="102" y="96"/>
                  </a:lnTo>
                  <a:lnTo>
                    <a:pt x="86" y="117"/>
                  </a:lnTo>
                  <a:lnTo>
                    <a:pt x="70" y="138"/>
                  </a:lnTo>
                  <a:lnTo>
                    <a:pt x="70" y="159"/>
                  </a:lnTo>
                  <a:lnTo>
                    <a:pt x="26" y="180"/>
                  </a:lnTo>
                  <a:lnTo>
                    <a:pt x="13" y="200"/>
                  </a:lnTo>
                  <a:lnTo>
                    <a:pt x="18" y="216"/>
                  </a:lnTo>
                  <a:lnTo>
                    <a:pt x="21" y="229"/>
                  </a:lnTo>
                  <a:lnTo>
                    <a:pt x="3" y="240"/>
                  </a:lnTo>
                  <a:lnTo>
                    <a:pt x="0" y="273"/>
                  </a:lnTo>
                  <a:lnTo>
                    <a:pt x="21" y="276"/>
                  </a:lnTo>
                  <a:lnTo>
                    <a:pt x="45" y="315"/>
                  </a:lnTo>
                  <a:lnTo>
                    <a:pt x="73" y="315"/>
                  </a:lnTo>
                  <a:lnTo>
                    <a:pt x="89" y="333"/>
                  </a:lnTo>
                  <a:lnTo>
                    <a:pt x="107" y="333"/>
                  </a:lnTo>
                  <a:lnTo>
                    <a:pt x="102" y="354"/>
                  </a:lnTo>
                  <a:lnTo>
                    <a:pt x="42" y="362"/>
                  </a:lnTo>
                  <a:lnTo>
                    <a:pt x="47" y="383"/>
                  </a:lnTo>
                  <a:lnTo>
                    <a:pt x="68" y="396"/>
                  </a:lnTo>
                  <a:lnTo>
                    <a:pt x="68" y="422"/>
                  </a:lnTo>
                  <a:lnTo>
                    <a:pt x="60" y="430"/>
                  </a:lnTo>
                  <a:lnTo>
                    <a:pt x="76" y="450"/>
                  </a:lnTo>
                  <a:lnTo>
                    <a:pt x="99" y="492"/>
                  </a:lnTo>
                  <a:lnTo>
                    <a:pt x="89" y="536"/>
                  </a:lnTo>
                  <a:lnTo>
                    <a:pt x="63" y="555"/>
                  </a:lnTo>
                  <a:lnTo>
                    <a:pt x="65" y="591"/>
                  </a:lnTo>
                  <a:lnTo>
                    <a:pt x="97" y="601"/>
                  </a:lnTo>
                  <a:lnTo>
                    <a:pt x="107" y="617"/>
                  </a:lnTo>
                  <a:lnTo>
                    <a:pt x="81" y="638"/>
                  </a:lnTo>
                  <a:lnTo>
                    <a:pt x="13" y="646"/>
                  </a:lnTo>
                  <a:lnTo>
                    <a:pt x="45" y="659"/>
                  </a:lnTo>
                  <a:lnTo>
                    <a:pt x="97" y="732"/>
                  </a:lnTo>
                  <a:lnTo>
                    <a:pt x="130" y="747"/>
                  </a:lnTo>
                  <a:lnTo>
                    <a:pt x="130" y="784"/>
                  </a:lnTo>
                  <a:lnTo>
                    <a:pt x="170" y="778"/>
                  </a:lnTo>
                  <a:lnTo>
                    <a:pt x="219" y="724"/>
                  </a:lnTo>
                  <a:lnTo>
                    <a:pt x="261" y="745"/>
                  </a:lnTo>
                  <a:lnTo>
                    <a:pt x="261" y="776"/>
                  </a:lnTo>
                  <a:lnTo>
                    <a:pt x="336" y="776"/>
                  </a:lnTo>
                  <a:lnTo>
                    <a:pt x="445" y="657"/>
                  </a:lnTo>
                  <a:lnTo>
                    <a:pt x="440" y="654"/>
                  </a:lnTo>
                  <a:lnTo>
                    <a:pt x="445" y="600"/>
                  </a:lnTo>
                  <a:lnTo>
                    <a:pt x="484" y="553"/>
                  </a:lnTo>
                  <a:lnTo>
                    <a:pt x="458" y="543"/>
                  </a:lnTo>
                  <a:lnTo>
                    <a:pt x="460" y="527"/>
                  </a:lnTo>
                  <a:lnTo>
                    <a:pt x="429" y="524"/>
                  </a:lnTo>
                  <a:lnTo>
                    <a:pt x="427" y="505"/>
                  </a:lnTo>
                  <a:lnTo>
                    <a:pt x="447" y="485"/>
                  </a:lnTo>
                  <a:lnTo>
                    <a:pt x="442" y="464"/>
                  </a:lnTo>
                  <a:lnTo>
                    <a:pt x="430" y="438"/>
                  </a:lnTo>
                  <a:lnTo>
                    <a:pt x="477" y="423"/>
                  </a:lnTo>
                  <a:lnTo>
                    <a:pt x="494" y="399"/>
                  </a:lnTo>
                  <a:lnTo>
                    <a:pt x="498" y="369"/>
                  </a:lnTo>
                  <a:lnTo>
                    <a:pt x="460" y="333"/>
                  </a:lnTo>
                  <a:lnTo>
                    <a:pt x="434" y="326"/>
                  </a:lnTo>
                  <a:lnTo>
                    <a:pt x="376" y="307"/>
                  </a:lnTo>
                  <a:lnTo>
                    <a:pt x="376" y="255"/>
                  </a:lnTo>
                  <a:lnTo>
                    <a:pt x="373" y="215"/>
                  </a:lnTo>
                  <a:lnTo>
                    <a:pt x="326" y="219"/>
                  </a:lnTo>
                  <a:lnTo>
                    <a:pt x="253" y="195"/>
                  </a:lnTo>
                  <a:lnTo>
                    <a:pt x="264" y="169"/>
                  </a:lnTo>
                  <a:lnTo>
                    <a:pt x="281" y="129"/>
                  </a:lnTo>
                  <a:lnTo>
                    <a:pt x="287" y="103"/>
                  </a:lnTo>
                  <a:lnTo>
                    <a:pt x="268" y="79"/>
                  </a:lnTo>
                  <a:lnTo>
                    <a:pt x="234" y="56"/>
                  </a:lnTo>
                  <a:lnTo>
                    <a:pt x="230" y="28"/>
                  </a:lnTo>
                  <a:lnTo>
                    <a:pt x="231" y="13"/>
                  </a:lnTo>
                  <a:lnTo>
                    <a:pt x="208" y="12"/>
                  </a:lnTo>
                  <a:lnTo>
                    <a:pt x="195" y="25"/>
                  </a:lnTo>
                  <a:lnTo>
                    <a:pt x="161" y="25"/>
                  </a:lnTo>
                  <a:lnTo>
                    <a:pt x="139" y="6"/>
                  </a:lnTo>
                  <a:lnTo>
                    <a:pt x="119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39</a:t>
              </a:r>
            </a:p>
          </p:txBody>
        </p:sp>
        <p:sp>
          <p:nvSpPr>
            <p:cNvPr id="177" name="FR-51">
              <a:extLst>
                <a:ext uri="{FF2B5EF4-FFF2-40B4-BE49-F238E27FC236}">
                  <a16:creationId xmlns:a16="http://schemas.microsoft.com/office/drawing/2014/main" id="{DC3EFCF5-D9AE-48FE-96D0-0E2250ECB9D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025249" y="1202505"/>
              <a:ext cx="786979" cy="620188"/>
            </a:xfrm>
            <a:custGeom>
              <a:avLst/>
              <a:gdLst>
                <a:gd name="T0" fmla="*/ 211 w 810"/>
                <a:gd name="T1" fmla="*/ 14 h 655"/>
                <a:gd name="T2" fmla="*/ 162 w 810"/>
                <a:gd name="T3" fmla="*/ 39 h 655"/>
                <a:gd name="T4" fmla="*/ 112 w 810"/>
                <a:gd name="T5" fmla="*/ 146 h 655"/>
                <a:gd name="T6" fmla="*/ 159 w 810"/>
                <a:gd name="T7" fmla="*/ 193 h 655"/>
                <a:gd name="T8" fmla="*/ 92 w 810"/>
                <a:gd name="T9" fmla="*/ 222 h 655"/>
                <a:gd name="T10" fmla="*/ 104 w 810"/>
                <a:gd name="T11" fmla="*/ 253 h 655"/>
                <a:gd name="T12" fmla="*/ 86 w 810"/>
                <a:gd name="T13" fmla="*/ 281 h 655"/>
                <a:gd name="T14" fmla="*/ 133 w 810"/>
                <a:gd name="T15" fmla="*/ 300 h 655"/>
                <a:gd name="T16" fmla="*/ 89 w 810"/>
                <a:gd name="T17" fmla="*/ 370 h 655"/>
                <a:gd name="T18" fmla="*/ 37 w 810"/>
                <a:gd name="T19" fmla="*/ 417 h 655"/>
                <a:gd name="T20" fmla="*/ 27 w 810"/>
                <a:gd name="T21" fmla="*/ 448 h 655"/>
                <a:gd name="T22" fmla="*/ 0 w 810"/>
                <a:gd name="T23" fmla="*/ 498 h 655"/>
                <a:gd name="T24" fmla="*/ 32 w 810"/>
                <a:gd name="T25" fmla="*/ 550 h 655"/>
                <a:gd name="T26" fmla="*/ 27 w 810"/>
                <a:gd name="T27" fmla="*/ 591 h 655"/>
                <a:gd name="T28" fmla="*/ 65 w 810"/>
                <a:gd name="T29" fmla="*/ 602 h 655"/>
                <a:gd name="T30" fmla="*/ 122 w 810"/>
                <a:gd name="T31" fmla="*/ 647 h 655"/>
                <a:gd name="T32" fmla="*/ 259 w 810"/>
                <a:gd name="T33" fmla="*/ 586 h 655"/>
                <a:gd name="T34" fmla="*/ 349 w 810"/>
                <a:gd name="T35" fmla="*/ 554 h 655"/>
                <a:gd name="T36" fmla="*/ 441 w 810"/>
                <a:gd name="T37" fmla="*/ 528 h 655"/>
                <a:gd name="T38" fmla="*/ 494 w 810"/>
                <a:gd name="T39" fmla="*/ 652 h 655"/>
                <a:gd name="T40" fmla="*/ 621 w 810"/>
                <a:gd name="T41" fmla="*/ 636 h 655"/>
                <a:gd name="T42" fmla="*/ 729 w 810"/>
                <a:gd name="T43" fmla="*/ 615 h 655"/>
                <a:gd name="T44" fmla="*/ 799 w 810"/>
                <a:gd name="T45" fmla="*/ 539 h 655"/>
                <a:gd name="T46" fmla="*/ 748 w 810"/>
                <a:gd name="T47" fmla="*/ 459 h 655"/>
                <a:gd name="T48" fmla="*/ 761 w 810"/>
                <a:gd name="T49" fmla="*/ 406 h 655"/>
                <a:gd name="T50" fmla="*/ 761 w 810"/>
                <a:gd name="T51" fmla="*/ 354 h 655"/>
                <a:gd name="T52" fmla="*/ 810 w 810"/>
                <a:gd name="T53" fmla="*/ 276 h 655"/>
                <a:gd name="T54" fmla="*/ 792 w 810"/>
                <a:gd name="T55" fmla="*/ 253 h 655"/>
                <a:gd name="T56" fmla="*/ 756 w 810"/>
                <a:gd name="T57" fmla="*/ 156 h 655"/>
                <a:gd name="T58" fmla="*/ 766 w 810"/>
                <a:gd name="T59" fmla="*/ 133 h 655"/>
                <a:gd name="T60" fmla="*/ 759 w 810"/>
                <a:gd name="T61" fmla="*/ 116 h 655"/>
                <a:gd name="T62" fmla="*/ 708 w 810"/>
                <a:gd name="T63" fmla="*/ 121 h 655"/>
                <a:gd name="T64" fmla="*/ 690 w 810"/>
                <a:gd name="T65" fmla="*/ 108 h 655"/>
                <a:gd name="T66" fmla="*/ 616 w 810"/>
                <a:gd name="T67" fmla="*/ 121 h 655"/>
                <a:gd name="T68" fmla="*/ 582 w 810"/>
                <a:gd name="T69" fmla="*/ 86 h 655"/>
                <a:gd name="T70" fmla="*/ 539 w 810"/>
                <a:gd name="T71" fmla="*/ 94 h 655"/>
                <a:gd name="T72" fmla="*/ 462 w 810"/>
                <a:gd name="T73" fmla="*/ 60 h 655"/>
                <a:gd name="T74" fmla="*/ 423 w 810"/>
                <a:gd name="T75" fmla="*/ 36 h 655"/>
                <a:gd name="T76" fmla="*/ 304 w 810"/>
                <a:gd name="T77" fmla="*/ 0 h 655"/>
                <a:gd name="T78" fmla="*/ 287 w 810"/>
                <a:gd name="T79" fmla="*/ 29 h 655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810"/>
                <a:gd name="T121" fmla="*/ 0 h 655"/>
                <a:gd name="T122" fmla="*/ 810 w 810"/>
                <a:gd name="T123" fmla="*/ 655 h 655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810" h="655">
                  <a:moveTo>
                    <a:pt x="242" y="0"/>
                  </a:moveTo>
                  <a:lnTo>
                    <a:pt x="211" y="14"/>
                  </a:lnTo>
                  <a:lnTo>
                    <a:pt x="217" y="39"/>
                  </a:lnTo>
                  <a:lnTo>
                    <a:pt x="162" y="39"/>
                  </a:lnTo>
                  <a:lnTo>
                    <a:pt x="112" y="76"/>
                  </a:lnTo>
                  <a:lnTo>
                    <a:pt x="112" y="146"/>
                  </a:lnTo>
                  <a:lnTo>
                    <a:pt x="149" y="170"/>
                  </a:lnTo>
                  <a:lnTo>
                    <a:pt x="159" y="193"/>
                  </a:lnTo>
                  <a:lnTo>
                    <a:pt x="99" y="198"/>
                  </a:lnTo>
                  <a:lnTo>
                    <a:pt x="92" y="222"/>
                  </a:lnTo>
                  <a:lnTo>
                    <a:pt x="115" y="237"/>
                  </a:lnTo>
                  <a:lnTo>
                    <a:pt x="104" y="253"/>
                  </a:lnTo>
                  <a:lnTo>
                    <a:pt x="81" y="264"/>
                  </a:lnTo>
                  <a:lnTo>
                    <a:pt x="86" y="281"/>
                  </a:lnTo>
                  <a:lnTo>
                    <a:pt x="120" y="281"/>
                  </a:lnTo>
                  <a:lnTo>
                    <a:pt x="133" y="300"/>
                  </a:lnTo>
                  <a:lnTo>
                    <a:pt x="110" y="316"/>
                  </a:lnTo>
                  <a:lnTo>
                    <a:pt x="89" y="370"/>
                  </a:lnTo>
                  <a:lnTo>
                    <a:pt x="50" y="389"/>
                  </a:lnTo>
                  <a:lnTo>
                    <a:pt x="37" y="417"/>
                  </a:lnTo>
                  <a:lnTo>
                    <a:pt x="24" y="433"/>
                  </a:lnTo>
                  <a:lnTo>
                    <a:pt x="27" y="448"/>
                  </a:lnTo>
                  <a:lnTo>
                    <a:pt x="6" y="461"/>
                  </a:lnTo>
                  <a:lnTo>
                    <a:pt x="0" y="498"/>
                  </a:lnTo>
                  <a:lnTo>
                    <a:pt x="21" y="511"/>
                  </a:lnTo>
                  <a:lnTo>
                    <a:pt x="32" y="550"/>
                  </a:lnTo>
                  <a:lnTo>
                    <a:pt x="19" y="573"/>
                  </a:lnTo>
                  <a:lnTo>
                    <a:pt x="27" y="591"/>
                  </a:lnTo>
                  <a:lnTo>
                    <a:pt x="65" y="589"/>
                  </a:lnTo>
                  <a:lnTo>
                    <a:pt x="65" y="602"/>
                  </a:lnTo>
                  <a:lnTo>
                    <a:pt x="77" y="599"/>
                  </a:lnTo>
                  <a:lnTo>
                    <a:pt x="122" y="647"/>
                  </a:lnTo>
                  <a:lnTo>
                    <a:pt x="185" y="636"/>
                  </a:lnTo>
                  <a:lnTo>
                    <a:pt x="259" y="586"/>
                  </a:lnTo>
                  <a:lnTo>
                    <a:pt x="304" y="586"/>
                  </a:lnTo>
                  <a:lnTo>
                    <a:pt x="349" y="554"/>
                  </a:lnTo>
                  <a:lnTo>
                    <a:pt x="402" y="525"/>
                  </a:lnTo>
                  <a:lnTo>
                    <a:pt x="441" y="528"/>
                  </a:lnTo>
                  <a:lnTo>
                    <a:pt x="447" y="581"/>
                  </a:lnTo>
                  <a:lnTo>
                    <a:pt x="494" y="652"/>
                  </a:lnTo>
                  <a:lnTo>
                    <a:pt x="547" y="652"/>
                  </a:lnTo>
                  <a:lnTo>
                    <a:pt x="621" y="636"/>
                  </a:lnTo>
                  <a:lnTo>
                    <a:pt x="674" y="655"/>
                  </a:lnTo>
                  <a:lnTo>
                    <a:pt x="729" y="615"/>
                  </a:lnTo>
                  <a:lnTo>
                    <a:pt x="737" y="549"/>
                  </a:lnTo>
                  <a:lnTo>
                    <a:pt x="799" y="539"/>
                  </a:lnTo>
                  <a:lnTo>
                    <a:pt x="797" y="498"/>
                  </a:lnTo>
                  <a:lnTo>
                    <a:pt x="748" y="459"/>
                  </a:lnTo>
                  <a:lnTo>
                    <a:pt x="742" y="438"/>
                  </a:lnTo>
                  <a:lnTo>
                    <a:pt x="761" y="406"/>
                  </a:lnTo>
                  <a:lnTo>
                    <a:pt x="745" y="394"/>
                  </a:lnTo>
                  <a:lnTo>
                    <a:pt x="761" y="354"/>
                  </a:lnTo>
                  <a:lnTo>
                    <a:pt x="789" y="341"/>
                  </a:lnTo>
                  <a:lnTo>
                    <a:pt x="810" y="276"/>
                  </a:lnTo>
                  <a:lnTo>
                    <a:pt x="769" y="279"/>
                  </a:lnTo>
                  <a:lnTo>
                    <a:pt x="792" y="253"/>
                  </a:lnTo>
                  <a:lnTo>
                    <a:pt x="774" y="196"/>
                  </a:lnTo>
                  <a:lnTo>
                    <a:pt x="756" y="156"/>
                  </a:lnTo>
                  <a:lnTo>
                    <a:pt x="779" y="136"/>
                  </a:lnTo>
                  <a:lnTo>
                    <a:pt x="766" y="133"/>
                  </a:lnTo>
                  <a:lnTo>
                    <a:pt x="762" y="115"/>
                  </a:lnTo>
                  <a:lnTo>
                    <a:pt x="759" y="116"/>
                  </a:lnTo>
                  <a:lnTo>
                    <a:pt x="735" y="94"/>
                  </a:lnTo>
                  <a:lnTo>
                    <a:pt x="708" y="121"/>
                  </a:lnTo>
                  <a:lnTo>
                    <a:pt x="700" y="121"/>
                  </a:lnTo>
                  <a:lnTo>
                    <a:pt x="690" y="108"/>
                  </a:lnTo>
                  <a:lnTo>
                    <a:pt x="627" y="105"/>
                  </a:lnTo>
                  <a:lnTo>
                    <a:pt x="616" y="121"/>
                  </a:lnTo>
                  <a:lnTo>
                    <a:pt x="597" y="121"/>
                  </a:lnTo>
                  <a:lnTo>
                    <a:pt x="582" y="86"/>
                  </a:lnTo>
                  <a:lnTo>
                    <a:pt x="547" y="86"/>
                  </a:lnTo>
                  <a:lnTo>
                    <a:pt x="539" y="94"/>
                  </a:lnTo>
                  <a:lnTo>
                    <a:pt x="505" y="92"/>
                  </a:lnTo>
                  <a:lnTo>
                    <a:pt x="462" y="60"/>
                  </a:lnTo>
                  <a:lnTo>
                    <a:pt x="433" y="52"/>
                  </a:lnTo>
                  <a:lnTo>
                    <a:pt x="423" y="36"/>
                  </a:lnTo>
                  <a:lnTo>
                    <a:pt x="367" y="2"/>
                  </a:lnTo>
                  <a:lnTo>
                    <a:pt x="304" y="0"/>
                  </a:lnTo>
                  <a:lnTo>
                    <a:pt x="305" y="24"/>
                  </a:lnTo>
                  <a:lnTo>
                    <a:pt x="287" y="29"/>
                  </a:lnTo>
                  <a:lnTo>
                    <a:pt x="242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51</a:t>
              </a:r>
            </a:p>
          </p:txBody>
        </p:sp>
        <p:sp>
          <p:nvSpPr>
            <p:cNvPr id="178" name="FR-60">
              <a:extLst>
                <a:ext uri="{FF2B5EF4-FFF2-40B4-BE49-F238E27FC236}">
                  <a16:creationId xmlns:a16="http://schemas.microsoft.com/office/drawing/2014/main" id="{627A865E-C596-455F-83F0-F6C7671634C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195522" y="962003"/>
              <a:ext cx="700508" cy="497098"/>
            </a:xfrm>
            <a:custGeom>
              <a:avLst/>
              <a:gdLst>
                <a:gd name="T0" fmla="*/ 11 w 721"/>
                <a:gd name="T1" fmla="*/ 20 h 525"/>
                <a:gd name="T2" fmla="*/ 21 w 721"/>
                <a:gd name="T3" fmla="*/ 46 h 525"/>
                <a:gd name="T4" fmla="*/ 0 w 721"/>
                <a:gd name="T5" fmla="*/ 124 h 525"/>
                <a:gd name="T6" fmla="*/ 16 w 721"/>
                <a:gd name="T7" fmla="*/ 195 h 525"/>
                <a:gd name="T8" fmla="*/ 31 w 721"/>
                <a:gd name="T9" fmla="*/ 213 h 525"/>
                <a:gd name="T10" fmla="*/ 6 w 721"/>
                <a:gd name="T11" fmla="*/ 270 h 525"/>
                <a:gd name="T12" fmla="*/ 36 w 721"/>
                <a:gd name="T13" fmla="*/ 351 h 525"/>
                <a:gd name="T14" fmla="*/ 31 w 721"/>
                <a:gd name="T15" fmla="*/ 377 h 525"/>
                <a:gd name="T16" fmla="*/ 4 w 721"/>
                <a:gd name="T17" fmla="*/ 395 h 525"/>
                <a:gd name="T18" fmla="*/ 16 w 721"/>
                <a:gd name="T19" fmla="*/ 416 h 525"/>
                <a:gd name="T20" fmla="*/ 102 w 721"/>
                <a:gd name="T21" fmla="*/ 447 h 525"/>
                <a:gd name="T22" fmla="*/ 185 w 721"/>
                <a:gd name="T23" fmla="*/ 416 h 525"/>
                <a:gd name="T24" fmla="*/ 248 w 721"/>
                <a:gd name="T25" fmla="*/ 458 h 525"/>
                <a:gd name="T26" fmla="*/ 307 w 721"/>
                <a:gd name="T27" fmla="*/ 437 h 525"/>
                <a:gd name="T28" fmla="*/ 419 w 721"/>
                <a:gd name="T29" fmla="*/ 499 h 525"/>
                <a:gd name="T30" fmla="*/ 469 w 721"/>
                <a:gd name="T31" fmla="*/ 497 h 525"/>
                <a:gd name="T32" fmla="*/ 511 w 721"/>
                <a:gd name="T33" fmla="*/ 525 h 525"/>
                <a:gd name="T34" fmla="*/ 550 w 721"/>
                <a:gd name="T35" fmla="*/ 502 h 525"/>
                <a:gd name="T36" fmla="*/ 631 w 721"/>
                <a:gd name="T37" fmla="*/ 504 h 525"/>
                <a:gd name="T38" fmla="*/ 682 w 721"/>
                <a:gd name="T39" fmla="*/ 491 h 525"/>
                <a:gd name="T40" fmla="*/ 703 w 721"/>
                <a:gd name="T41" fmla="*/ 487 h 525"/>
                <a:gd name="T42" fmla="*/ 690 w 721"/>
                <a:gd name="T43" fmla="*/ 430 h 525"/>
                <a:gd name="T44" fmla="*/ 645 w 721"/>
                <a:gd name="T45" fmla="*/ 430 h 525"/>
                <a:gd name="T46" fmla="*/ 634 w 721"/>
                <a:gd name="T47" fmla="*/ 393 h 525"/>
                <a:gd name="T48" fmla="*/ 653 w 721"/>
                <a:gd name="T49" fmla="*/ 351 h 525"/>
                <a:gd name="T50" fmla="*/ 637 w 721"/>
                <a:gd name="T51" fmla="*/ 319 h 525"/>
                <a:gd name="T52" fmla="*/ 698 w 721"/>
                <a:gd name="T53" fmla="*/ 245 h 525"/>
                <a:gd name="T54" fmla="*/ 690 w 721"/>
                <a:gd name="T55" fmla="*/ 211 h 525"/>
                <a:gd name="T56" fmla="*/ 706 w 721"/>
                <a:gd name="T57" fmla="*/ 108 h 525"/>
                <a:gd name="T58" fmla="*/ 640 w 721"/>
                <a:gd name="T59" fmla="*/ 52 h 525"/>
                <a:gd name="T60" fmla="*/ 534 w 721"/>
                <a:gd name="T61" fmla="*/ 65 h 525"/>
                <a:gd name="T62" fmla="*/ 428 w 721"/>
                <a:gd name="T63" fmla="*/ 105 h 525"/>
                <a:gd name="T64" fmla="*/ 343 w 721"/>
                <a:gd name="T65" fmla="*/ 63 h 525"/>
                <a:gd name="T66" fmla="*/ 188 w 721"/>
                <a:gd name="T67" fmla="*/ 52 h 525"/>
                <a:gd name="T68" fmla="*/ 116 w 721"/>
                <a:gd name="T69" fmla="*/ 34 h 525"/>
                <a:gd name="T70" fmla="*/ 66 w 721"/>
                <a:gd name="T71" fmla="*/ 36 h 525"/>
                <a:gd name="T72" fmla="*/ 61 w 721"/>
                <a:gd name="T73" fmla="*/ 0 h 525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721"/>
                <a:gd name="T112" fmla="*/ 0 h 525"/>
                <a:gd name="T113" fmla="*/ 721 w 721"/>
                <a:gd name="T114" fmla="*/ 525 h 525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721" h="525">
                  <a:moveTo>
                    <a:pt x="28" y="0"/>
                  </a:moveTo>
                  <a:lnTo>
                    <a:pt x="11" y="20"/>
                  </a:lnTo>
                  <a:lnTo>
                    <a:pt x="0" y="46"/>
                  </a:lnTo>
                  <a:lnTo>
                    <a:pt x="21" y="46"/>
                  </a:lnTo>
                  <a:lnTo>
                    <a:pt x="11" y="72"/>
                  </a:lnTo>
                  <a:lnTo>
                    <a:pt x="0" y="124"/>
                  </a:lnTo>
                  <a:lnTo>
                    <a:pt x="16" y="150"/>
                  </a:lnTo>
                  <a:lnTo>
                    <a:pt x="16" y="195"/>
                  </a:lnTo>
                  <a:lnTo>
                    <a:pt x="42" y="195"/>
                  </a:lnTo>
                  <a:lnTo>
                    <a:pt x="31" y="213"/>
                  </a:lnTo>
                  <a:lnTo>
                    <a:pt x="13" y="247"/>
                  </a:lnTo>
                  <a:lnTo>
                    <a:pt x="6" y="270"/>
                  </a:lnTo>
                  <a:lnTo>
                    <a:pt x="29" y="291"/>
                  </a:lnTo>
                  <a:lnTo>
                    <a:pt x="36" y="351"/>
                  </a:lnTo>
                  <a:lnTo>
                    <a:pt x="50" y="372"/>
                  </a:lnTo>
                  <a:lnTo>
                    <a:pt x="31" y="377"/>
                  </a:lnTo>
                  <a:lnTo>
                    <a:pt x="8" y="364"/>
                  </a:lnTo>
                  <a:lnTo>
                    <a:pt x="4" y="395"/>
                  </a:lnTo>
                  <a:lnTo>
                    <a:pt x="6" y="393"/>
                  </a:lnTo>
                  <a:lnTo>
                    <a:pt x="16" y="416"/>
                  </a:lnTo>
                  <a:lnTo>
                    <a:pt x="31" y="442"/>
                  </a:lnTo>
                  <a:lnTo>
                    <a:pt x="102" y="447"/>
                  </a:lnTo>
                  <a:lnTo>
                    <a:pt x="151" y="442"/>
                  </a:lnTo>
                  <a:lnTo>
                    <a:pt x="185" y="416"/>
                  </a:lnTo>
                  <a:lnTo>
                    <a:pt x="227" y="442"/>
                  </a:lnTo>
                  <a:lnTo>
                    <a:pt x="248" y="458"/>
                  </a:lnTo>
                  <a:lnTo>
                    <a:pt x="279" y="450"/>
                  </a:lnTo>
                  <a:lnTo>
                    <a:pt x="307" y="437"/>
                  </a:lnTo>
                  <a:lnTo>
                    <a:pt x="362" y="465"/>
                  </a:lnTo>
                  <a:lnTo>
                    <a:pt x="419" y="499"/>
                  </a:lnTo>
                  <a:lnTo>
                    <a:pt x="438" y="518"/>
                  </a:lnTo>
                  <a:lnTo>
                    <a:pt x="469" y="497"/>
                  </a:lnTo>
                  <a:lnTo>
                    <a:pt x="495" y="512"/>
                  </a:lnTo>
                  <a:lnTo>
                    <a:pt x="511" y="525"/>
                  </a:lnTo>
                  <a:lnTo>
                    <a:pt x="534" y="523"/>
                  </a:lnTo>
                  <a:lnTo>
                    <a:pt x="550" y="502"/>
                  </a:lnTo>
                  <a:lnTo>
                    <a:pt x="586" y="523"/>
                  </a:lnTo>
                  <a:lnTo>
                    <a:pt x="631" y="504"/>
                  </a:lnTo>
                  <a:lnTo>
                    <a:pt x="656" y="512"/>
                  </a:lnTo>
                  <a:lnTo>
                    <a:pt x="682" y="491"/>
                  </a:lnTo>
                  <a:lnTo>
                    <a:pt x="698" y="483"/>
                  </a:lnTo>
                  <a:lnTo>
                    <a:pt x="703" y="487"/>
                  </a:lnTo>
                  <a:lnTo>
                    <a:pt x="708" y="452"/>
                  </a:lnTo>
                  <a:lnTo>
                    <a:pt x="690" y="430"/>
                  </a:lnTo>
                  <a:lnTo>
                    <a:pt x="658" y="409"/>
                  </a:lnTo>
                  <a:lnTo>
                    <a:pt x="645" y="430"/>
                  </a:lnTo>
                  <a:lnTo>
                    <a:pt x="637" y="433"/>
                  </a:lnTo>
                  <a:lnTo>
                    <a:pt x="634" y="393"/>
                  </a:lnTo>
                  <a:lnTo>
                    <a:pt x="658" y="388"/>
                  </a:lnTo>
                  <a:lnTo>
                    <a:pt x="653" y="351"/>
                  </a:lnTo>
                  <a:lnTo>
                    <a:pt x="621" y="346"/>
                  </a:lnTo>
                  <a:lnTo>
                    <a:pt x="637" y="319"/>
                  </a:lnTo>
                  <a:lnTo>
                    <a:pt x="682" y="309"/>
                  </a:lnTo>
                  <a:lnTo>
                    <a:pt x="698" y="245"/>
                  </a:lnTo>
                  <a:lnTo>
                    <a:pt x="721" y="235"/>
                  </a:lnTo>
                  <a:lnTo>
                    <a:pt x="690" y="211"/>
                  </a:lnTo>
                  <a:lnTo>
                    <a:pt x="701" y="187"/>
                  </a:lnTo>
                  <a:lnTo>
                    <a:pt x="706" y="108"/>
                  </a:lnTo>
                  <a:lnTo>
                    <a:pt x="695" y="47"/>
                  </a:lnTo>
                  <a:lnTo>
                    <a:pt x="640" y="52"/>
                  </a:lnTo>
                  <a:lnTo>
                    <a:pt x="603" y="47"/>
                  </a:lnTo>
                  <a:lnTo>
                    <a:pt x="534" y="65"/>
                  </a:lnTo>
                  <a:lnTo>
                    <a:pt x="476" y="121"/>
                  </a:lnTo>
                  <a:lnTo>
                    <a:pt x="428" y="105"/>
                  </a:lnTo>
                  <a:lnTo>
                    <a:pt x="381" y="100"/>
                  </a:lnTo>
                  <a:lnTo>
                    <a:pt x="343" y="63"/>
                  </a:lnTo>
                  <a:lnTo>
                    <a:pt x="277" y="44"/>
                  </a:lnTo>
                  <a:lnTo>
                    <a:pt x="188" y="52"/>
                  </a:lnTo>
                  <a:lnTo>
                    <a:pt x="164" y="34"/>
                  </a:lnTo>
                  <a:lnTo>
                    <a:pt x="116" y="34"/>
                  </a:lnTo>
                  <a:lnTo>
                    <a:pt x="82" y="47"/>
                  </a:lnTo>
                  <a:lnTo>
                    <a:pt x="66" y="36"/>
                  </a:lnTo>
                  <a:lnTo>
                    <a:pt x="66" y="8"/>
                  </a:lnTo>
                  <a:lnTo>
                    <a:pt x="61" y="0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60</a:t>
              </a:r>
            </a:p>
          </p:txBody>
        </p:sp>
        <p:sp>
          <p:nvSpPr>
            <p:cNvPr id="179" name="FR-62">
              <a:extLst>
                <a:ext uri="{FF2B5EF4-FFF2-40B4-BE49-F238E27FC236}">
                  <a16:creationId xmlns:a16="http://schemas.microsoft.com/office/drawing/2014/main" id="{FEE0C2B4-E377-42DD-BF04-5EE04A2A14A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125569" y="57758"/>
              <a:ext cx="768519" cy="706353"/>
            </a:xfrm>
            <a:custGeom>
              <a:avLst/>
              <a:gdLst>
                <a:gd name="T0" fmla="*/ 116 w 791"/>
                <a:gd name="T1" fmla="*/ 28 h 746"/>
                <a:gd name="T2" fmla="*/ 1 w 791"/>
                <a:gd name="T3" fmla="*/ 468 h 746"/>
                <a:gd name="T4" fmla="*/ 41 w 791"/>
                <a:gd name="T5" fmla="*/ 488 h 746"/>
                <a:gd name="T6" fmla="*/ 85 w 791"/>
                <a:gd name="T7" fmla="*/ 509 h 746"/>
                <a:gd name="T8" fmla="*/ 127 w 791"/>
                <a:gd name="T9" fmla="*/ 493 h 746"/>
                <a:gd name="T10" fmla="*/ 195 w 791"/>
                <a:gd name="T11" fmla="*/ 525 h 746"/>
                <a:gd name="T12" fmla="*/ 254 w 791"/>
                <a:gd name="T13" fmla="*/ 577 h 746"/>
                <a:gd name="T14" fmla="*/ 288 w 791"/>
                <a:gd name="T15" fmla="*/ 615 h 746"/>
                <a:gd name="T16" fmla="*/ 387 w 791"/>
                <a:gd name="T17" fmla="*/ 595 h 746"/>
                <a:gd name="T18" fmla="*/ 434 w 791"/>
                <a:gd name="T19" fmla="*/ 595 h 746"/>
                <a:gd name="T20" fmla="*/ 411 w 791"/>
                <a:gd name="T21" fmla="*/ 647 h 746"/>
                <a:gd name="T22" fmla="*/ 424 w 791"/>
                <a:gd name="T23" fmla="*/ 696 h 746"/>
                <a:gd name="T24" fmla="*/ 442 w 791"/>
                <a:gd name="T25" fmla="*/ 673 h 746"/>
                <a:gd name="T26" fmla="*/ 489 w 791"/>
                <a:gd name="T27" fmla="*/ 675 h 746"/>
                <a:gd name="T28" fmla="*/ 567 w 791"/>
                <a:gd name="T29" fmla="*/ 694 h 746"/>
                <a:gd name="T30" fmla="*/ 601 w 791"/>
                <a:gd name="T31" fmla="*/ 691 h 746"/>
                <a:gd name="T32" fmla="*/ 588 w 791"/>
                <a:gd name="T33" fmla="*/ 735 h 746"/>
                <a:gd name="T34" fmla="*/ 640 w 791"/>
                <a:gd name="T35" fmla="*/ 709 h 746"/>
                <a:gd name="T36" fmla="*/ 650 w 791"/>
                <a:gd name="T37" fmla="*/ 746 h 746"/>
                <a:gd name="T38" fmla="*/ 752 w 791"/>
                <a:gd name="T39" fmla="*/ 725 h 746"/>
                <a:gd name="T40" fmla="*/ 770 w 791"/>
                <a:gd name="T41" fmla="*/ 698 h 746"/>
                <a:gd name="T42" fmla="*/ 738 w 791"/>
                <a:gd name="T43" fmla="*/ 680 h 746"/>
                <a:gd name="T44" fmla="*/ 696 w 791"/>
                <a:gd name="T45" fmla="*/ 674 h 746"/>
                <a:gd name="T46" fmla="*/ 746 w 791"/>
                <a:gd name="T47" fmla="*/ 661 h 746"/>
                <a:gd name="T48" fmla="*/ 773 w 791"/>
                <a:gd name="T49" fmla="*/ 616 h 746"/>
                <a:gd name="T50" fmla="*/ 791 w 791"/>
                <a:gd name="T51" fmla="*/ 582 h 746"/>
                <a:gd name="T52" fmla="*/ 728 w 791"/>
                <a:gd name="T53" fmla="*/ 560 h 746"/>
                <a:gd name="T54" fmla="*/ 741 w 791"/>
                <a:gd name="T55" fmla="*/ 539 h 746"/>
                <a:gd name="T56" fmla="*/ 728 w 791"/>
                <a:gd name="T57" fmla="*/ 510 h 746"/>
                <a:gd name="T58" fmla="*/ 704 w 791"/>
                <a:gd name="T59" fmla="*/ 463 h 746"/>
                <a:gd name="T60" fmla="*/ 743 w 791"/>
                <a:gd name="T61" fmla="*/ 428 h 746"/>
                <a:gd name="T62" fmla="*/ 706 w 791"/>
                <a:gd name="T63" fmla="*/ 383 h 746"/>
                <a:gd name="T64" fmla="*/ 611 w 791"/>
                <a:gd name="T65" fmla="*/ 365 h 746"/>
                <a:gd name="T66" fmla="*/ 640 w 791"/>
                <a:gd name="T67" fmla="*/ 291 h 746"/>
                <a:gd name="T68" fmla="*/ 600 w 791"/>
                <a:gd name="T69" fmla="*/ 264 h 746"/>
                <a:gd name="T70" fmla="*/ 500 w 791"/>
                <a:gd name="T71" fmla="*/ 288 h 746"/>
                <a:gd name="T72" fmla="*/ 397 w 791"/>
                <a:gd name="T73" fmla="*/ 233 h 746"/>
                <a:gd name="T74" fmla="*/ 426 w 791"/>
                <a:gd name="T75" fmla="*/ 188 h 746"/>
                <a:gd name="T76" fmla="*/ 344 w 791"/>
                <a:gd name="T77" fmla="*/ 167 h 746"/>
                <a:gd name="T78" fmla="*/ 260 w 791"/>
                <a:gd name="T79" fmla="*/ 0 h 7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791"/>
                <a:gd name="T121" fmla="*/ 0 h 746"/>
                <a:gd name="T122" fmla="*/ 791 w 791"/>
                <a:gd name="T123" fmla="*/ 746 h 74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791" h="746">
                  <a:moveTo>
                    <a:pt x="260" y="0"/>
                  </a:moveTo>
                  <a:lnTo>
                    <a:pt x="116" y="28"/>
                  </a:lnTo>
                  <a:lnTo>
                    <a:pt x="1" y="116"/>
                  </a:lnTo>
                  <a:lnTo>
                    <a:pt x="1" y="468"/>
                  </a:lnTo>
                  <a:lnTo>
                    <a:pt x="0" y="478"/>
                  </a:lnTo>
                  <a:lnTo>
                    <a:pt x="41" y="488"/>
                  </a:lnTo>
                  <a:lnTo>
                    <a:pt x="54" y="517"/>
                  </a:lnTo>
                  <a:lnTo>
                    <a:pt x="85" y="509"/>
                  </a:lnTo>
                  <a:lnTo>
                    <a:pt x="103" y="485"/>
                  </a:lnTo>
                  <a:lnTo>
                    <a:pt x="127" y="493"/>
                  </a:lnTo>
                  <a:lnTo>
                    <a:pt x="176" y="532"/>
                  </a:lnTo>
                  <a:lnTo>
                    <a:pt x="195" y="525"/>
                  </a:lnTo>
                  <a:lnTo>
                    <a:pt x="208" y="556"/>
                  </a:lnTo>
                  <a:lnTo>
                    <a:pt x="254" y="577"/>
                  </a:lnTo>
                  <a:lnTo>
                    <a:pt x="254" y="603"/>
                  </a:lnTo>
                  <a:lnTo>
                    <a:pt x="288" y="615"/>
                  </a:lnTo>
                  <a:lnTo>
                    <a:pt x="322" y="603"/>
                  </a:lnTo>
                  <a:lnTo>
                    <a:pt x="387" y="595"/>
                  </a:lnTo>
                  <a:lnTo>
                    <a:pt x="403" y="608"/>
                  </a:lnTo>
                  <a:lnTo>
                    <a:pt x="434" y="595"/>
                  </a:lnTo>
                  <a:lnTo>
                    <a:pt x="450" y="621"/>
                  </a:lnTo>
                  <a:lnTo>
                    <a:pt x="411" y="647"/>
                  </a:lnTo>
                  <a:lnTo>
                    <a:pt x="411" y="683"/>
                  </a:lnTo>
                  <a:lnTo>
                    <a:pt x="424" y="696"/>
                  </a:lnTo>
                  <a:lnTo>
                    <a:pt x="434" y="694"/>
                  </a:lnTo>
                  <a:lnTo>
                    <a:pt x="442" y="673"/>
                  </a:lnTo>
                  <a:lnTo>
                    <a:pt x="465" y="657"/>
                  </a:lnTo>
                  <a:lnTo>
                    <a:pt x="489" y="675"/>
                  </a:lnTo>
                  <a:lnTo>
                    <a:pt x="543" y="694"/>
                  </a:lnTo>
                  <a:lnTo>
                    <a:pt x="567" y="694"/>
                  </a:lnTo>
                  <a:lnTo>
                    <a:pt x="567" y="668"/>
                  </a:lnTo>
                  <a:lnTo>
                    <a:pt x="601" y="691"/>
                  </a:lnTo>
                  <a:lnTo>
                    <a:pt x="603" y="712"/>
                  </a:lnTo>
                  <a:lnTo>
                    <a:pt x="588" y="735"/>
                  </a:lnTo>
                  <a:lnTo>
                    <a:pt x="616" y="720"/>
                  </a:lnTo>
                  <a:lnTo>
                    <a:pt x="640" y="709"/>
                  </a:lnTo>
                  <a:lnTo>
                    <a:pt x="650" y="728"/>
                  </a:lnTo>
                  <a:lnTo>
                    <a:pt x="650" y="746"/>
                  </a:lnTo>
                  <a:lnTo>
                    <a:pt x="689" y="725"/>
                  </a:lnTo>
                  <a:lnTo>
                    <a:pt x="752" y="725"/>
                  </a:lnTo>
                  <a:lnTo>
                    <a:pt x="754" y="728"/>
                  </a:lnTo>
                  <a:lnTo>
                    <a:pt x="770" y="698"/>
                  </a:lnTo>
                  <a:lnTo>
                    <a:pt x="762" y="685"/>
                  </a:lnTo>
                  <a:lnTo>
                    <a:pt x="738" y="680"/>
                  </a:lnTo>
                  <a:lnTo>
                    <a:pt x="712" y="680"/>
                  </a:lnTo>
                  <a:lnTo>
                    <a:pt x="696" y="674"/>
                  </a:lnTo>
                  <a:lnTo>
                    <a:pt x="722" y="658"/>
                  </a:lnTo>
                  <a:lnTo>
                    <a:pt x="746" y="661"/>
                  </a:lnTo>
                  <a:lnTo>
                    <a:pt x="770" y="658"/>
                  </a:lnTo>
                  <a:lnTo>
                    <a:pt x="773" y="616"/>
                  </a:lnTo>
                  <a:lnTo>
                    <a:pt x="788" y="605"/>
                  </a:lnTo>
                  <a:lnTo>
                    <a:pt x="791" y="582"/>
                  </a:lnTo>
                  <a:lnTo>
                    <a:pt x="762" y="563"/>
                  </a:lnTo>
                  <a:lnTo>
                    <a:pt x="728" y="560"/>
                  </a:lnTo>
                  <a:lnTo>
                    <a:pt x="720" y="555"/>
                  </a:lnTo>
                  <a:lnTo>
                    <a:pt x="741" y="539"/>
                  </a:lnTo>
                  <a:lnTo>
                    <a:pt x="746" y="523"/>
                  </a:lnTo>
                  <a:lnTo>
                    <a:pt x="728" y="510"/>
                  </a:lnTo>
                  <a:lnTo>
                    <a:pt x="701" y="478"/>
                  </a:lnTo>
                  <a:lnTo>
                    <a:pt x="704" y="463"/>
                  </a:lnTo>
                  <a:lnTo>
                    <a:pt x="738" y="447"/>
                  </a:lnTo>
                  <a:lnTo>
                    <a:pt x="743" y="428"/>
                  </a:lnTo>
                  <a:lnTo>
                    <a:pt x="720" y="418"/>
                  </a:lnTo>
                  <a:lnTo>
                    <a:pt x="706" y="383"/>
                  </a:lnTo>
                  <a:lnTo>
                    <a:pt x="659" y="378"/>
                  </a:lnTo>
                  <a:lnTo>
                    <a:pt x="611" y="365"/>
                  </a:lnTo>
                  <a:lnTo>
                    <a:pt x="606" y="312"/>
                  </a:lnTo>
                  <a:lnTo>
                    <a:pt x="640" y="291"/>
                  </a:lnTo>
                  <a:lnTo>
                    <a:pt x="627" y="264"/>
                  </a:lnTo>
                  <a:lnTo>
                    <a:pt x="600" y="264"/>
                  </a:lnTo>
                  <a:lnTo>
                    <a:pt x="582" y="293"/>
                  </a:lnTo>
                  <a:lnTo>
                    <a:pt x="500" y="288"/>
                  </a:lnTo>
                  <a:lnTo>
                    <a:pt x="434" y="272"/>
                  </a:lnTo>
                  <a:lnTo>
                    <a:pt x="397" y="233"/>
                  </a:lnTo>
                  <a:lnTo>
                    <a:pt x="397" y="201"/>
                  </a:lnTo>
                  <a:lnTo>
                    <a:pt x="426" y="188"/>
                  </a:lnTo>
                  <a:lnTo>
                    <a:pt x="402" y="169"/>
                  </a:lnTo>
                  <a:lnTo>
                    <a:pt x="344" y="167"/>
                  </a:lnTo>
                  <a:lnTo>
                    <a:pt x="310" y="79"/>
                  </a:lnTo>
                  <a:lnTo>
                    <a:pt x="260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62</a:t>
              </a:r>
            </a:p>
          </p:txBody>
        </p:sp>
        <p:sp>
          <p:nvSpPr>
            <p:cNvPr id="180" name="FR-59">
              <a:extLst>
                <a:ext uri="{FF2B5EF4-FFF2-40B4-BE49-F238E27FC236}">
                  <a16:creationId xmlns:a16="http://schemas.microsoft.com/office/drawing/2014/main" id="{8526AEB8-7349-4C61-AE16-569CFDDEF0C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378179" y="0"/>
              <a:ext cx="1019186" cy="796304"/>
            </a:xfrm>
            <a:custGeom>
              <a:avLst/>
              <a:gdLst>
                <a:gd name="T0" fmla="*/ 137 w 1049"/>
                <a:gd name="T1" fmla="*/ 39 h 841"/>
                <a:gd name="T2" fmla="*/ 0 w 1049"/>
                <a:gd name="T3" fmla="*/ 61 h 841"/>
                <a:gd name="T4" fmla="*/ 84 w 1049"/>
                <a:gd name="T5" fmla="*/ 228 h 841"/>
                <a:gd name="T6" fmla="*/ 166 w 1049"/>
                <a:gd name="T7" fmla="*/ 249 h 841"/>
                <a:gd name="T8" fmla="*/ 137 w 1049"/>
                <a:gd name="T9" fmla="*/ 294 h 841"/>
                <a:gd name="T10" fmla="*/ 240 w 1049"/>
                <a:gd name="T11" fmla="*/ 349 h 841"/>
                <a:gd name="T12" fmla="*/ 340 w 1049"/>
                <a:gd name="T13" fmla="*/ 325 h 841"/>
                <a:gd name="T14" fmla="*/ 380 w 1049"/>
                <a:gd name="T15" fmla="*/ 352 h 841"/>
                <a:gd name="T16" fmla="*/ 351 w 1049"/>
                <a:gd name="T17" fmla="*/ 426 h 841"/>
                <a:gd name="T18" fmla="*/ 446 w 1049"/>
                <a:gd name="T19" fmla="*/ 444 h 841"/>
                <a:gd name="T20" fmla="*/ 483 w 1049"/>
                <a:gd name="T21" fmla="*/ 489 h 841"/>
                <a:gd name="T22" fmla="*/ 444 w 1049"/>
                <a:gd name="T23" fmla="*/ 524 h 841"/>
                <a:gd name="T24" fmla="*/ 468 w 1049"/>
                <a:gd name="T25" fmla="*/ 571 h 841"/>
                <a:gd name="T26" fmla="*/ 481 w 1049"/>
                <a:gd name="T27" fmla="*/ 600 h 841"/>
                <a:gd name="T28" fmla="*/ 468 w 1049"/>
                <a:gd name="T29" fmla="*/ 621 h 841"/>
                <a:gd name="T30" fmla="*/ 531 w 1049"/>
                <a:gd name="T31" fmla="*/ 643 h 841"/>
                <a:gd name="T32" fmla="*/ 513 w 1049"/>
                <a:gd name="T33" fmla="*/ 677 h 841"/>
                <a:gd name="T34" fmla="*/ 486 w 1049"/>
                <a:gd name="T35" fmla="*/ 722 h 841"/>
                <a:gd name="T36" fmla="*/ 436 w 1049"/>
                <a:gd name="T37" fmla="*/ 735 h 841"/>
                <a:gd name="T38" fmla="*/ 478 w 1049"/>
                <a:gd name="T39" fmla="*/ 741 h 841"/>
                <a:gd name="T40" fmla="*/ 510 w 1049"/>
                <a:gd name="T41" fmla="*/ 759 h 841"/>
                <a:gd name="T42" fmla="*/ 515 w 1049"/>
                <a:gd name="T43" fmla="*/ 809 h 841"/>
                <a:gd name="T44" fmla="*/ 557 w 1049"/>
                <a:gd name="T45" fmla="*/ 801 h 841"/>
                <a:gd name="T46" fmla="*/ 593 w 1049"/>
                <a:gd name="T47" fmla="*/ 817 h 841"/>
                <a:gd name="T48" fmla="*/ 635 w 1049"/>
                <a:gd name="T49" fmla="*/ 796 h 841"/>
                <a:gd name="T50" fmla="*/ 708 w 1049"/>
                <a:gd name="T51" fmla="*/ 786 h 841"/>
                <a:gd name="T52" fmla="*/ 747 w 1049"/>
                <a:gd name="T53" fmla="*/ 804 h 841"/>
                <a:gd name="T54" fmla="*/ 807 w 1049"/>
                <a:gd name="T55" fmla="*/ 778 h 841"/>
                <a:gd name="T56" fmla="*/ 880 w 1049"/>
                <a:gd name="T57" fmla="*/ 796 h 841"/>
                <a:gd name="T58" fmla="*/ 914 w 1049"/>
                <a:gd name="T59" fmla="*/ 794 h 841"/>
                <a:gd name="T60" fmla="*/ 940 w 1049"/>
                <a:gd name="T61" fmla="*/ 828 h 841"/>
                <a:gd name="T62" fmla="*/ 1003 w 1049"/>
                <a:gd name="T63" fmla="*/ 831 h 841"/>
                <a:gd name="T64" fmla="*/ 997 w 1049"/>
                <a:gd name="T65" fmla="*/ 805 h 841"/>
                <a:gd name="T66" fmla="*/ 1041 w 1049"/>
                <a:gd name="T67" fmla="*/ 724 h 841"/>
                <a:gd name="T68" fmla="*/ 1004 w 1049"/>
                <a:gd name="T69" fmla="*/ 698 h 841"/>
                <a:gd name="T70" fmla="*/ 1043 w 1049"/>
                <a:gd name="T71" fmla="*/ 633 h 841"/>
                <a:gd name="T72" fmla="*/ 950 w 1049"/>
                <a:gd name="T73" fmla="*/ 547 h 841"/>
                <a:gd name="T74" fmla="*/ 788 w 1049"/>
                <a:gd name="T75" fmla="*/ 581 h 841"/>
                <a:gd name="T76" fmla="*/ 773 w 1049"/>
                <a:gd name="T77" fmla="*/ 490 h 841"/>
                <a:gd name="T78" fmla="*/ 700 w 1049"/>
                <a:gd name="T79" fmla="*/ 446 h 841"/>
                <a:gd name="T80" fmla="*/ 629 w 1049"/>
                <a:gd name="T81" fmla="*/ 448 h 841"/>
                <a:gd name="T82" fmla="*/ 575 w 1049"/>
                <a:gd name="T83" fmla="*/ 425 h 841"/>
                <a:gd name="T84" fmla="*/ 562 w 1049"/>
                <a:gd name="T85" fmla="*/ 287 h 841"/>
                <a:gd name="T86" fmla="*/ 535 w 1049"/>
                <a:gd name="T87" fmla="*/ 261 h 841"/>
                <a:gd name="T88" fmla="*/ 515 w 1049"/>
                <a:gd name="T89" fmla="*/ 229 h 841"/>
                <a:gd name="T90" fmla="*/ 416 w 1049"/>
                <a:gd name="T91" fmla="*/ 253 h 841"/>
                <a:gd name="T92" fmla="*/ 353 w 1049"/>
                <a:gd name="T93" fmla="*/ 292 h 841"/>
                <a:gd name="T94" fmla="*/ 325 w 1049"/>
                <a:gd name="T95" fmla="*/ 237 h 841"/>
                <a:gd name="T96" fmla="*/ 262 w 1049"/>
                <a:gd name="T97" fmla="*/ 209 h 841"/>
                <a:gd name="T98" fmla="*/ 247 w 1049"/>
                <a:gd name="T99" fmla="*/ 136 h 841"/>
                <a:gd name="T100" fmla="*/ 254 w 1049"/>
                <a:gd name="T101" fmla="*/ 68 h 84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049"/>
                <a:gd name="T154" fmla="*/ 0 h 841"/>
                <a:gd name="T155" fmla="*/ 1049 w 1049"/>
                <a:gd name="T156" fmla="*/ 841 h 84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049" h="841">
                  <a:moveTo>
                    <a:pt x="220" y="0"/>
                  </a:moveTo>
                  <a:lnTo>
                    <a:pt x="137" y="39"/>
                  </a:lnTo>
                  <a:lnTo>
                    <a:pt x="7" y="60"/>
                  </a:lnTo>
                  <a:lnTo>
                    <a:pt x="0" y="61"/>
                  </a:lnTo>
                  <a:lnTo>
                    <a:pt x="50" y="140"/>
                  </a:lnTo>
                  <a:lnTo>
                    <a:pt x="84" y="228"/>
                  </a:lnTo>
                  <a:lnTo>
                    <a:pt x="142" y="230"/>
                  </a:lnTo>
                  <a:lnTo>
                    <a:pt x="166" y="249"/>
                  </a:lnTo>
                  <a:lnTo>
                    <a:pt x="137" y="262"/>
                  </a:lnTo>
                  <a:lnTo>
                    <a:pt x="137" y="294"/>
                  </a:lnTo>
                  <a:lnTo>
                    <a:pt x="174" y="333"/>
                  </a:lnTo>
                  <a:lnTo>
                    <a:pt x="240" y="349"/>
                  </a:lnTo>
                  <a:lnTo>
                    <a:pt x="322" y="354"/>
                  </a:lnTo>
                  <a:lnTo>
                    <a:pt x="340" y="325"/>
                  </a:lnTo>
                  <a:lnTo>
                    <a:pt x="367" y="325"/>
                  </a:lnTo>
                  <a:lnTo>
                    <a:pt x="380" y="352"/>
                  </a:lnTo>
                  <a:lnTo>
                    <a:pt x="346" y="373"/>
                  </a:lnTo>
                  <a:lnTo>
                    <a:pt x="351" y="426"/>
                  </a:lnTo>
                  <a:lnTo>
                    <a:pt x="399" y="439"/>
                  </a:lnTo>
                  <a:lnTo>
                    <a:pt x="446" y="444"/>
                  </a:lnTo>
                  <a:lnTo>
                    <a:pt x="460" y="479"/>
                  </a:lnTo>
                  <a:lnTo>
                    <a:pt x="483" y="489"/>
                  </a:lnTo>
                  <a:lnTo>
                    <a:pt x="478" y="508"/>
                  </a:lnTo>
                  <a:lnTo>
                    <a:pt x="444" y="524"/>
                  </a:lnTo>
                  <a:lnTo>
                    <a:pt x="441" y="539"/>
                  </a:lnTo>
                  <a:lnTo>
                    <a:pt x="468" y="571"/>
                  </a:lnTo>
                  <a:lnTo>
                    <a:pt x="486" y="584"/>
                  </a:lnTo>
                  <a:lnTo>
                    <a:pt x="481" y="600"/>
                  </a:lnTo>
                  <a:lnTo>
                    <a:pt x="460" y="616"/>
                  </a:lnTo>
                  <a:lnTo>
                    <a:pt x="468" y="621"/>
                  </a:lnTo>
                  <a:lnTo>
                    <a:pt x="502" y="624"/>
                  </a:lnTo>
                  <a:lnTo>
                    <a:pt x="531" y="643"/>
                  </a:lnTo>
                  <a:lnTo>
                    <a:pt x="528" y="666"/>
                  </a:lnTo>
                  <a:lnTo>
                    <a:pt x="513" y="677"/>
                  </a:lnTo>
                  <a:lnTo>
                    <a:pt x="510" y="719"/>
                  </a:lnTo>
                  <a:lnTo>
                    <a:pt x="486" y="722"/>
                  </a:lnTo>
                  <a:lnTo>
                    <a:pt x="462" y="719"/>
                  </a:lnTo>
                  <a:lnTo>
                    <a:pt x="436" y="735"/>
                  </a:lnTo>
                  <a:lnTo>
                    <a:pt x="452" y="741"/>
                  </a:lnTo>
                  <a:lnTo>
                    <a:pt x="478" y="741"/>
                  </a:lnTo>
                  <a:lnTo>
                    <a:pt x="502" y="746"/>
                  </a:lnTo>
                  <a:lnTo>
                    <a:pt x="510" y="759"/>
                  </a:lnTo>
                  <a:lnTo>
                    <a:pt x="494" y="789"/>
                  </a:lnTo>
                  <a:lnTo>
                    <a:pt x="515" y="809"/>
                  </a:lnTo>
                  <a:lnTo>
                    <a:pt x="536" y="815"/>
                  </a:lnTo>
                  <a:lnTo>
                    <a:pt x="557" y="801"/>
                  </a:lnTo>
                  <a:lnTo>
                    <a:pt x="585" y="801"/>
                  </a:lnTo>
                  <a:lnTo>
                    <a:pt x="593" y="817"/>
                  </a:lnTo>
                  <a:lnTo>
                    <a:pt x="604" y="815"/>
                  </a:lnTo>
                  <a:lnTo>
                    <a:pt x="635" y="796"/>
                  </a:lnTo>
                  <a:lnTo>
                    <a:pt x="666" y="815"/>
                  </a:lnTo>
                  <a:lnTo>
                    <a:pt x="708" y="786"/>
                  </a:lnTo>
                  <a:lnTo>
                    <a:pt x="726" y="786"/>
                  </a:lnTo>
                  <a:lnTo>
                    <a:pt x="747" y="804"/>
                  </a:lnTo>
                  <a:lnTo>
                    <a:pt x="789" y="776"/>
                  </a:lnTo>
                  <a:lnTo>
                    <a:pt x="807" y="778"/>
                  </a:lnTo>
                  <a:lnTo>
                    <a:pt x="823" y="791"/>
                  </a:lnTo>
                  <a:lnTo>
                    <a:pt x="880" y="796"/>
                  </a:lnTo>
                  <a:lnTo>
                    <a:pt x="885" y="820"/>
                  </a:lnTo>
                  <a:lnTo>
                    <a:pt x="914" y="794"/>
                  </a:lnTo>
                  <a:lnTo>
                    <a:pt x="929" y="794"/>
                  </a:lnTo>
                  <a:lnTo>
                    <a:pt x="940" y="828"/>
                  </a:lnTo>
                  <a:lnTo>
                    <a:pt x="989" y="841"/>
                  </a:lnTo>
                  <a:lnTo>
                    <a:pt x="1003" y="831"/>
                  </a:lnTo>
                  <a:lnTo>
                    <a:pt x="999" y="831"/>
                  </a:lnTo>
                  <a:lnTo>
                    <a:pt x="997" y="805"/>
                  </a:lnTo>
                  <a:lnTo>
                    <a:pt x="1049" y="774"/>
                  </a:lnTo>
                  <a:lnTo>
                    <a:pt x="1041" y="724"/>
                  </a:lnTo>
                  <a:lnTo>
                    <a:pt x="991" y="711"/>
                  </a:lnTo>
                  <a:lnTo>
                    <a:pt x="1004" y="698"/>
                  </a:lnTo>
                  <a:lnTo>
                    <a:pt x="1004" y="662"/>
                  </a:lnTo>
                  <a:lnTo>
                    <a:pt x="1043" y="633"/>
                  </a:lnTo>
                  <a:lnTo>
                    <a:pt x="1033" y="612"/>
                  </a:lnTo>
                  <a:lnTo>
                    <a:pt x="950" y="547"/>
                  </a:lnTo>
                  <a:lnTo>
                    <a:pt x="804" y="555"/>
                  </a:lnTo>
                  <a:lnTo>
                    <a:pt x="788" y="581"/>
                  </a:lnTo>
                  <a:lnTo>
                    <a:pt x="770" y="581"/>
                  </a:lnTo>
                  <a:lnTo>
                    <a:pt x="773" y="490"/>
                  </a:lnTo>
                  <a:lnTo>
                    <a:pt x="731" y="441"/>
                  </a:lnTo>
                  <a:lnTo>
                    <a:pt x="700" y="446"/>
                  </a:lnTo>
                  <a:lnTo>
                    <a:pt x="681" y="425"/>
                  </a:lnTo>
                  <a:lnTo>
                    <a:pt x="629" y="448"/>
                  </a:lnTo>
                  <a:lnTo>
                    <a:pt x="611" y="430"/>
                  </a:lnTo>
                  <a:lnTo>
                    <a:pt x="575" y="425"/>
                  </a:lnTo>
                  <a:lnTo>
                    <a:pt x="564" y="391"/>
                  </a:lnTo>
                  <a:lnTo>
                    <a:pt x="562" y="287"/>
                  </a:lnTo>
                  <a:lnTo>
                    <a:pt x="538" y="276"/>
                  </a:lnTo>
                  <a:lnTo>
                    <a:pt x="535" y="261"/>
                  </a:lnTo>
                  <a:lnTo>
                    <a:pt x="520" y="261"/>
                  </a:lnTo>
                  <a:lnTo>
                    <a:pt x="515" y="229"/>
                  </a:lnTo>
                  <a:lnTo>
                    <a:pt x="481" y="232"/>
                  </a:lnTo>
                  <a:lnTo>
                    <a:pt x="416" y="253"/>
                  </a:lnTo>
                  <a:lnTo>
                    <a:pt x="385" y="292"/>
                  </a:lnTo>
                  <a:lnTo>
                    <a:pt x="353" y="292"/>
                  </a:lnTo>
                  <a:lnTo>
                    <a:pt x="333" y="266"/>
                  </a:lnTo>
                  <a:lnTo>
                    <a:pt x="325" y="237"/>
                  </a:lnTo>
                  <a:lnTo>
                    <a:pt x="299" y="209"/>
                  </a:lnTo>
                  <a:lnTo>
                    <a:pt x="262" y="209"/>
                  </a:lnTo>
                  <a:lnTo>
                    <a:pt x="247" y="180"/>
                  </a:lnTo>
                  <a:lnTo>
                    <a:pt x="247" y="136"/>
                  </a:lnTo>
                  <a:lnTo>
                    <a:pt x="265" y="107"/>
                  </a:lnTo>
                  <a:lnTo>
                    <a:pt x="254" y="68"/>
                  </a:lnTo>
                  <a:lnTo>
                    <a:pt x="220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59</a:t>
              </a:r>
            </a:p>
          </p:txBody>
        </p:sp>
        <p:sp>
          <p:nvSpPr>
            <p:cNvPr id="181" name="FR-02">
              <a:extLst>
                <a:ext uri="{FF2B5EF4-FFF2-40B4-BE49-F238E27FC236}">
                  <a16:creationId xmlns:a16="http://schemas.microsoft.com/office/drawing/2014/main" id="{F7F9D461-7F23-4CC1-8752-EC192AB1EE8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798873" y="734758"/>
              <a:ext cx="621810" cy="869212"/>
            </a:xfrm>
            <a:custGeom>
              <a:avLst/>
              <a:gdLst>
                <a:gd name="T0" fmla="*/ 314 w 640"/>
                <a:gd name="T1" fmla="*/ 28 h 918"/>
                <a:gd name="T2" fmla="*/ 275 w 640"/>
                <a:gd name="T3" fmla="*/ 10 h 918"/>
                <a:gd name="T4" fmla="*/ 202 w 640"/>
                <a:gd name="T5" fmla="*/ 20 h 918"/>
                <a:gd name="T6" fmla="*/ 160 w 640"/>
                <a:gd name="T7" fmla="*/ 41 h 918"/>
                <a:gd name="T8" fmla="*/ 124 w 640"/>
                <a:gd name="T9" fmla="*/ 25 h 918"/>
                <a:gd name="T10" fmla="*/ 102 w 640"/>
                <a:gd name="T11" fmla="*/ 39 h 918"/>
                <a:gd name="T12" fmla="*/ 74 w 640"/>
                <a:gd name="T13" fmla="*/ 113 h 918"/>
                <a:gd name="T14" fmla="*/ 50 w 640"/>
                <a:gd name="T15" fmla="*/ 173 h 918"/>
                <a:gd name="T16" fmla="*/ 69 w 640"/>
                <a:gd name="T17" fmla="*/ 258 h 918"/>
                <a:gd name="T18" fmla="*/ 80 w 640"/>
                <a:gd name="T19" fmla="*/ 427 h 918"/>
                <a:gd name="T20" fmla="*/ 100 w 640"/>
                <a:gd name="T21" fmla="*/ 475 h 918"/>
                <a:gd name="T22" fmla="*/ 61 w 640"/>
                <a:gd name="T23" fmla="*/ 549 h 918"/>
                <a:gd name="T24" fmla="*/ 0 w 640"/>
                <a:gd name="T25" fmla="*/ 586 h 918"/>
                <a:gd name="T26" fmla="*/ 37 w 640"/>
                <a:gd name="T27" fmla="*/ 628 h 918"/>
                <a:gd name="T28" fmla="*/ 16 w 640"/>
                <a:gd name="T29" fmla="*/ 673 h 918"/>
                <a:gd name="T30" fmla="*/ 37 w 640"/>
                <a:gd name="T31" fmla="*/ 649 h 918"/>
                <a:gd name="T32" fmla="*/ 87 w 640"/>
                <a:gd name="T33" fmla="*/ 692 h 918"/>
                <a:gd name="T34" fmla="*/ 106 w 640"/>
                <a:gd name="T35" fmla="*/ 744 h 918"/>
                <a:gd name="T36" fmla="*/ 184 w 640"/>
                <a:gd name="T37" fmla="*/ 869 h 918"/>
                <a:gd name="T38" fmla="*/ 220 w 640"/>
                <a:gd name="T39" fmla="*/ 908 h 918"/>
                <a:gd name="T40" fmla="*/ 270 w 640"/>
                <a:gd name="T41" fmla="*/ 911 h 918"/>
                <a:gd name="T42" fmla="*/ 322 w 640"/>
                <a:gd name="T43" fmla="*/ 864 h 918"/>
                <a:gd name="T44" fmla="*/ 366 w 640"/>
                <a:gd name="T45" fmla="*/ 794 h 918"/>
                <a:gd name="T46" fmla="*/ 319 w 640"/>
                <a:gd name="T47" fmla="*/ 775 h 918"/>
                <a:gd name="T48" fmla="*/ 337 w 640"/>
                <a:gd name="T49" fmla="*/ 747 h 918"/>
                <a:gd name="T50" fmla="*/ 325 w 640"/>
                <a:gd name="T51" fmla="*/ 716 h 918"/>
                <a:gd name="T52" fmla="*/ 392 w 640"/>
                <a:gd name="T53" fmla="*/ 687 h 918"/>
                <a:gd name="T54" fmla="*/ 345 w 640"/>
                <a:gd name="T55" fmla="*/ 640 h 918"/>
                <a:gd name="T56" fmla="*/ 395 w 640"/>
                <a:gd name="T57" fmla="*/ 533 h 918"/>
                <a:gd name="T58" fmla="*/ 444 w 640"/>
                <a:gd name="T59" fmla="*/ 508 h 918"/>
                <a:gd name="T60" fmla="*/ 520 w 640"/>
                <a:gd name="T61" fmla="*/ 523 h 918"/>
                <a:gd name="T62" fmla="*/ 535 w 640"/>
                <a:gd name="T63" fmla="*/ 429 h 918"/>
                <a:gd name="T64" fmla="*/ 554 w 640"/>
                <a:gd name="T65" fmla="*/ 362 h 918"/>
                <a:gd name="T66" fmla="*/ 527 w 640"/>
                <a:gd name="T67" fmla="*/ 323 h 918"/>
                <a:gd name="T68" fmla="*/ 577 w 640"/>
                <a:gd name="T69" fmla="*/ 278 h 918"/>
                <a:gd name="T70" fmla="*/ 627 w 640"/>
                <a:gd name="T71" fmla="*/ 226 h 918"/>
                <a:gd name="T72" fmla="*/ 616 w 640"/>
                <a:gd name="T73" fmla="*/ 166 h 918"/>
                <a:gd name="T74" fmla="*/ 616 w 640"/>
                <a:gd name="T75" fmla="*/ 101 h 918"/>
                <a:gd name="T76" fmla="*/ 570 w 640"/>
                <a:gd name="T77" fmla="*/ 55 h 918"/>
                <a:gd name="T78" fmla="*/ 507 w 640"/>
                <a:gd name="T79" fmla="*/ 52 h 918"/>
                <a:gd name="T80" fmla="*/ 481 w 640"/>
                <a:gd name="T81" fmla="*/ 18 h 918"/>
                <a:gd name="T82" fmla="*/ 447 w 640"/>
                <a:gd name="T83" fmla="*/ 20 h 918"/>
                <a:gd name="T84" fmla="*/ 374 w 640"/>
                <a:gd name="T85" fmla="*/ 2 h 91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40"/>
                <a:gd name="T130" fmla="*/ 0 h 918"/>
                <a:gd name="T131" fmla="*/ 640 w 640"/>
                <a:gd name="T132" fmla="*/ 918 h 91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40" h="918">
                  <a:moveTo>
                    <a:pt x="356" y="0"/>
                  </a:moveTo>
                  <a:lnTo>
                    <a:pt x="314" y="28"/>
                  </a:lnTo>
                  <a:lnTo>
                    <a:pt x="293" y="10"/>
                  </a:lnTo>
                  <a:lnTo>
                    <a:pt x="275" y="10"/>
                  </a:lnTo>
                  <a:lnTo>
                    <a:pt x="233" y="39"/>
                  </a:lnTo>
                  <a:lnTo>
                    <a:pt x="202" y="20"/>
                  </a:lnTo>
                  <a:lnTo>
                    <a:pt x="171" y="39"/>
                  </a:lnTo>
                  <a:lnTo>
                    <a:pt x="160" y="41"/>
                  </a:lnTo>
                  <a:lnTo>
                    <a:pt x="152" y="25"/>
                  </a:lnTo>
                  <a:lnTo>
                    <a:pt x="124" y="25"/>
                  </a:lnTo>
                  <a:lnTo>
                    <a:pt x="103" y="39"/>
                  </a:lnTo>
                  <a:lnTo>
                    <a:pt x="102" y="39"/>
                  </a:lnTo>
                  <a:lnTo>
                    <a:pt x="108" y="75"/>
                  </a:lnTo>
                  <a:lnTo>
                    <a:pt x="74" y="113"/>
                  </a:lnTo>
                  <a:lnTo>
                    <a:pt x="74" y="147"/>
                  </a:lnTo>
                  <a:lnTo>
                    <a:pt x="50" y="173"/>
                  </a:lnTo>
                  <a:lnTo>
                    <a:pt x="56" y="205"/>
                  </a:lnTo>
                  <a:lnTo>
                    <a:pt x="69" y="258"/>
                  </a:lnTo>
                  <a:lnTo>
                    <a:pt x="85" y="348"/>
                  </a:lnTo>
                  <a:lnTo>
                    <a:pt x="80" y="427"/>
                  </a:lnTo>
                  <a:lnTo>
                    <a:pt x="69" y="451"/>
                  </a:lnTo>
                  <a:lnTo>
                    <a:pt x="100" y="475"/>
                  </a:lnTo>
                  <a:lnTo>
                    <a:pt x="77" y="485"/>
                  </a:lnTo>
                  <a:lnTo>
                    <a:pt x="61" y="549"/>
                  </a:lnTo>
                  <a:lnTo>
                    <a:pt x="16" y="559"/>
                  </a:lnTo>
                  <a:lnTo>
                    <a:pt x="0" y="586"/>
                  </a:lnTo>
                  <a:lnTo>
                    <a:pt x="32" y="591"/>
                  </a:lnTo>
                  <a:lnTo>
                    <a:pt x="37" y="628"/>
                  </a:lnTo>
                  <a:lnTo>
                    <a:pt x="13" y="633"/>
                  </a:lnTo>
                  <a:lnTo>
                    <a:pt x="16" y="673"/>
                  </a:lnTo>
                  <a:lnTo>
                    <a:pt x="24" y="670"/>
                  </a:lnTo>
                  <a:lnTo>
                    <a:pt x="37" y="649"/>
                  </a:lnTo>
                  <a:lnTo>
                    <a:pt x="69" y="670"/>
                  </a:lnTo>
                  <a:lnTo>
                    <a:pt x="87" y="692"/>
                  </a:lnTo>
                  <a:lnTo>
                    <a:pt x="82" y="727"/>
                  </a:lnTo>
                  <a:lnTo>
                    <a:pt x="106" y="744"/>
                  </a:lnTo>
                  <a:lnTo>
                    <a:pt x="114" y="802"/>
                  </a:lnTo>
                  <a:lnTo>
                    <a:pt x="184" y="869"/>
                  </a:lnTo>
                  <a:lnTo>
                    <a:pt x="207" y="877"/>
                  </a:lnTo>
                  <a:lnTo>
                    <a:pt x="220" y="908"/>
                  </a:lnTo>
                  <a:lnTo>
                    <a:pt x="264" y="918"/>
                  </a:lnTo>
                  <a:lnTo>
                    <a:pt x="270" y="911"/>
                  </a:lnTo>
                  <a:lnTo>
                    <a:pt x="283" y="883"/>
                  </a:lnTo>
                  <a:lnTo>
                    <a:pt x="322" y="864"/>
                  </a:lnTo>
                  <a:lnTo>
                    <a:pt x="343" y="810"/>
                  </a:lnTo>
                  <a:lnTo>
                    <a:pt x="366" y="794"/>
                  </a:lnTo>
                  <a:lnTo>
                    <a:pt x="353" y="775"/>
                  </a:lnTo>
                  <a:lnTo>
                    <a:pt x="319" y="775"/>
                  </a:lnTo>
                  <a:lnTo>
                    <a:pt x="314" y="758"/>
                  </a:lnTo>
                  <a:lnTo>
                    <a:pt x="337" y="747"/>
                  </a:lnTo>
                  <a:lnTo>
                    <a:pt x="348" y="731"/>
                  </a:lnTo>
                  <a:lnTo>
                    <a:pt x="325" y="716"/>
                  </a:lnTo>
                  <a:lnTo>
                    <a:pt x="332" y="692"/>
                  </a:lnTo>
                  <a:lnTo>
                    <a:pt x="392" y="687"/>
                  </a:lnTo>
                  <a:lnTo>
                    <a:pt x="382" y="664"/>
                  </a:lnTo>
                  <a:lnTo>
                    <a:pt x="345" y="640"/>
                  </a:lnTo>
                  <a:lnTo>
                    <a:pt x="345" y="570"/>
                  </a:lnTo>
                  <a:lnTo>
                    <a:pt x="395" y="533"/>
                  </a:lnTo>
                  <a:lnTo>
                    <a:pt x="450" y="533"/>
                  </a:lnTo>
                  <a:lnTo>
                    <a:pt x="444" y="508"/>
                  </a:lnTo>
                  <a:lnTo>
                    <a:pt x="475" y="494"/>
                  </a:lnTo>
                  <a:lnTo>
                    <a:pt x="520" y="523"/>
                  </a:lnTo>
                  <a:lnTo>
                    <a:pt x="538" y="518"/>
                  </a:lnTo>
                  <a:lnTo>
                    <a:pt x="535" y="429"/>
                  </a:lnTo>
                  <a:lnTo>
                    <a:pt x="543" y="398"/>
                  </a:lnTo>
                  <a:lnTo>
                    <a:pt x="554" y="362"/>
                  </a:lnTo>
                  <a:lnTo>
                    <a:pt x="520" y="343"/>
                  </a:lnTo>
                  <a:lnTo>
                    <a:pt x="527" y="323"/>
                  </a:lnTo>
                  <a:lnTo>
                    <a:pt x="577" y="312"/>
                  </a:lnTo>
                  <a:lnTo>
                    <a:pt x="577" y="278"/>
                  </a:lnTo>
                  <a:lnTo>
                    <a:pt x="616" y="258"/>
                  </a:lnTo>
                  <a:lnTo>
                    <a:pt x="627" y="226"/>
                  </a:lnTo>
                  <a:lnTo>
                    <a:pt x="614" y="205"/>
                  </a:lnTo>
                  <a:lnTo>
                    <a:pt x="616" y="166"/>
                  </a:lnTo>
                  <a:lnTo>
                    <a:pt x="640" y="145"/>
                  </a:lnTo>
                  <a:lnTo>
                    <a:pt x="616" y="101"/>
                  </a:lnTo>
                  <a:lnTo>
                    <a:pt x="623" y="55"/>
                  </a:lnTo>
                  <a:lnTo>
                    <a:pt x="570" y="55"/>
                  </a:lnTo>
                  <a:lnTo>
                    <a:pt x="556" y="65"/>
                  </a:lnTo>
                  <a:lnTo>
                    <a:pt x="507" y="52"/>
                  </a:lnTo>
                  <a:lnTo>
                    <a:pt x="496" y="18"/>
                  </a:lnTo>
                  <a:lnTo>
                    <a:pt x="481" y="18"/>
                  </a:lnTo>
                  <a:lnTo>
                    <a:pt x="452" y="44"/>
                  </a:lnTo>
                  <a:lnTo>
                    <a:pt x="447" y="20"/>
                  </a:lnTo>
                  <a:lnTo>
                    <a:pt x="390" y="15"/>
                  </a:lnTo>
                  <a:lnTo>
                    <a:pt x="374" y="2"/>
                  </a:lnTo>
                  <a:lnTo>
                    <a:pt x="356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02</a:t>
              </a:r>
            </a:p>
          </p:txBody>
        </p:sp>
        <p:sp>
          <p:nvSpPr>
            <p:cNvPr id="182" name="FR-80">
              <a:extLst>
                <a:ext uri="{FF2B5EF4-FFF2-40B4-BE49-F238E27FC236}">
                  <a16:creationId xmlns:a16="http://schemas.microsoft.com/office/drawing/2014/main" id="{B995BF41-EA68-464C-88E5-A2E2DFA54C4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024524" y="510354"/>
              <a:ext cx="879279" cy="566218"/>
            </a:xfrm>
            <a:custGeom>
              <a:avLst/>
              <a:gdLst>
                <a:gd name="T0" fmla="*/ 97 w 905"/>
                <a:gd name="T1" fmla="*/ 86 h 598"/>
                <a:gd name="T2" fmla="*/ 155 w 905"/>
                <a:gd name="T3" fmla="*/ 165 h 598"/>
                <a:gd name="T4" fmla="*/ 0 w 905"/>
                <a:gd name="T5" fmla="*/ 227 h 598"/>
                <a:gd name="T6" fmla="*/ 51 w 905"/>
                <a:gd name="T7" fmla="*/ 234 h 598"/>
                <a:gd name="T8" fmla="*/ 179 w 905"/>
                <a:gd name="T9" fmla="*/ 372 h 598"/>
                <a:gd name="T10" fmla="*/ 212 w 905"/>
                <a:gd name="T11" fmla="*/ 466 h 598"/>
                <a:gd name="T12" fmla="*/ 237 w 905"/>
                <a:gd name="T13" fmla="*/ 477 h 598"/>
                <a:gd name="T14" fmla="*/ 242 w 905"/>
                <a:gd name="T15" fmla="*/ 513 h 598"/>
                <a:gd name="T16" fmla="*/ 292 w 905"/>
                <a:gd name="T17" fmla="*/ 511 h 598"/>
                <a:gd name="T18" fmla="*/ 364 w 905"/>
                <a:gd name="T19" fmla="*/ 529 h 598"/>
                <a:gd name="T20" fmla="*/ 519 w 905"/>
                <a:gd name="T21" fmla="*/ 540 h 598"/>
                <a:gd name="T22" fmla="*/ 604 w 905"/>
                <a:gd name="T23" fmla="*/ 582 h 598"/>
                <a:gd name="T24" fmla="*/ 710 w 905"/>
                <a:gd name="T25" fmla="*/ 542 h 598"/>
                <a:gd name="T26" fmla="*/ 816 w 905"/>
                <a:gd name="T27" fmla="*/ 529 h 598"/>
                <a:gd name="T28" fmla="*/ 866 w 905"/>
                <a:gd name="T29" fmla="*/ 495 h 598"/>
                <a:gd name="T30" fmla="*/ 847 w 905"/>
                <a:gd name="T31" fmla="*/ 410 h 598"/>
                <a:gd name="T32" fmla="*/ 871 w 905"/>
                <a:gd name="T33" fmla="*/ 350 h 598"/>
                <a:gd name="T34" fmla="*/ 899 w 905"/>
                <a:gd name="T35" fmla="*/ 276 h 598"/>
                <a:gd name="T36" fmla="*/ 856 w 905"/>
                <a:gd name="T37" fmla="*/ 247 h 598"/>
                <a:gd name="T38" fmla="*/ 754 w 905"/>
                <a:gd name="T39" fmla="*/ 268 h 598"/>
                <a:gd name="T40" fmla="*/ 744 w 905"/>
                <a:gd name="T41" fmla="*/ 231 h 598"/>
                <a:gd name="T42" fmla="*/ 692 w 905"/>
                <a:gd name="T43" fmla="*/ 257 h 598"/>
                <a:gd name="T44" fmla="*/ 705 w 905"/>
                <a:gd name="T45" fmla="*/ 213 h 598"/>
                <a:gd name="T46" fmla="*/ 671 w 905"/>
                <a:gd name="T47" fmla="*/ 216 h 598"/>
                <a:gd name="T48" fmla="*/ 593 w 905"/>
                <a:gd name="T49" fmla="*/ 197 h 598"/>
                <a:gd name="T50" fmla="*/ 546 w 905"/>
                <a:gd name="T51" fmla="*/ 195 h 598"/>
                <a:gd name="T52" fmla="*/ 528 w 905"/>
                <a:gd name="T53" fmla="*/ 218 h 598"/>
                <a:gd name="T54" fmla="*/ 515 w 905"/>
                <a:gd name="T55" fmla="*/ 169 h 598"/>
                <a:gd name="T56" fmla="*/ 538 w 905"/>
                <a:gd name="T57" fmla="*/ 117 h 598"/>
                <a:gd name="T58" fmla="*/ 491 w 905"/>
                <a:gd name="T59" fmla="*/ 117 h 598"/>
                <a:gd name="T60" fmla="*/ 392 w 905"/>
                <a:gd name="T61" fmla="*/ 137 h 598"/>
                <a:gd name="T62" fmla="*/ 358 w 905"/>
                <a:gd name="T63" fmla="*/ 99 h 598"/>
                <a:gd name="T64" fmla="*/ 299 w 905"/>
                <a:gd name="T65" fmla="*/ 47 h 598"/>
                <a:gd name="T66" fmla="*/ 231 w 905"/>
                <a:gd name="T67" fmla="*/ 15 h 598"/>
                <a:gd name="T68" fmla="*/ 189 w 905"/>
                <a:gd name="T69" fmla="*/ 31 h 598"/>
                <a:gd name="T70" fmla="*/ 145 w 905"/>
                <a:gd name="T71" fmla="*/ 10 h 59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05"/>
                <a:gd name="T109" fmla="*/ 0 h 598"/>
                <a:gd name="T110" fmla="*/ 905 w 905"/>
                <a:gd name="T111" fmla="*/ 598 h 59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05" h="598">
                  <a:moveTo>
                    <a:pt x="104" y="0"/>
                  </a:moveTo>
                  <a:lnTo>
                    <a:pt x="97" y="86"/>
                  </a:lnTo>
                  <a:lnTo>
                    <a:pt x="155" y="138"/>
                  </a:lnTo>
                  <a:lnTo>
                    <a:pt x="155" y="165"/>
                  </a:lnTo>
                  <a:lnTo>
                    <a:pt x="84" y="123"/>
                  </a:lnTo>
                  <a:lnTo>
                    <a:pt x="0" y="227"/>
                  </a:lnTo>
                  <a:lnTo>
                    <a:pt x="22" y="237"/>
                  </a:lnTo>
                  <a:lnTo>
                    <a:pt x="51" y="234"/>
                  </a:lnTo>
                  <a:lnTo>
                    <a:pt x="64" y="260"/>
                  </a:lnTo>
                  <a:lnTo>
                    <a:pt x="179" y="372"/>
                  </a:lnTo>
                  <a:lnTo>
                    <a:pt x="187" y="419"/>
                  </a:lnTo>
                  <a:lnTo>
                    <a:pt x="212" y="466"/>
                  </a:lnTo>
                  <a:lnTo>
                    <a:pt x="204" y="477"/>
                  </a:lnTo>
                  <a:lnTo>
                    <a:pt x="237" y="477"/>
                  </a:lnTo>
                  <a:lnTo>
                    <a:pt x="242" y="485"/>
                  </a:lnTo>
                  <a:lnTo>
                    <a:pt x="242" y="513"/>
                  </a:lnTo>
                  <a:lnTo>
                    <a:pt x="258" y="524"/>
                  </a:lnTo>
                  <a:lnTo>
                    <a:pt x="292" y="511"/>
                  </a:lnTo>
                  <a:lnTo>
                    <a:pt x="340" y="511"/>
                  </a:lnTo>
                  <a:lnTo>
                    <a:pt x="364" y="529"/>
                  </a:lnTo>
                  <a:lnTo>
                    <a:pt x="453" y="521"/>
                  </a:lnTo>
                  <a:lnTo>
                    <a:pt x="519" y="540"/>
                  </a:lnTo>
                  <a:lnTo>
                    <a:pt x="557" y="577"/>
                  </a:lnTo>
                  <a:lnTo>
                    <a:pt x="604" y="582"/>
                  </a:lnTo>
                  <a:lnTo>
                    <a:pt x="652" y="598"/>
                  </a:lnTo>
                  <a:lnTo>
                    <a:pt x="710" y="542"/>
                  </a:lnTo>
                  <a:lnTo>
                    <a:pt x="779" y="524"/>
                  </a:lnTo>
                  <a:lnTo>
                    <a:pt x="816" y="529"/>
                  </a:lnTo>
                  <a:lnTo>
                    <a:pt x="871" y="524"/>
                  </a:lnTo>
                  <a:lnTo>
                    <a:pt x="866" y="495"/>
                  </a:lnTo>
                  <a:lnTo>
                    <a:pt x="853" y="442"/>
                  </a:lnTo>
                  <a:lnTo>
                    <a:pt x="847" y="410"/>
                  </a:lnTo>
                  <a:lnTo>
                    <a:pt x="871" y="384"/>
                  </a:lnTo>
                  <a:lnTo>
                    <a:pt x="871" y="350"/>
                  </a:lnTo>
                  <a:lnTo>
                    <a:pt x="905" y="312"/>
                  </a:lnTo>
                  <a:lnTo>
                    <a:pt x="899" y="276"/>
                  </a:lnTo>
                  <a:lnTo>
                    <a:pt x="879" y="270"/>
                  </a:lnTo>
                  <a:lnTo>
                    <a:pt x="856" y="247"/>
                  </a:lnTo>
                  <a:lnTo>
                    <a:pt x="793" y="247"/>
                  </a:lnTo>
                  <a:lnTo>
                    <a:pt x="754" y="268"/>
                  </a:lnTo>
                  <a:lnTo>
                    <a:pt x="754" y="250"/>
                  </a:lnTo>
                  <a:lnTo>
                    <a:pt x="744" y="231"/>
                  </a:lnTo>
                  <a:lnTo>
                    <a:pt x="720" y="242"/>
                  </a:lnTo>
                  <a:lnTo>
                    <a:pt x="692" y="257"/>
                  </a:lnTo>
                  <a:lnTo>
                    <a:pt x="707" y="234"/>
                  </a:lnTo>
                  <a:lnTo>
                    <a:pt x="705" y="213"/>
                  </a:lnTo>
                  <a:lnTo>
                    <a:pt x="671" y="190"/>
                  </a:lnTo>
                  <a:lnTo>
                    <a:pt x="671" y="216"/>
                  </a:lnTo>
                  <a:lnTo>
                    <a:pt x="647" y="216"/>
                  </a:lnTo>
                  <a:lnTo>
                    <a:pt x="593" y="197"/>
                  </a:lnTo>
                  <a:lnTo>
                    <a:pt x="569" y="179"/>
                  </a:lnTo>
                  <a:lnTo>
                    <a:pt x="546" y="195"/>
                  </a:lnTo>
                  <a:lnTo>
                    <a:pt x="538" y="216"/>
                  </a:lnTo>
                  <a:lnTo>
                    <a:pt x="528" y="218"/>
                  </a:lnTo>
                  <a:lnTo>
                    <a:pt x="515" y="205"/>
                  </a:lnTo>
                  <a:lnTo>
                    <a:pt x="515" y="169"/>
                  </a:lnTo>
                  <a:lnTo>
                    <a:pt x="554" y="143"/>
                  </a:lnTo>
                  <a:lnTo>
                    <a:pt x="538" y="117"/>
                  </a:lnTo>
                  <a:lnTo>
                    <a:pt x="507" y="130"/>
                  </a:lnTo>
                  <a:lnTo>
                    <a:pt x="491" y="117"/>
                  </a:lnTo>
                  <a:lnTo>
                    <a:pt x="426" y="125"/>
                  </a:lnTo>
                  <a:lnTo>
                    <a:pt x="392" y="137"/>
                  </a:lnTo>
                  <a:lnTo>
                    <a:pt x="358" y="125"/>
                  </a:lnTo>
                  <a:lnTo>
                    <a:pt x="358" y="99"/>
                  </a:lnTo>
                  <a:lnTo>
                    <a:pt x="312" y="78"/>
                  </a:lnTo>
                  <a:lnTo>
                    <a:pt x="299" y="47"/>
                  </a:lnTo>
                  <a:lnTo>
                    <a:pt x="280" y="54"/>
                  </a:lnTo>
                  <a:lnTo>
                    <a:pt x="231" y="15"/>
                  </a:lnTo>
                  <a:lnTo>
                    <a:pt x="207" y="7"/>
                  </a:lnTo>
                  <a:lnTo>
                    <a:pt x="189" y="31"/>
                  </a:lnTo>
                  <a:lnTo>
                    <a:pt x="158" y="39"/>
                  </a:lnTo>
                  <a:lnTo>
                    <a:pt x="145" y="10"/>
                  </a:lnTo>
                  <a:lnTo>
                    <a:pt x="104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80</a:t>
              </a:r>
            </a:p>
          </p:txBody>
        </p:sp>
        <p:sp>
          <p:nvSpPr>
            <p:cNvPr id="183" name="FR-08">
              <a:extLst>
                <a:ext uri="{FF2B5EF4-FFF2-40B4-BE49-F238E27FC236}">
                  <a16:creationId xmlns:a16="http://schemas.microsoft.com/office/drawing/2014/main" id="{753A1BD1-8DC0-4159-9C9D-4728CC571E9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304093" y="654276"/>
              <a:ext cx="640270" cy="662798"/>
            </a:xfrm>
            <a:custGeom>
              <a:avLst/>
              <a:gdLst>
                <a:gd name="T0" fmla="*/ 332 w 659"/>
                <a:gd name="T1" fmla="*/ 38 h 700"/>
                <a:gd name="T2" fmla="*/ 309 w 659"/>
                <a:gd name="T3" fmla="*/ 85 h 700"/>
                <a:gd name="T4" fmla="*/ 278 w 659"/>
                <a:gd name="T5" fmla="*/ 138 h 700"/>
                <a:gd name="T6" fmla="*/ 190 w 659"/>
                <a:gd name="T7" fmla="*/ 169 h 700"/>
                <a:gd name="T8" fmla="*/ 103 w 659"/>
                <a:gd name="T9" fmla="*/ 140 h 700"/>
                <a:gd name="T10" fmla="*/ 120 w 659"/>
                <a:gd name="T11" fmla="*/ 230 h 700"/>
                <a:gd name="T12" fmla="*/ 94 w 659"/>
                <a:gd name="T13" fmla="*/ 290 h 700"/>
                <a:gd name="T14" fmla="*/ 96 w 659"/>
                <a:gd name="T15" fmla="*/ 343 h 700"/>
                <a:gd name="T16" fmla="*/ 57 w 659"/>
                <a:gd name="T17" fmla="*/ 397 h 700"/>
                <a:gd name="T18" fmla="*/ 0 w 659"/>
                <a:gd name="T19" fmla="*/ 428 h 700"/>
                <a:gd name="T20" fmla="*/ 23 w 659"/>
                <a:gd name="T21" fmla="*/ 483 h 700"/>
                <a:gd name="T22" fmla="*/ 17 w 659"/>
                <a:gd name="T23" fmla="*/ 579 h 700"/>
                <a:gd name="T24" fmla="*/ 136 w 659"/>
                <a:gd name="T25" fmla="*/ 615 h 700"/>
                <a:gd name="T26" fmla="*/ 175 w 659"/>
                <a:gd name="T27" fmla="*/ 639 h 700"/>
                <a:gd name="T28" fmla="*/ 252 w 659"/>
                <a:gd name="T29" fmla="*/ 673 h 700"/>
                <a:gd name="T30" fmla="*/ 295 w 659"/>
                <a:gd name="T31" fmla="*/ 665 h 700"/>
                <a:gd name="T32" fmla="*/ 329 w 659"/>
                <a:gd name="T33" fmla="*/ 700 h 700"/>
                <a:gd name="T34" fmla="*/ 403 w 659"/>
                <a:gd name="T35" fmla="*/ 687 h 700"/>
                <a:gd name="T36" fmla="*/ 421 w 659"/>
                <a:gd name="T37" fmla="*/ 700 h 700"/>
                <a:gd name="T38" fmla="*/ 472 w 659"/>
                <a:gd name="T39" fmla="*/ 695 h 700"/>
                <a:gd name="T40" fmla="*/ 474 w 659"/>
                <a:gd name="T41" fmla="*/ 683 h 700"/>
                <a:gd name="T42" fmla="*/ 520 w 659"/>
                <a:gd name="T43" fmla="*/ 652 h 700"/>
                <a:gd name="T44" fmla="*/ 507 w 659"/>
                <a:gd name="T45" fmla="*/ 608 h 700"/>
                <a:gd name="T46" fmla="*/ 547 w 659"/>
                <a:gd name="T47" fmla="*/ 533 h 700"/>
                <a:gd name="T48" fmla="*/ 526 w 659"/>
                <a:gd name="T49" fmla="*/ 475 h 700"/>
                <a:gd name="T50" fmla="*/ 560 w 659"/>
                <a:gd name="T51" fmla="*/ 436 h 700"/>
                <a:gd name="T52" fmla="*/ 617 w 659"/>
                <a:gd name="T53" fmla="*/ 454 h 700"/>
                <a:gd name="T54" fmla="*/ 659 w 659"/>
                <a:gd name="T55" fmla="*/ 409 h 700"/>
                <a:gd name="T56" fmla="*/ 630 w 659"/>
                <a:gd name="T57" fmla="*/ 354 h 700"/>
                <a:gd name="T58" fmla="*/ 536 w 659"/>
                <a:gd name="T59" fmla="*/ 330 h 700"/>
                <a:gd name="T60" fmla="*/ 499 w 659"/>
                <a:gd name="T61" fmla="*/ 281 h 700"/>
                <a:gd name="T62" fmla="*/ 411 w 659"/>
                <a:gd name="T63" fmla="*/ 210 h 700"/>
                <a:gd name="T64" fmla="*/ 421 w 659"/>
                <a:gd name="T65" fmla="*/ 177 h 700"/>
                <a:gd name="T66" fmla="*/ 387 w 659"/>
                <a:gd name="T67" fmla="*/ 122 h 700"/>
                <a:gd name="T68" fmla="*/ 380 w 659"/>
                <a:gd name="T69" fmla="*/ 80 h 700"/>
                <a:gd name="T70" fmla="*/ 408 w 659"/>
                <a:gd name="T71" fmla="*/ 7 h 700"/>
                <a:gd name="T72" fmla="*/ 359 w 659"/>
                <a:gd name="T73" fmla="*/ 0 h 70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59"/>
                <a:gd name="T112" fmla="*/ 0 h 700"/>
                <a:gd name="T113" fmla="*/ 659 w 659"/>
                <a:gd name="T114" fmla="*/ 700 h 70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59" h="700">
                  <a:moveTo>
                    <a:pt x="359" y="0"/>
                  </a:moveTo>
                  <a:lnTo>
                    <a:pt x="332" y="38"/>
                  </a:lnTo>
                  <a:lnTo>
                    <a:pt x="309" y="62"/>
                  </a:lnTo>
                  <a:lnTo>
                    <a:pt x="309" y="85"/>
                  </a:lnTo>
                  <a:lnTo>
                    <a:pt x="309" y="117"/>
                  </a:lnTo>
                  <a:lnTo>
                    <a:pt x="278" y="138"/>
                  </a:lnTo>
                  <a:lnTo>
                    <a:pt x="221" y="156"/>
                  </a:lnTo>
                  <a:lnTo>
                    <a:pt x="190" y="169"/>
                  </a:lnTo>
                  <a:lnTo>
                    <a:pt x="153" y="140"/>
                  </a:lnTo>
                  <a:lnTo>
                    <a:pt x="103" y="140"/>
                  </a:lnTo>
                  <a:lnTo>
                    <a:pt x="96" y="186"/>
                  </a:lnTo>
                  <a:lnTo>
                    <a:pt x="120" y="230"/>
                  </a:lnTo>
                  <a:lnTo>
                    <a:pt x="96" y="251"/>
                  </a:lnTo>
                  <a:lnTo>
                    <a:pt x="94" y="290"/>
                  </a:lnTo>
                  <a:lnTo>
                    <a:pt x="107" y="311"/>
                  </a:lnTo>
                  <a:lnTo>
                    <a:pt x="96" y="343"/>
                  </a:lnTo>
                  <a:lnTo>
                    <a:pt x="57" y="363"/>
                  </a:lnTo>
                  <a:lnTo>
                    <a:pt x="57" y="397"/>
                  </a:lnTo>
                  <a:lnTo>
                    <a:pt x="7" y="408"/>
                  </a:lnTo>
                  <a:lnTo>
                    <a:pt x="0" y="428"/>
                  </a:lnTo>
                  <a:lnTo>
                    <a:pt x="34" y="447"/>
                  </a:lnTo>
                  <a:lnTo>
                    <a:pt x="23" y="483"/>
                  </a:lnTo>
                  <a:lnTo>
                    <a:pt x="15" y="514"/>
                  </a:lnTo>
                  <a:lnTo>
                    <a:pt x="17" y="579"/>
                  </a:lnTo>
                  <a:lnTo>
                    <a:pt x="80" y="581"/>
                  </a:lnTo>
                  <a:lnTo>
                    <a:pt x="136" y="615"/>
                  </a:lnTo>
                  <a:lnTo>
                    <a:pt x="146" y="631"/>
                  </a:lnTo>
                  <a:lnTo>
                    <a:pt x="175" y="639"/>
                  </a:lnTo>
                  <a:lnTo>
                    <a:pt x="218" y="671"/>
                  </a:lnTo>
                  <a:lnTo>
                    <a:pt x="252" y="673"/>
                  </a:lnTo>
                  <a:lnTo>
                    <a:pt x="260" y="665"/>
                  </a:lnTo>
                  <a:lnTo>
                    <a:pt x="295" y="665"/>
                  </a:lnTo>
                  <a:lnTo>
                    <a:pt x="310" y="700"/>
                  </a:lnTo>
                  <a:lnTo>
                    <a:pt x="329" y="700"/>
                  </a:lnTo>
                  <a:lnTo>
                    <a:pt x="340" y="684"/>
                  </a:lnTo>
                  <a:lnTo>
                    <a:pt x="403" y="687"/>
                  </a:lnTo>
                  <a:lnTo>
                    <a:pt x="413" y="700"/>
                  </a:lnTo>
                  <a:lnTo>
                    <a:pt x="421" y="700"/>
                  </a:lnTo>
                  <a:lnTo>
                    <a:pt x="448" y="673"/>
                  </a:lnTo>
                  <a:lnTo>
                    <a:pt x="472" y="695"/>
                  </a:lnTo>
                  <a:lnTo>
                    <a:pt x="475" y="694"/>
                  </a:lnTo>
                  <a:lnTo>
                    <a:pt x="474" y="683"/>
                  </a:lnTo>
                  <a:lnTo>
                    <a:pt x="505" y="668"/>
                  </a:lnTo>
                  <a:lnTo>
                    <a:pt x="520" y="652"/>
                  </a:lnTo>
                  <a:lnTo>
                    <a:pt x="510" y="626"/>
                  </a:lnTo>
                  <a:lnTo>
                    <a:pt x="507" y="608"/>
                  </a:lnTo>
                  <a:lnTo>
                    <a:pt x="536" y="585"/>
                  </a:lnTo>
                  <a:lnTo>
                    <a:pt x="547" y="533"/>
                  </a:lnTo>
                  <a:lnTo>
                    <a:pt x="515" y="493"/>
                  </a:lnTo>
                  <a:lnTo>
                    <a:pt x="526" y="475"/>
                  </a:lnTo>
                  <a:lnTo>
                    <a:pt x="552" y="426"/>
                  </a:lnTo>
                  <a:lnTo>
                    <a:pt x="560" y="436"/>
                  </a:lnTo>
                  <a:lnTo>
                    <a:pt x="599" y="436"/>
                  </a:lnTo>
                  <a:lnTo>
                    <a:pt x="617" y="454"/>
                  </a:lnTo>
                  <a:lnTo>
                    <a:pt x="640" y="439"/>
                  </a:lnTo>
                  <a:lnTo>
                    <a:pt x="659" y="409"/>
                  </a:lnTo>
                  <a:lnTo>
                    <a:pt x="640" y="406"/>
                  </a:lnTo>
                  <a:lnTo>
                    <a:pt x="630" y="354"/>
                  </a:lnTo>
                  <a:lnTo>
                    <a:pt x="609" y="338"/>
                  </a:lnTo>
                  <a:lnTo>
                    <a:pt x="536" y="330"/>
                  </a:lnTo>
                  <a:lnTo>
                    <a:pt x="523" y="296"/>
                  </a:lnTo>
                  <a:lnTo>
                    <a:pt x="499" y="281"/>
                  </a:lnTo>
                  <a:lnTo>
                    <a:pt x="416" y="270"/>
                  </a:lnTo>
                  <a:lnTo>
                    <a:pt x="411" y="210"/>
                  </a:lnTo>
                  <a:lnTo>
                    <a:pt x="421" y="200"/>
                  </a:lnTo>
                  <a:lnTo>
                    <a:pt x="421" y="177"/>
                  </a:lnTo>
                  <a:lnTo>
                    <a:pt x="380" y="150"/>
                  </a:lnTo>
                  <a:lnTo>
                    <a:pt x="387" y="122"/>
                  </a:lnTo>
                  <a:lnTo>
                    <a:pt x="398" y="96"/>
                  </a:lnTo>
                  <a:lnTo>
                    <a:pt x="380" y="80"/>
                  </a:lnTo>
                  <a:lnTo>
                    <a:pt x="408" y="54"/>
                  </a:lnTo>
                  <a:lnTo>
                    <a:pt x="408" y="7"/>
                  </a:lnTo>
                  <a:lnTo>
                    <a:pt x="398" y="0"/>
                  </a:lnTo>
                  <a:lnTo>
                    <a:pt x="359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08</a:t>
              </a:r>
            </a:p>
          </p:txBody>
        </p:sp>
        <p:sp>
          <p:nvSpPr>
            <p:cNvPr id="184" name="FR-10">
              <a:extLst>
                <a:ext uri="{FF2B5EF4-FFF2-40B4-BE49-F238E27FC236}">
                  <a16:creationId xmlns:a16="http://schemas.microsoft.com/office/drawing/2014/main" id="{DE1FF1FB-C626-442D-8BB5-861EE328753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017478" y="1699602"/>
              <a:ext cx="721883" cy="566218"/>
            </a:xfrm>
            <a:custGeom>
              <a:avLst/>
              <a:gdLst>
                <a:gd name="T0" fmla="*/ 410 w 743"/>
                <a:gd name="T1" fmla="*/ 0 h 598"/>
                <a:gd name="T2" fmla="*/ 357 w 743"/>
                <a:gd name="T3" fmla="*/ 29 h 598"/>
                <a:gd name="T4" fmla="*/ 312 w 743"/>
                <a:gd name="T5" fmla="*/ 61 h 598"/>
                <a:gd name="T6" fmla="*/ 267 w 743"/>
                <a:gd name="T7" fmla="*/ 61 h 598"/>
                <a:gd name="T8" fmla="*/ 193 w 743"/>
                <a:gd name="T9" fmla="*/ 111 h 598"/>
                <a:gd name="T10" fmla="*/ 130 w 743"/>
                <a:gd name="T11" fmla="*/ 122 h 598"/>
                <a:gd name="T12" fmla="*/ 85 w 743"/>
                <a:gd name="T13" fmla="*/ 74 h 598"/>
                <a:gd name="T14" fmla="*/ 73 w 743"/>
                <a:gd name="T15" fmla="*/ 77 h 598"/>
                <a:gd name="T16" fmla="*/ 73 w 743"/>
                <a:gd name="T17" fmla="*/ 85 h 598"/>
                <a:gd name="T18" fmla="*/ 37 w 743"/>
                <a:gd name="T19" fmla="*/ 100 h 598"/>
                <a:gd name="T20" fmla="*/ 35 w 743"/>
                <a:gd name="T21" fmla="*/ 131 h 598"/>
                <a:gd name="T22" fmla="*/ 16 w 743"/>
                <a:gd name="T23" fmla="*/ 155 h 598"/>
                <a:gd name="T24" fmla="*/ 6 w 743"/>
                <a:gd name="T25" fmla="*/ 207 h 598"/>
                <a:gd name="T26" fmla="*/ 0 w 743"/>
                <a:gd name="T27" fmla="*/ 251 h 598"/>
                <a:gd name="T28" fmla="*/ 16 w 743"/>
                <a:gd name="T29" fmla="*/ 264 h 598"/>
                <a:gd name="T30" fmla="*/ 47 w 743"/>
                <a:gd name="T31" fmla="*/ 264 h 598"/>
                <a:gd name="T32" fmla="*/ 115 w 743"/>
                <a:gd name="T33" fmla="*/ 335 h 598"/>
                <a:gd name="T34" fmla="*/ 107 w 743"/>
                <a:gd name="T35" fmla="*/ 405 h 598"/>
                <a:gd name="T36" fmla="*/ 154 w 743"/>
                <a:gd name="T37" fmla="*/ 441 h 598"/>
                <a:gd name="T38" fmla="*/ 180 w 743"/>
                <a:gd name="T39" fmla="*/ 423 h 598"/>
                <a:gd name="T40" fmla="*/ 222 w 743"/>
                <a:gd name="T41" fmla="*/ 473 h 598"/>
                <a:gd name="T42" fmla="*/ 227 w 743"/>
                <a:gd name="T43" fmla="*/ 520 h 598"/>
                <a:gd name="T44" fmla="*/ 256 w 743"/>
                <a:gd name="T45" fmla="*/ 559 h 598"/>
                <a:gd name="T46" fmla="*/ 269 w 743"/>
                <a:gd name="T47" fmla="*/ 587 h 598"/>
                <a:gd name="T48" fmla="*/ 373 w 743"/>
                <a:gd name="T49" fmla="*/ 593 h 598"/>
                <a:gd name="T50" fmla="*/ 425 w 743"/>
                <a:gd name="T51" fmla="*/ 566 h 598"/>
                <a:gd name="T52" fmla="*/ 440 w 743"/>
                <a:gd name="T53" fmla="*/ 595 h 598"/>
                <a:gd name="T54" fmla="*/ 459 w 743"/>
                <a:gd name="T55" fmla="*/ 598 h 598"/>
                <a:gd name="T56" fmla="*/ 472 w 743"/>
                <a:gd name="T57" fmla="*/ 569 h 598"/>
                <a:gd name="T58" fmla="*/ 558 w 743"/>
                <a:gd name="T59" fmla="*/ 566 h 598"/>
                <a:gd name="T60" fmla="*/ 592 w 743"/>
                <a:gd name="T61" fmla="*/ 548 h 598"/>
                <a:gd name="T62" fmla="*/ 597 w 743"/>
                <a:gd name="T63" fmla="*/ 514 h 598"/>
                <a:gd name="T64" fmla="*/ 672 w 743"/>
                <a:gd name="T65" fmla="*/ 514 h 598"/>
                <a:gd name="T66" fmla="*/ 683 w 743"/>
                <a:gd name="T67" fmla="*/ 520 h 598"/>
                <a:gd name="T68" fmla="*/ 674 w 743"/>
                <a:gd name="T69" fmla="*/ 487 h 598"/>
                <a:gd name="T70" fmla="*/ 653 w 743"/>
                <a:gd name="T71" fmla="*/ 474 h 598"/>
                <a:gd name="T72" fmla="*/ 682 w 743"/>
                <a:gd name="T73" fmla="*/ 447 h 598"/>
                <a:gd name="T74" fmla="*/ 727 w 743"/>
                <a:gd name="T75" fmla="*/ 444 h 598"/>
                <a:gd name="T76" fmla="*/ 743 w 743"/>
                <a:gd name="T77" fmla="*/ 421 h 598"/>
                <a:gd name="T78" fmla="*/ 740 w 743"/>
                <a:gd name="T79" fmla="*/ 326 h 598"/>
                <a:gd name="T80" fmla="*/ 730 w 743"/>
                <a:gd name="T81" fmla="*/ 270 h 598"/>
                <a:gd name="T82" fmla="*/ 685 w 743"/>
                <a:gd name="T83" fmla="*/ 254 h 598"/>
                <a:gd name="T84" fmla="*/ 637 w 743"/>
                <a:gd name="T85" fmla="*/ 188 h 598"/>
                <a:gd name="T86" fmla="*/ 640 w 743"/>
                <a:gd name="T87" fmla="*/ 149 h 598"/>
                <a:gd name="T88" fmla="*/ 653 w 743"/>
                <a:gd name="T89" fmla="*/ 120 h 598"/>
                <a:gd name="T90" fmla="*/ 629 w 743"/>
                <a:gd name="T91" fmla="*/ 111 h 598"/>
                <a:gd name="T92" fmla="*/ 555 w 743"/>
                <a:gd name="T93" fmla="*/ 127 h 598"/>
                <a:gd name="T94" fmla="*/ 502 w 743"/>
                <a:gd name="T95" fmla="*/ 127 h 598"/>
                <a:gd name="T96" fmla="*/ 455 w 743"/>
                <a:gd name="T97" fmla="*/ 56 h 598"/>
                <a:gd name="T98" fmla="*/ 449 w 743"/>
                <a:gd name="T99" fmla="*/ 3 h 598"/>
                <a:gd name="T100" fmla="*/ 410 w 743"/>
                <a:gd name="T101" fmla="*/ 0 h 5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743"/>
                <a:gd name="T154" fmla="*/ 0 h 598"/>
                <a:gd name="T155" fmla="*/ 743 w 743"/>
                <a:gd name="T156" fmla="*/ 598 h 5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743" h="598">
                  <a:moveTo>
                    <a:pt x="410" y="0"/>
                  </a:moveTo>
                  <a:lnTo>
                    <a:pt x="357" y="29"/>
                  </a:lnTo>
                  <a:lnTo>
                    <a:pt x="312" y="61"/>
                  </a:lnTo>
                  <a:lnTo>
                    <a:pt x="267" y="61"/>
                  </a:lnTo>
                  <a:lnTo>
                    <a:pt x="193" y="111"/>
                  </a:lnTo>
                  <a:lnTo>
                    <a:pt x="130" y="122"/>
                  </a:lnTo>
                  <a:lnTo>
                    <a:pt x="85" y="74"/>
                  </a:lnTo>
                  <a:lnTo>
                    <a:pt x="73" y="77"/>
                  </a:lnTo>
                  <a:lnTo>
                    <a:pt x="73" y="85"/>
                  </a:lnTo>
                  <a:lnTo>
                    <a:pt x="37" y="100"/>
                  </a:lnTo>
                  <a:lnTo>
                    <a:pt x="35" y="131"/>
                  </a:lnTo>
                  <a:lnTo>
                    <a:pt x="16" y="155"/>
                  </a:lnTo>
                  <a:lnTo>
                    <a:pt x="6" y="207"/>
                  </a:lnTo>
                  <a:lnTo>
                    <a:pt x="0" y="251"/>
                  </a:lnTo>
                  <a:lnTo>
                    <a:pt x="16" y="264"/>
                  </a:lnTo>
                  <a:lnTo>
                    <a:pt x="47" y="264"/>
                  </a:lnTo>
                  <a:lnTo>
                    <a:pt x="115" y="335"/>
                  </a:lnTo>
                  <a:lnTo>
                    <a:pt x="107" y="405"/>
                  </a:lnTo>
                  <a:lnTo>
                    <a:pt x="154" y="441"/>
                  </a:lnTo>
                  <a:lnTo>
                    <a:pt x="180" y="423"/>
                  </a:lnTo>
                  <a:lnTo>
                    <a:pt x="222" y="473"/>
                  </a:lnTo>
                  <a:lnTo>
                    <a:pt x="227" y="520"/>
                  </a:lnTo>
                  <a:lnTo>
                    <a:pt x="256" y="559"/>
                  </a:lnTo>
                  <a:lnTo>
                    <a:pt x="269" y="587"/>
                  </a:lnTo>
                  <a:lnTo>
                    <a:pt x="373" y="593"/>
                  </a:lnTo>
                  <a:lnTo>
                    <a:pt x="425" y="566"/>
                  </a:lnTo>
                  <a:lnTo>
                    <a:pt x="440" y="595"/>
                  </a:lnTo>
                  <a:lnTo>
                    <a:pt x="459" y="598"/>
                  </a:lnTo>
                  <a:lnTo>
                    <a:pt x="472" y="569"/>
                  </a:lnTo>
                  <a:lnTo>
                    <a:pt x="558" y="566"/>
                  </a:lnTo>
                  <a:lnTo>
                    <a:pt x="592" y="548"/>
                  </a:lnTo>
                  <a:lnTo>
                    <a:pt x="597" y="514"/>
                  </a:lnTo>
                  <a:lnTo>
                    <a:pt x="672" y="514"/>
                  </a:lnTo>
                  <a:lnTo>
                    <a:pt x="683" y="520"/>
                  </a:lnTo>
                  <a:lnTo>
                    <a:pt x="674" y="487"/>
                  </a:lnTo>
                  <a:lnTo>
                    <a:pt x="653" y="474"/>
                  </a:lnTo>
                  <a:lnTo>
                    <a:pt x="682" y="447"/>
                  </a:lnTo>
                  <a:lnTo>
                    <a:pt x="727" y="444"/>
                  </a:lnTo>
                  <a:lnTo>
                    <a:pt x="743" y="421"/>
                  </a:lnTo>
                  <a:lnTo>
                    <a:pt x="740" y="326"/>
                  </a:lnTo>
                  <a:lnTo>
                    <a:pt x="730" y="270"/>
                  </a:lnTo>
                  <a:lnTo>
                    <a:pt x="685" y="254"/>
                  </a:lnTo>
                  <a:lnTo>
                    <a:pt x="637" y="188"/>
                  </a:lnTo>
                  <a:lnTo>
                    <a:pt x="640" y="149"/>
                  </a:lnTo>
                  <a:lnTo>
                    <a:pt x="653" y="120"/>
                  </a:lnTo>
                  <a:lnTo>
                    <a:pt x="629" y="111"/>
                  </a:lnTo>
                  <a:lnTo>
                    <a:pt x="555" y="127"/>
                  </a:lnTo>
                  <a:lnTo>
                    <a:pt x="502" y="127"/>
                  </a:lnTo>
                  <a:lnTo>
                    <a:pt x="455" y="56"/>
                  </a:lnTo>
                  <a:lnTo>
                    <a:pt x="449" y="3"/>
                  </a:lnTo>
                  <a:lnTo>
                    <a:pt x="410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10</a:t>
              </a:r>
            </a:p>
          </p:txBody>
        </p:sp>
        <p:sp>
          <p:nvSpPr>
            <p:cNvPr id="185" name="FR-52">
              <a:extLst>
                <a:ext uri="{FF2B5EF4-FFF2-40B4-BE49-F238E27FC236}">
                  <a16:creationId xmlns:a16="http://schemas.microsoft.com/office/drawing/2014/main" id="{8801E9AD-8C4C-4883-9A01-14F7FAEBE92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636373" y="1712858"/>
              <a:ext cx="621810" cy="779261"/>
            </a:xfrm>
            <a:custGeom>
              <a:avLst/>
              <a:gdLst>
                <a:gd name="T0" fmla="*/ 108 w 640"/>
                <a:gd name="T1" fmla="*/ 10 h 823"/>
                <a:gd name="T2" fmla="*/ 45 w 640"/>
                <a:gd name="T3" fmla="*/ 116 h 823"/>
                <a:gd name="T4" fmla="*/ 3 w 640"/>
                <a:gd name="T5" fmla="*/ 135 h 823"/>
                <a:gd name="T6" fmla="*/ 48 w 640"/>
                <a:gd name="T7" fmla="*/ 240 h 823"/>
                <a:gd name="T8" fmla="*/ 103 w 640"/>
                <a:gd name="T9" fmla="*/ 312 h 823"/>
                <a:gd name="T10" fmla="*/ 90 w 640"/>
                <a:gd name="T11" fmla="*/ 430 h 823"/>
                <a:gd name="T12" fmla="*/ 16 w 640"/>
                <a:gd name="T13" fmla="*/ 460 h 823"/>
                <a:gd name="T14" fmla="*/ 46 w 640"/>
                <a:gd name="T15" fmla="*/ 506 h 823"/>
                <a:gd name="T16" fmla="*/ 124 w 640"/>
                <a:gd name="T17" fmla="*/ 573 h 823"/>
                <a:gd name="T18" fmla="*/ 150 w 640"/>
                <a:gd name="T19" fmla="*/ 690 h 823"/>
                <a:gd name="T20" fmla="*/ 176 w 640"/>
                <a:gd name="T21" fmla="*/ 750 h 823"/>
                <a:gd name="T22" fmla="*/ 228 w 640"/>
                <a:gd name="T23" fmla="*/ 769 h 823"/>
                <a:gd name="T24" fmla="*/ 283 w 640"/>
                <a:gd name="T25" fmla="*/ 758 h 823"/>
                <a:gd name="T26" fmla="*/ 330 w 640"/>
                <a:gd name="T27" fmla="*/ 823 h 823"/>
                <a:gd name="T28" fmla="*/ 398 w 640"/>
                <a:gd name="T29" fmla="*/ 784 h 823"/>
                <a:gd name="T30" fmla="*/ 400 w 640"/>
                <a:gd name="T31" fmla="*/ 758 h 823"/>
                <a:gd name="T32" fmla="*/ 478 w 640"/>
                <a:gd name="T33" fmla="*/ 758 h 823"/>
                <a:gd name="T34" fmla="*/ 540 w 640"/>
                <a:gd name="T35" fmla="*/ 742 h 823"/>
                <a:gd name="T36" fmla="*/ 561 w 640"/>
                <a:gd name="T37" fmla="*/ 675 h 823"/>
                <a:gd name="T38" fmla="*/ 535 w 640"/>
                <a:gd name="T39" fmla="*/ 641 h 823"/>
                <a:gd name="T40" fmla="*/ 574 w 640"/>
                <a:gd name="T41" fmla="*/ 612 h 823"/>
                <a:gd name="T42" fmla="*/ 611 w 640"/>
                <a:gd name="T43" fmla="*/ 579 h 823"/>
                <a:gd name="T44" fmla="*/ 632 w 640"/>
                <a:gd name="T45" fmla="*/ 547 h 823"/>
                <a:gd name="T46" fmla="*/ 616 w 640"/>
                <a:gd name="T47" fmla="*/ 524 h 823"/>
                <a:gd name="T48" fmla="*/ 588 w 640"/>
                <a:gd name="T49" fmla="*/ 480 h 823"/>
                <a:gd name="T50" fmla="*/ 530 w 640"/>
                <a:gd name="T51" fmla="*/ 373 h 823"/>
                <a:gd name="T52" fmla="*/ 546 w 640"/>
                <a:gd name="T53" fmla="*/ 334 h 823"/>
                <a:gd name="T54" fmla="*/ 504 w 640"/>
                <a:gd name="T55" fmla="*/ 295 h 823"/>
                <a:gd name="T56" fmla="*/ 436 w 640"/>
                <a:gd name="T57" fmla="*/ 245 h 823"/>
                <a:gd name="T58" fmla="*/ 377 w 640"/>
                <a:gd name="T59" fmla="*/ 217 h 823"/>
                <a:gd name="T60" fmla="*/ 345 w 640"/>
                <a:gd name="T61" fmla="*/ 133 h 823"/>
                <a:gd name="T62" fmla="*/ 259 w 640"/>
                <a:gd name="T63" fmla="*/ 94 h 823"/>
                <a:gd name="T64" fmla="*/ 171 w 640"/>
                <a:gd name="T65" fmla="*/ 50 h 82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640"/>
                <a:gd name="T100" fmla="*/ 0 h 823"/>
                <a:gd name="T101" fmla="*/ 640 w 640"/>
                <a:gd name="T102" fmla="*/ 823 h 823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640" h="823">
                  <a:moveTo>
                    <a:pt x="170" y="0"/>
                  </a:moveTo>
                  <a:lnTo>
                    <a:pt x="108" y="10"/>
                  </a:lnTo>
                  <a:lnTo>
                    <a:pt x="100" y="76"/>
                  </a:lnTo>
                  <a:lnTo>
                    <a:pt x="45" y="116"/>
                  </a:lnTo>
                  <a:lnTo>
                    <a:pt x="16" y="106"/>
                  </a:lnTo>
                  <a:lnTo>
                    <a:pt x="3" y="135"/>
                  </a:lnTo>
                  <a:lnTo>
                    <a:pt x="0" y="174"/>
                  </a:lnTo>
                  <a:lnTo>
                    <a:pt x="48" y="240"/>
                  </a:lnTo>
                  <a:lnTo>
                    <a:pt x="93" y="256"/>
                  </a:lnTo>
                  <a:lnTo>
                    <a:pt x="103" y="312"/>
                  </a:lnTo>
                  <a:lnTo>
                    <a:pt x="106" y="407"/>
                  </a:lnTo>
                  <a:lnTo>
                    <a:pt x="90" y="430"/>
                  </a:lnTo>
                  <a:lnTo>
                    <a:pt x="45" y="433"/>
                  </a:lnTo>
                  <a:lnTo>
                    <a:pt x="16" y="460"/>
                  </a:lnTo>
                  <a:lnTo>
                    <a:pt x="37" y="473"/>
                  </a:lnTo>
                  <a:lnTo>
                    <a:pt x="46" y="506"/>
                  </a:lnTo>
                  <a:lnTo>
                    <a:pt x="77" y="524"/>
                  </a:lnTo>
                  <a:lnTo>
                    <a:pt x="124" y="573"/>
                  </a:lnTo>
                  <a:lnTo>
                    <a:pt x="184" y="654"/>
                  </a:lnTo>
                  <a:lnTo>
                    <a:pt x="150" y="690"/>
                  </a:lnTo>
                  <a:lnTo>
                    <a:pt x="173" y="706"/>
                  </a:lnTo>
                  <a:lnTo>
                    <a:pt x="176" y="750"/>
                  </a:lnTo>
                  <a:lnTo>
                    <a:pt x="218" y="748"/>
                  </a:lnTo>
                  <a:lnTo>
                    <a:pt x="228" y="769"/>
                  </a:lnTo>
                  <a:lnTo>
                    <a:pt x="259" y="771"/>
                  </a:lnTo>
                  <a:lnTo>
                    <a:pt x="283" y="758"/>
                  </a:lnTo>
                  <a:lnTo>
                    <a:pt x="324" y="810"/>
                  </a:lnTo>
                  <a:lnTo>
                    <a:pt x="330" y="823"/>
                  </a:lnTo>
                  <a:lnTo>
                    <a:pt x="387" y="810"/>
                  </a:lnTo>
                  <a:lnTo>
                    <a:pt x="398" y="784"/>
                  </a:lnTo>
                  <a:lnTo>
                    <a:pt x="400" y="785"/>
                  </a:lnTo>
                  <a:lnTo>
                    <a:pt x="400" y="758"/>
                  </a:lnTo>
                  <a:lnTo>
                    <a:pt x="436" y="742"/>
                  </a:lnTo>
                  <a:lnTo>
                    <a:pt x="478" y="758"/>
                  </a:lnTo>
                  <a:lnTo>
                    <a:pt x="517" y="742"/>
                  </a:lnTo>
                  <a:lnTo>
                    <a:pt x="540" y="742"/>
                  </a:lnTo>
                  <a:lnTo>
                    <a:pt x="548" y="690"/>
                  </a:lnTo>
                  <a:lnTo>
                    <a:pt x="561" y="675"/>
                  </a:lnTo>
                  <a:lnTo>
                    <a:pt x="538" y="672"/>
                  </a:lnTo>
                  <a:lnTo>
                    <a:pt x="535" y="641"/>
                  </a:lnTo>
                  <a:lnTo>
                    <a:pt x="572" y="633"/>
                  </a:lnTo>
                  <a:lnTo>
                    <a:pt x="574" y="612"/>
                  </a:lnTo>
                  <a:lnTo>
                    <a:pt x="611" y="612"/>
                  </a:lnTo>
                  <a:lnTo>
                    <a:pt x="611" y="579"/>
                  </a:lnTo>
                  <a:lnTo>
                    <a:pt x="640" y="568"/>
                  </a:lnTo>
                  <a:lnTo>
                    <a:pt x="632" y="547"/>
                  </a:lnTo>
                  <a:lnTo>
                    <a:pt x="640" y="542"/>
                  </a:lnTo>
                  <a:lnTo>
                    <a:pt x="616" y="524"/>
                  </a:lnTo>
                  <a:lnTo>
                    <a:pt x="588" y="534"/>
                  </a:lnTo>
                  <a:lnTo>
                    <a:pt x="588" y="480"/>
                  </a:lnTo>
                  <a:lnTo>
                    <a:pt x="515" y="443"/>
                  </a:lnTo>
                  <a:lnTo>
                    <a:pt x="530" y="373"/>
                  </a:lnTo>
                  <a:lnTo>
                    <a:pt x="553" y="357"/>
                  </a:lnTo>
                  <a:lnTo>
                    <a:pt x="546" y="334"/>
                  </a:lnTo>
                  <a:lnTo>
                    <a:pt x="512" y="329"/>
                  </a:lnTo>
                  <a:lnTo>
                    <a:pt x="504" y="295"/>
                  </a:lnTo>
                  <a:lnTo>
                    <a:pt x="473" y="295"/>
                  </a:lnTo>
                  <a:lnTo>
                    <a:pt x="436" y="245"/>
                  </a:lnTo>
                  <a:lnTo>
                    <a:pt x="395" y="242"/>
                  </a:lnTo>
                  <a:lnTo>
                    <a:pt x="377" y="217"/>
                  </a:lnTo>
                  <a:lnTo>
                    <a:pt x="400" y="193"/>
                  </a:lnTo>
                  <a:lnTo>
                    <a:pt x="345" y="133"/>
                  </a:lnTo>
                  <a:lnTo>
                    <a:pt x="322" y="125"/>
                  </a:lnTo>
                  <a:lnTo>
                    <a:pt x="259" y="94"/>
                  </a:lnTo>
                  <a:lnTo>
                    <a:pt x="225" y="58"/>
                  </a:lnTo>
                  <a:lnTo>
                    <a:pt x="171" y="50"/>
                  </a:lnTo>
                  <a:lnTo>
                    <a:pt x="170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52</a:t>
              </a:r>
            </a:p>
          </p:txBody>
        </p:sp>
        <p:sp>
          <p:nvSpPr>
            <p:cNvPr id="186" name="FR-67">
              <a:extLst>
                <a:ext uri="{FF2B5EF4-FFF2-40B4-BE49-F238E27FC236}">
                  <a16:creationId xmlns:a16="http://schemas.microsoft.com/office/drawing/2014/main" id="{AD1D4BAE-1632-4AF4-97A0-8C6F6494E44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741058" y="1366310"/>
              <a:ext cx="616952" cy="686469"/>
            </a:xfrm>
            <a:custGeom>
              <a:avLst/>
              <a:gdLst>
                <a:gd name="T0" fmla="*/ 388 w 635"/>
                <a:gd name="T1" fmla="*/ 0 h 725"/>
                <a:gd name="T2" fmla="*/ 338 w 635"/>
                <a:gd name="T3" fmla="*/ 14 h 725"/>
                <a:gd name="T4" fmla="*/ 315 w 635"/>
                <a:gd name="T5" fmla="*/ 54 h 725"/>
                <a:gd name="T6" fmla="*/ 315 w 635"/>
                <a:gd name="T7" fmla="*/ 93 h 725"/>
                <a:gd name="T8" fmla="*/ 294 w 635"/>
                <a:gd name="T9" fmla="*/ 111 h 725"/>
                <a:gd name="T10" fmla="*/ 276 w 635"/>
                <a:gd name="T11" fmla="*/ 111 h 725"/>
                <a:gd name="T12" fmla="*/ 242 w 635"/>
                <a:gd name="T13" fmla="*/ 88 h 725"/>
                <a:gd name="T14" fmla="*/ 216 w 635"/>
                <a:gd name="T15" fmla="*/ 106 h 725"/>
                <a:gd name="T16" fmla="*/ 185 w 635"/>
                <a:gd name="T17" fmla="*/ 106 h 725"/>
                <a:gd name="T18" fmla="*/ 159 w 635"/>
                <a:gd name="T19" fmla="*/ 80 h 725"/>
                <a:gd name="T20" fmla="*/ 109 w 635"/>
                <a:gd name="T21" fmla="*/ 72 h 725"/>
                <a:gd name="T22" fmla="*/ 81 w 635"/>
                <a:gd name="T23" fmla="*/ 59 h 725"/>
                <a:gd name="T24" fmla="*/ 70 w 635"/>
                <a:gd name="T25" fmla="*/ 20 h 725"/>
                <a:gd name="T26" fmla="*/ 47 w 635"/>
                <a:gd name="T27" fmla="*/ 46 h 725"/>
                <a:gd name="T28" fmla="*/ 34 w 635"/>
                <a:gd name="T29" fmla="*/ 106 h 725"/>
                <a:gd name="T30" fmla="*/ 0 w 635"/>
                <a:gd name="T31" fmla="*/ 116 h 725"/>
                <a:gd name="T32" fmla="*/ 0 w 635"/>
                <a:gd name="T33" fmla="*/ 150 h 725"/>
                <a:gd name="T34" fmla="*/ 34 w 635"/>
                <a:gd name="T35" fmla="*/ 166 h 725"/>
                <a:gd name="T36" fmla="*/ 60 w 635"/>
                <a:gd name="T37" fmla="*/ 184 h 725"/>
                <a:gd name="T38" fmla="*/ 49 w 635"/>
                <a:gd name="T39" fmla="*/ 208 h 725"/>
                <a:gd name="T40" fmla="*/ 73 w 635"/>
                <a:gd name="T41" fmla="*/ 223 h 725"/>
                <a:gd name="T42" fmla="*/ 115 w 635"/>
                <a:gd name="T43" fmla="*/ 192 h 725"/>
                <a:gd name="T44" fmla="*/ 187 w 635"/>
                <a:gd name="T45" fmla="*/ 233 h 725"/>
                <a:gd name="T46" fmla="*/ 156 w 635"/>
                <a:gd name="T47" fmla="*/ 291 h 725"/>
                <a:gd name="T48" fmla="*/ 159 w 635"/>
                <a:gd name="T49" fmla="*/ 309 h 725"/>
                <a:gd name="T50" fmla="*/ 180 w 635"/>
                <a:gd name="T51" fmla="*/ 330 h 725"/>
                <a:gd name="T52" fmla="*/ 164 w 635"/>
                <a:gd name="T53" fmla="*/ 385 h 725"/>
                <a:gd name="T54" fmla="*/ 112 w 635"/>
                <a:gd name="T55" fmla="*/ 437 h 725"/>
                <a:gd name="T56" fmla="*/ 83 w 635"/>
                <a:gd name="T57" fmla="*/ 434 h 725"/>
                <a:gd name="T58" fmla="*/ 101 w 635"/>
                <a:gd name="T59" fmla="*/ 452 h 725"/>
                <a:gd name="T60" fmla="*/ 91 w 635"/>
                <a:gd name="T61" fmla="*/ 499 h 725"/>
                <a:gd name="T62" fmla="*/ 101 w 635"/>
                <a:gd name="T63" fmla="*/ 570 h 725"/>
                <a:gd name="T64" fmla="*/ 151 w 635"/>
                <a:gd name="T65" fmla="*/ 583 h 725"/>
                <a:gd name="T66" fmla="*/ 147 w 635"/>
                <a:gd name="T67" fmla="*/ 592 h 725"/>
                <a:gd name="T68" fmla="*/ 186 w 635"/>
                <a:gd name="T69" fmla="*/ 590 h 725"/>
                <a:gd name="T70" fmla="*/ 209 w 635"/>
                <a:gd name="T71" fmla="*/ 618 h 725"/>
                <a:gd name="T72" fmla="*/ 229 w 635"/>
                <a:gd name="T73" fmla="*/ 643 h 725"/>
                <a:gd name="T74" fmla="*/ 281 w 635"/>
                <a:gd name="T75" fmla="*/ 641 h 725"/>
                <a:gd name="T76" fmla="*/ 303 w 635"/>
                <a:gd name="T77" fmla="*/ 707 h 725"/>
                <a:gd name="T78" fmla="*/ 343 w 635"/>
                <a:gd name="T79" fmla="*/ 725 h 725"/>
                <a:gd name="T80" fmla="*/ 343 w 635"/>
                <a:gd name="T81" fmla="*/ 716 h 725"/>
                <a:gd name="T82" fmla="*/ 411 w 635"/>
                <a:gd name="T83" fmla="*/ 583 h 725"/>
                <a:gd name="T84" fmla="*/ 403 w 635"/>
                <a:gd name="T85" fmla="*/ 508 h 725"/>
                <a:gd name="T86" fmla="*/ 434 w 635"/>
                <a:gd name="T87" fmla="*/ 406 h 725"/>
                <a:gd name="T88" fmla="*/ 442 w 635"/>
                <a:gd name="T89" fmla="*/ 318 h 725"/>
                <a:gd name="T90" fmla="*/ 510 w 635"/>
                <a:gd name="T91" fmla="*/ 268 h 725"/>
                <a:gd name="T92" fmla="*/ 510 w 635"/>
                <a:gd name="T93" fmla="*/ 237 h 725"/>
                <a:gd name="T94" fmla="*/ 536 w 635"/>
                <a:gd name="T95" fmla="*/ 203 h 725"/>
                <a:gd name="T96" fmla="*/ 557 w 635"/>
                <a:gd name="T97" fmla="*/ 203 h 725"/>
                <a:gd name="T98" fmla="*/ 580 w 635"/>
                <a:gd name="T99" fmla="*/ 180 h 725"/>
                <a:gd name="T100" fmla="*/ 575 w 635"/>
                <a:gd name="T101" fmla="*/ 136 h 725"/>
                <a:gd name="T102" fmla="*/ 598 w 635"/>
                <a:gd name="T103" fmla="*/ 73 h 725"/>
                <a:gd name="T104" fmla="*/ 635 w 635"/>
                <a:gd name="T105" fmla="*/ 65 h 725"/>
                <a:gd name="T106" fmla="*/ 598 w 635"/>
                <a:gd name="T107" fmla="*/ 36 h 725"/>
                <a:gd name="T108" fmla="*/ 533 w 635"/>
                <a:gd name="T109" fmla="*/ 29 h 725"/>
                <a:gd name="T110" fmla="*/ 476 w 635"/>
                <a:gd name="T111" fmla="*/ 0 h 725"/>
                <a:gd name="T112" fmla="*/ 437 w 635"/>
                <a:gd name="T113" fmla="*/ 23 h 725"/>
                <a:gd name="T114" fmla="*/ 416 w 635"/>
                <a:gd name="T115" fmla="*/ 0 h 725"/>
                <a:gd name="T116" fmla="*/ 388 w 635"/>
                <a:gd name="T117" fmla="*/ 0 h 725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5"/>
                <a:gd name="T178" fmla="*/ 0 h 725"/>
                <a:gd name="T179" fmla="*/ 635 w 635"/>
                <a:gd name="T180" fmla="*/ 725 h 725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5" h="725">
                  <a:moveTo>
                    <a:pt x="388" y="0"/>
                  </a:moveTo>
                  <a:lnTo>
                    <a:pt x="338" y="14"/>
                  </a:lnTo>
                  <a:lnTo>
                    <a:pt x="315" y="54"/>
                  </a:lnTo>
                  <a:lnTo>
                    <a:pt x="315" y="93"/>
                  </a:lnTo>
                  <a:lnTo>
                    <a:pt x="294" y="111"/>
                  </a:lnTo>
                  <a:lnTo>
                    <a:pt x="276" y="111"/>
                  </a:lnTo>
                  <a:lnTo>
                    <a:pt x="242" y="88"/>
                  </a:lnTo>
                  <a:lnTo>
                    <a:pt x="216" y="106"/>
                  </a:lnTo>
                  <a:lnTo>
                    <a:pt x="185" y="106"/>
                  </a:lnTo>
                  <a:lnTo>
                    <a:pt x="159" y="80"/>
                  </a:lnTo>
                  <a:lnTo>
                    <a:pt x="109" y="72"/>
                  </a:lnTo>
                  <a:lnTo>
                    <a:pt x="81" y="59"/>
                  </a:lnTo>
                  <a:lnTo>
                    <a:pt x="70" y="20"/>
                  </a:lnTo>
                  <a:lnTo>
                    <a:pt x="47" y="46"/>
                  </a:lnTo>
                  <a:lnTo>
                    <a:pt x="34" y="106"/>
                  </a:lnTo>
                  <a:lnTo>
                    <a:pt x="0" y="116"/>
                  </a:lnTo>
                  <a:lnTo>
                    <a:pt x="0" y="150"/>
                  </a:lnTo>
                  <a:lnTo>
                    <a:pt x="34" y="166"/>
                  </a:lnTo>
                  <a:lnTo>
                    <a:pt x="60" y="184"/>
                  </a:lnTo>
                  <a:lnTo>
                    <a:pt x="49" y="208"/>
                  </a:lnTo>
                  <a:lnTo>
                    <a:pt x="73" y="223"/>
                  </a:lnTo>
                  <a:lnTo>
                    <a:pt x="115" y="192"/>
                  </a:lnTo>
                  <a:lnTo>
                    <a:pt x="187" y="233"/>
                  </a:lnTo>
                  <a:lnTo>
                    <a:pt x="156" y="291"/>
                  </a:lnTo>
                  <a:lnTo>
                    <a:pt x="159" y="309"/>
                  </a:lnTo>
                  <a:lnTo>
                    <a:pt x="180" y="330"/>
                  </a:lnTo>
                  <a:lnTo>
                    <a:pt x="164" y="385"/>
                  </a:lnTo>
                  <a:lnTo>
                    <a:pt x="112" y="437"/>
                  </a:lnTo>
                  <a:lnTo>
                    <a:pt x="83" y="434"/>
                  </a:lnTo>
                  <a:lnTo>
                    <a:pt x="101" y="452"/>
                  </a:lnTo>
                  <a:lnTo>
                    <a:pt x="91" y="499"/>
                  </a:lnTo>
                  <a:lnTo>
                    <a:pt x="101" y="570"/>
                  </a:lnTo>
                  <a:lnTo>
                    <a:pt x="151" y="583"/>
                  </a:lnTo>
                  <a:lnTo>
                    <a:pt x="147" y="592"/>
                  </a:lnTo>
                  <a:lnTo>
                    <a:pt x="186" y="590"/>
                  </a:lnTo>
                  <a:lnTo>
                    <a:pt x="209" y="618"/>
                  </a:lnTo>
                  <a:lnTo>
                    <a:pt x="229" y="643"/>
                  </a:lnTo>
                  <a:lnTo>
                    <a:pt x="281" y="641"/>
                  </a:lnTo>
                  <a:lnTo>
                    <a:pt x="303" y="707"/>
                  </a:lnTo>
                  <a:lnTo>
                    <a:pt x="343" y="725"/>
                  </a:lnTo>
                  <a:lnTo>
                    <a:pt x="343" y="716"/>
                  </a:lnTo>
                  <a:lnTo>
                    <a:pt x="411" y="583"/>
                  </a:lnTo>
                  <a:lnTo>
                    <a:pt x="403" y="508"/>
                  </a:lnTo>
                  <a:lnTo>
                    <a:pt x="434" y="406"/>
                  </a:lnTo>
                  <a:lnTo>
                    <a:pt x="442" y="318"/>
                  </a:lnTo>
                  <a:lnTo>
                    <a:pt x="510" y="268"/>
                  </a:lnTo>
                  <a:lnTo>
                    <a:pt x="510" y="237"/>
                  </a:lnTo>
                  <a:lnTo>
                    <a:pt x="536" y="203"/>
                  </a:lnTo>
                  <a:lnTo>
                    <a:pt x="557" y="203"/>
                  </a:lnTo>
                  <a:lnTo>
                    <a:pt x="580" y="180"/>
                  </a:lnTo>
                  <a:lnTo>
                    <a:pt x="575" y="136"/>
                  </a:lnTo>
                  <a:lnTo>
                    <a:pt x="598" y="73"/>
                  </a:lnTo>
                  <a:lnTo>
                    <a:pt x="635" y="65"/>
                  </a:lnTo>
                  <a:lnTo>
                    <a:pt x="598" y="36"/>
                  </a:lnTo>
                  <a:lnTo>
                    <a:pt x="533" y="29"/>
                  </a:lnTo>
                  <a:lnTo>
                    <a:pt x="476" y="0"/>
                  </a:lnTo>
                  <a:lnTo>
                    <a:pt x="437" y="23"/>
                  </a:lnTo>
                  <a:lnTo>
                    <a:pt x="416" y="0"/>
                  </a:lnTo>
                  <a:lnTo>
                    <a:pt x="388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67</a:t>
              </a:r>
            </a:p>
          </p:txBody>
        </p:sp>
        <p:sp>
          <p:nvSpPr>
            <p:cNvPr id="187" name="FR-54">
              <a:extLst>
                <a:ext uri="{FF2B5EF4-FFF2-40B4-BE49-F238E27FC236}">
                  <a16:creationId xmlns:a16="http://schemas.microsoft.com/office/drawing/2014/main" id="{1077775F-63B3-4154-9A37-5DA15426AAD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999744" y="1065210"/>
              <a:ext cx="854989" cy="855009"/>
            </a:xfrm>
            <a:custGeom>
              <a:avLst/>
              <a:gdLst>
                <a:gd name="T0" fmla="*/ 64 w 880"/>
                <a:gd name="T1" fmla="*/ 29 h 903"/>
                <a:gd name="T2" fmla="*/ 5 w 880"/>
                <a:gd name="T3" fmla="*/ 47 h 903"/>
                <a:gd name="T4" fmla="*/ 0 w 880"/>
                <a:gd name="T5" fmla="*/ 79 h 903"/>
                <a:gd name="T6" fmla="*/ 10 w 880"/>
                <a:gd name="T7" fmla="*/ 119 h 903"/>
                <a:gd name="T8" fmla="*/ 7 w 880"/>
                <a:gd name="T9" fmla="*/ 147 h 903"/>
                <a:gd name="T10" fmla="*/ 33 w 880"/>
                <a:gd name="T11" fmla="*/ 114 h 903"/>
                <a:gd name="T12" fmla="*/ 102 w 880"/>
                <a:gd name="T13" fmla="*/ 99 h 903"/>
                <a:gd name="T14" fmla="*/ 135 w 880"/>
                <a:gd name="T15" fmla="*/ 137 h 903"/>
                <a:gd name="T16" fmla="*/ 143 w 880"/>
                <a:gd name="T17" fmla="*/ 183 h 903"/>
                <a:gd name="T18" fmla="*/ 155 w 880"/>
                <a:gd name="T19" fmla="*/ 211 h 903"/>
                <a:gd name="T20" fmla="*/ 140 w 880"/>
                <a:gd name="T21" fmla="*/ 260 h 903"/>
                <a:gd name="T22" fmla="*/ 153 w 880"/>
                <a:gd name="T23" fmla="*/ 296 h 903"/>
                <a:gd name="T24" fmla="*/ 171 w 880"/>
                <a:gd name="T25" fmla="*/ 341 h 903"/>
                <a:gd name="T26" fmla="*/ 184 w 880"/>
                <a:gd name="T27" fmla="*/ 372 h 903"/>
                <a:gd name="T28" fmla="*/ 186 w 880"/>
                <a:gd name="T29" fmla="*/ 426 h 903"/>
                <a:gd name="T30" fmla="*/ 216 w 880"/>
                <a:gd name="T31" fmla="*/ 456 h 903"/>
                <a:gd name="T32" fmla="*/ 186 w 880"/>
                <a:gd name="T33" fmla="*/ 469 h 903"/>
                <a:gd name="T34" fmla="*/ 176 w 880"/>
                <a:gd name="T35" fmla="*/ 500 h 903"/>
                <a:gd name="T36" fmla="*/ 179 w 880"/>
                <a:gd name="T37" fmla="*/ 569 h 903"/>
                <a:gd name="T38" fmla="*/ 168 w 880"/>
                <a:gd name="T39" fmla="*/ 643 h 903"/>
                <a:gd name="T40" fmla="*/ 179 w 880"/>
                <a:gd name="T41" fmla="*/ 711 h 903"/>
                <a:gd name="T42" fmla="*/ 201 w 880"/>
                <a:gd name="T43" fmla="*/ 724 h 903"/>
                <a:gd name="T44" fmla="*/ 158 w 880"/>
                <a:gd name="T45" fmla="*/ 734 h 903"/>
                <a:gd name="T46" fmla="*/ 184 w 880"/>
                <a:gd name="T47" fmla="*/ 773 h 903"/>
                <a:gd name="T48" fmla="*/ 209 w 880"/>
                <a:gd name="T49" fmla="*/ 801 h 903"/>
                <a:gd name="T50" fmla="*/ 250 w 880"/>
                <a:gd name="T51" fmla="*/ 844 h 903"/>
                <a:gd name="T52" fmla="*/ 247 w 880"/>
                <a:gd name="T53" fmla="*/ 862 h 903"/>
                <a:gd name="T54" fmla="*/ 273 w 880"/>
                <a:gd name="T55" fmla="*/ 880 h 903"/>
                <a:gd name="T56" fmla="*/ 375 w 880"/>
                <a:gd name="T57" fmla="*/ 898 h 903"/>
                <a:gd name="T58" fmla="*/ 431 w 880"/>
                <a:gd name="T59" fmla="*/ 864 h 903"/>
                <a:gd name="T60" fmla="*/ 472 w 880"/>
                <a:gd name="T61" fmla="*/ 867 h 903"/>
                <a:gd name="T62" fmla="*/ 528 w 880"/>
                <a:gd name="T63" fmla="*/ 862 h 903"/>
                <a:gd name="T64" fmla="*/ 584 w 880"/>
                <a:gd name="T65" fmla="*/ 831 h 903"/>
                <a:gd name="T66" fmla="*/ 602 w 880"/>
                <a:gd name="T67" fmla="*/ 811 h 903"/>
                <a:gd name="T68" fmla="*/ 633 w 880"/>
                <a:gd name="T69" fmla="*/ 836 h 903"/>
                <a:gd name="T70" fmla="*/ 694 w 880"/>
                <a:gd name="T71" fmla="*/ 847 h 903"/>
                <a:gd name="T72" fmla="*/ 750 w 880"/>
                <a:gd name="T73" fmla="*/ 829 h 903"/>
                <a:gd name="T74" fmla="*/ 794 w 880"/>
                <a:gd name="T75" fmla="*/ 788 h 903"/>
                <a:gd name="T76" fmla="*/ 861 w 880"/>
                <a:gd name="T77" fmla="*/ 767 h 903"/>
                <a:gd name="T78" fmla="*/ 875 w 880"/>
                <a:gd name="T79" fmla="*/ 755 h 903"/>
                <a:gd name="T80" fmla="*/ 849 w 880"/>
                <a:gd name="T81" fmla="*/ 739 h 903"/>
                <a:gd name="T82" fmla="*/ 768 w 880"/>
                <a:gd name="T83" fmla="*/ 681 h 903"/>
                <a:gd name="T84" fmla="*/ 674 w 880"/>
                <a:gd name="T85" fmla="*/ 653 h 903"/>
                <a:gd name="T86" fmla="*/ 635 w 880"/>
                <a:gd name="T87" fmla="*/ 640 h 903"/>
                <a:gd name="T88" fmla="*/ 510 w 880"/>
                <a:gd name="T89" fmla="*/ 576 h 903"/>
                <a:gd name="T90" fmla="*/ 464 w 880"/>
                <a:gd name="T91" fmla="*/ 541 h 903"/>
                <a:gd name="T92" fmla="*/ 362 w 880"/>
                <a:gd name="T93" fmla="*/ 476 h 903"/>
                <a:gd name="T94" fmla="*/ 301 w 880"/>
                <a:gd name="T95" fmla="*/ 449 h 903"/>
                <a:gd name="T96" fmla="*/ 250 w 880"/>
                <a:gd name="T97" fmla="*/ 374 h 903"/>
                <a:gd name="T98" fmla="*/ 281 w 880"/>
                <a:gd name="T99" fmla="*/ 341 h 903"/>
                <a:gd name="T100" fmla="*/ 291 w 880"/>
                <a:gd name="T101" fmla="*/ 293 h 903"/>
                <a:gd name="T102" fmla="*/ 288 w 880"/>
                <a:gd name="T103" fmla="*/ 234 h 903"/>
                <a:gd name="T104" fmla="*/ 260 w 880"/>
                <a:gd name="T105" fmla="*/ 183 h 903"/>
                <a:gd name="T106" fmla="*/ 240 w 880"/>
                <a:gd name="T107" fmla="*/ 91 h 903"/>
                <a:gd name="T108" fmla="*/ 203 w 880"/>
                <a:gd name="T109" fmla="*/ 52 h 903"/>
                <a:gd name="T110" fmla="*/ 96 w 880"/>
                <a:gd name="T111" fmla="*/ 0 h 90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880"/>
                <a:gd name="T169" fmla="*/ 0 h 903"/>
                <a:gd name="T170" fmla="*/ 880 w 880"/>
                <a:gd name="T171" fmla="*/ 903 h 90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880" h="903">
                  <a:moveTo>
                    <a:pt x="96" y="0"/>
                  </a:moveTo>
                  <a:lnTo>
                    <a:pt x="64" y="29"/>
                  </a:lnTo>
                  <a:lnTo>
                    <a:pt x="20" y="31"/>
                  </a:lnTo>
                  <a:lnTo>
                    <a:pt x="5" y="47"/>
                  </a:lnTo>
                  <a:lnTo>
                    <a:pt x="1" y="47"/>
                  </a:lnTo>
                  <a:lnTo>
                    <a:pt x="0" y="79"/>
                  </a:lnTo>
                  <a:lnTo>
                    <a:pt x="15" y="104"/>
                  </a:lnTo>
                  <a:lnTo>
                    <a:pt x="10" y="119"/>
                  </a:lnTo>
                  <a:lnTo>
                    <a:pt x="5" y="137"/>
                  </a:lnTo>
                  <a:lnTo>
                    <a:pt x="7" y="147"/>
                  </a:lnTo>
                  <a:lnTo>
                    <a:pt x="20" y="137"/>
                  </a:lnTo>
                  <a:lnTo>
                    <a:pt x="33" y="114"/>
                  </a:lnTo>
                  <a:lnTo>
                    <a:pt x="59" y="112"/>
                  </a:lnTo>
                  <a:lnTo>
                    <a:pt x="102" y="99"/>
                  </a:lnTo>
                  <a:lnTo>
                    <a:pt x="125" y="117"/>
                  </a:lnTo>
                  <a:lnTo>
                    <a:pt x="135" y="137"/>
                  </a:lnTo>
                  <a:lnTo>
                    <a:pt x="143" y="160"/>
                  </a:lnTo>
                  <a:lnTo>
                    <a:pt x="143" y="183"/>
                  </a:lnTo>
                  <a:lnTo>
                    <a:pt x="155" y="194"/>
                  </a:lnTo>
                  <a:lnTo>
                    <a:pt x="155" y="211"/>
                  </a:lnTo>
                  <a:lnTo>
                    <a:pt x="143" y="226"/>
                  </a:lnTo>
                  <a:lnTo>
                    <a:pt x="140" y="260"/>
                  </a:lnTo>
                  <a:lnTo>
                    <a:pt x="150" y="275"/>
                  </a:lnTo>
                  <a:lnTo>
                    <a:pt x="153" y="296"/>
                  </a:lnTo>
                  <a:lnTo>
                    <a:pt x="155" y="329"/>
                  </a:lnTo>
                  <a:lnTo>
                    <a:pt x="171" y="341"/>
                  </a:lnTo>
                  <a:lnTo>
                    <a:pt x="194" y="351"/>
                  </a:lnTo>
                  <a:lnTo>
                    <a:pt x="184" y="372"/>
                  </a:lnTo>
                  <a:lnTo>
                    <a:pt x="211" y="398"/>
                  </a:lnTo>
                  <a:lnTo>
                    <a:pt x="186" y="426"/>
                  </a:lnTo>
                  <a:lnTo>
                    <a:pt x="191" y="444"/>
                  </a:lnTo>
                  <a:lnTo>
                    <a:pt x="216" y="456"/>
                  </a:lnTo>
                  <a:lnTo>
                    <a:pt x="216" y="469"/>
                  </a:lnTo>
                  <a:lnTo>
                    <a:pt x="186" y="469"/>
                  </a:lnTo>
                  <a:lnTo>
                    <a:pt x="173" y="487"/>
                  </a:lnTo>
                  <a:lnTo>
                    <a:pt x="176" y="500"/>
                  </a:lnTo>
                  <a:lnTo>
                    <a:pt x="196" y="520"/>
                  </a:lnTo>
                  <a:lnTo>
                    <a:pt x="179" y="569"/>
                  </a:lnTo>
                  <a:lnTo>
                    <a:pt x="158" y="614"/>
                  </a:lnTo>
                  <a:lnTo>
                    <a:pt x="168" y="643"/>
                  </a:lnTo>
                  <a:lnTo>
                    <a:pt x="168" y="689"/>
                  </a:lnTo>
                  <a:lnTo>
                    <a:pt x="179" y="711"/>
                  </a:lnTo>
                  <a:lnTo>
                    <a:pt x="194" y="711"/>
                  </a:lnTo>
                  <a:lnTo>
                    <a:pt x="201" y="724"/>
                  </a:lnTo>
                  <a:lnTo>
                    <a:pt x="179" y="724"/>
                  </a:lnTo>
                  <a:lnTo>
                    <a:pt x="158" y="734"/>
                  </a:lnTo>
                  <a:lnTo>
                    <a:pt x="158" y="750"/>
                  </a:lnTo>
                  <a:lnTo>
                    <a:pt x="184" y="773"/>
                  </a:lnTo>
                  <a:lnTo>
                    <a:pt x="184" y="809"/>
                  </a:lnTo>
                  <a:lnTo>
                    <a:pt x="209" y="801"/>
                  </a:lnTo>
                  <a:lnTo>
                    <a:pt x="247" y="803"/>
                  </a:lnTo>
                  <a:lnTo>
                    <a:pt x="250" y="844"/>
                  </a:lnTo>
                  <a:lnTo>
                    <a:pt x="265" y="849"/>
                  </a:lnTo>
                  <a:lnTo>
                    <a:pt x="247" y="862"/>
                  </a:lnTo>
                  <a:lnTo>
                    <a:pt x="245" y="875"/>
                  </a:lnTo>
                  <a:lnTo>
                    <a:pt x="273" y="880"/>
                  </a:lnTo>
                  <a:lnTo>
                    <a:pt x="291" y="903"/>
                  </a:lnTo>
                  <a:lnTo>
                    <a:pt x="375" y="898"/>
                  </a:lnTo>
                  <a:lnTo>
                    <a:pt x="393" y="864"/>
                  </a:lnTo>
                  <a:lnTo>
                    <a:pt x="431" y="864"/>
                  </a:lnTo>
                  <a:lnTo>
                    <a:pt x="446" y="852"/>
                  </a:lnTo>
                  <a:lnTo>
                    <a:pt x="472" y="867"/>
                  </a:lnTo>
                  <a:lnTo>
                    <a:pt x="495" y="859"/>
                  </a:lnTo>
                  <a:lnTo>
                    <a:pt x="528" y="862"/>
                  </a:lnTo>
                  <a:lnTo>
                    <a:pt x="556" y="852"/>
                  </a:lnTo>
                  <a:lnTo>
                    <a:pt x="584" y="831"/>
                  </a:lnTo>
                  <a:lnTo>
                    <a:pt x="599" y="847"/>
                  </a:lnTo>
                  <a:lnTo>
                    <a:pt x="602" y="811"/>
                  </a:lnTo>
                  <a:lnTo>
                    <a:pt x="622" y="803"/>
                  </a:lnTo>
                  <a:lnTo>
                    <a:pt x="633" y="836"/>
                  </a:lnTo>
                  <a:lnTo>
                    <a:pt x="663" y="839"/>
                  </a:lnTo>
                  <a:lnTo>
                    <a:pt x="694" y="847"/>
                  </a:lnTo>
                  <a:lnTo>
                    <a:pt x="706" y="849"/>
                  </a:lnTo>
                  <a:lnTo>
                    <a:pt x="750" y="829"/>
                  </a:lnTo>
                  <a:lnTo>
                    <a:pt x="773" y="814"/>
                  </a:lnTo>
                  <a:lnTo>
                    <a:pt x="794" y="788"/>
                  </a:lnTo>
                  <a:lnTo>
                    <a:pt x="834" y="773"/>
                  </a:lnTo>
                  <a:lnTo>
                    <a:pt x="861" y="767"/>
                  </a:lnTo>
                  <a:lnTo>
                    <a:pt x="846" y="752"/>
                  </a:lnTo>
                  <a:lnTo>
                    <a:pt x="875" y="755"/>
                  </a:lnTo>
                  <a:lnTo>
                    <a:pt x="880" y="749"/>
                  </a:lnTo>
                  <a:lnTo>
                    <a:pt x="849" y="739"/>
                  </a:lnTo>
                  <a:lnTo>
                    <a:pt x="806" y="709"/>
                  </a:lnTo>
                  <a:lnTo>
                    <a:pt x="768" y="681"/>
                  </a:lnTo>
                  <a:lnTo>
                    <a:pt x="722" y="681"/>
                  </a:lnTo>
                  <a:lnTo>
                    <a:pt x="674" y="653"/>
                  </a:lnTo>
                  <a:lnTo>
                    <a:pt x="635" y="650"/>
                  </a:lnTo>
                  <a:lnTo>
                    <a:pt x="635" y="640"/>
                  </a:lnTo>
                  <a:lnTo>
                    <a:pt x="576" y="604"/>
                  </a:lnTo>
                  <a:lnTo>
                    <a:pt x="510" y="576"/>
                  </a:lnTo>
                  <a:lnTo>
                    <a:pt x="477" y="576"/>
                  </a:lnTo>
                  <a:lnTo>
                    <a:pt x="464" y="541"/>
                  </a:lnTo>
                  <a:lnTo>
                    <a:pt x="413" y="476"/>
                  </a:lnTo>
                  <a:lnTo>
                    <a:pt x="362" y="476"/>
                  </a:lnTo>
                  <a:lnTo>
                    <a:pt x="342" y="449"/>
                  </a:lnTo>
                  <a:lnTo>
                    <a:pt x="301" y="449"/>
                  </a:lnTo>
                  <a:lnTo>
                    <a:pt x="304" y="408"/>
                  </a:lnTo>
                  <a:lnTo>
                    <a:pt x="250" y="374"/>
                  </a:lnTo>
                  <a:lnTo>
                    <a:pt x="252" y="341"/>
                  </a:lnTo>
                  <a:lnTo>
                    <a:pt x="281" y="341"/>
                  </a:lnTo>
                  <a:lnTo>
                    <a:pt x="281" y="313"/>
                  </a:lnTo>
                  <a:lnTo>
                    <a:pt x="291" y="293"/>
                  </a:lnTo>
                  <a:lnTo>
                    <a:pt x="268" y="270"/>
                  </a:lnTo>
                  <a:lnTo>
                    <a:pt x="288" y="234"/>
                  </a:lnTo>
                  <a:lnTo>
                    <a:pt x="273" y="194"/>
                  </a:lnTo>
                  <a:lnTo>
                    <a:pt x="260" y="183"/>
                  </a:lnTo>
                  <a:lnTo>
                    <a:pt x="227" y="112"/>
                  </a:lnTo>
                  <a:lnTo>
                    <a:pt x="240" y="91"/>
                  </a:lnTo>
                  <a:cubicBezTo>
                    <a:pt x="240" y="91"/>
                    <a:pt x="244" y="58"/>
                    <a:pt x="238" y="52"/>
                  </a:cubicBezTo>
                  <a:lnTo>
                    <a:pt x="203" y="52"/>
                  </a:lnTo>
                  <a:lnTo>
                    <a:pt x="156" y="0"/>
                  </a:lnTo>
                  <a:lnTo>
                    <a:pt x="96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54</a:t>
              </a:r>
            </a:p>
          </p:txBody>
        </p:sp>
        <p:sp>
          <p:nvSpPr>
            <p:cNvPr id="188" name="FR-77">
              <a:extLst>
                <a:ext uri="{FF2B5EF4-FFF2-40B4-BE49-F238E27FC236}">
                  <a16:creationId xmlns:a16="http://schemas.microsoft.com/office/drawing/2014/main" id="{373B74BA-BEFA-4D3B-BD29-E7D27B38C44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541404" y="1419334"/>
              <a:ext cx="546999" cy="723396"/>
            </a:xfrm>
            <a:custGeom>
              <a:avLst/>
              <a:gdLst>
                <a:gd name="T0" fmla="*/ 326 w 563"/>
                <a:gd name="T1" fmla="*/ 8 h 764"/>
                <a:gd name="T2" fmla="*/ 275 w 563"/>
                <a:gd name="T3" fmla="*/ 21 h 764"/>
                <a:gd name="T4" fmla="*/ 194 w 563"/>
                <a:gd name="T5" fmla="*/ 19 h 764"/>
                <a:gd name="T6" fmla="*/ 155 w 563"/>
                <a:gd name="T7" fmla="*/ 42 h 764"/>
                <a:gd name="T8" fmla="*/ 113 w 563"/>
                <a:gd name="T9" fmla="*/ 14 h 764"/>
                <a:gd name="T10" fmla="*/ 80 w 563"/>
                <a:gd name="T11" fmla="*/ 33 h 764"/>
                <a:gd name="T12" fmla="*/ 85 w 563"/>
                <a:gd name="T13" fmla="*/ 197 h 764"/>
                <a:gd name="T14" fmla="*/ 64 w 563"/>
                <a:gd name="T15" fmla="*/ 310 h 764"/>
                <a:gd name="T16" fmla="*/ 46 w 563"/>
                <a:gd name="T17" fmla="*/ 363 h 764"/>
                <a:gd name="T18" fmla="*/ 49 w 563"/>
                <a:gd name="T19" fmla="*/ 447 h 764"/>
                <a:gd name="T20" fmla="*/ 59 w 563"/>
                <a:gd name="T21" fmla="*/ 539 h 764"/>
                <a:gd name="T22" fmla="*/ 0 w 563"/>
                <a:gd name="T23" fmla="*/ 630 h 764"/>
                <a:gd name="T24" fmla="*/ 48 w 563"/>
                <a:gd name="T25" fmla="*/ 670 h 764"/>
                <a:gd name="T26" fmla="*/ 9 w 563"/>
                <a:gd name="T27" fmla="*/ 743 h 764"/>
                <a:gd name="T28" fmla="*/ 61 w 563"/>
                <a:gd name="T29" fmla="*/ 745 h 764"/>
                <a:gd name="T30" fmla="*/ 157 w 563"/>
                <a:gd name="T31" fmla="*/ 743 h 764"/>
                <a:gd name="T32" fmla="*/ 194 w 563"/>
                <a:gd name="T33" fmla="*/ 725 h 764"/>
                <a:gd name="T34" fmla="*/ 264 w 563"/>
                <a:gd name="T35" fmla="*/ 709 h 764"/>
                <a:gd name="T36" fmla="*/ 319 w 563"/>
                <a:gd name="T37" fmla="*/ 644 h 764"/>
                <a:gd name="T38" fmla="*/ 316 w 563"/>
                <a:gd name="T39" fmla="*/ 581 h 764"/>
                <a:gd name="T40" fmla="*/ 465 w 563"/>
                <a:gd name="T41" fmla="*/ 563 h 764"/>
                <a:gd name="T42" fmla="*/ 490 w 563"/>
                <a:gd name="T43" fmla="*/ 547 h 764"/>
                <a:gd name="T44" fmla="*/ 506 w 563"/>
                <a:gd name="T45" fmla="*/ 451 h 764"/>
                <a:gd name="T46" fmla="*/ 527 w 563"/>
                <a:gd name="T47" fmla="*/ 396 h 764"/>
                <a:gd name="T48" fmla="*/ 563 w 563"/>
                <a:gd name="T49" fmla="*/ 360 h 764"/>
                <a:gd name="T50" fmla="*/ 517 w 563"/>
                <a:gd name="T51" fmla="*/ 344 h 764"/>
                <a:gd name="T52" fmla="*/ 519 w 563"/>
                <a:gd name="T53" fmla="*/ 282 h 764"/>
                <a:gd name="T54" fmla="*/ 504 w 563"/>
                <a:gd name="T55" fmla="*/ 232 h 764"/>
                <a:gd name="T56" fmla="*/ 522 w 563"/>
                <a:gd name="T57" fmla="*/ 204 h 764"/>
                <a:gd name="T58" fmla="*/ 485 w 563"/>
                <a:gd name="T59" fmla="*/ 185 h 764"/>
                <a:gd name="T60" fmla="*/ 449 w 563"/>
                <a:gd name="T61" fmla="*/ 146 h 764"/>
                <a:gd name="T62" fmla="*/ 371 w 563"/>
                <a:gd name="T63" fmla="*/ 21 h 76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563"/>
                <a:gd name="T97" fmla="*/ 0 h 764"/>
                <a:gd name="T98" fmla="*/ 563 w 563"/>
                <a:gd name="T99" fmla="*/ 764 h 76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563" h="764">
                  <a:moveTo>
                    <a:pt x="342" y="0"/>
                  </a:moveTo>
                  <a:lnTo>
                    <a:pt x="326" y="8"/>
                  </a:lnTo>
                  <a:lnTo>
                    <a:pt x="300" y="29"/>
                  </a:lnTo>
                  <a:lnTo>
                    <a:pt x="275" y="21"/>
                  </a:lnTo>
                  <a:lnTo>
                    <a:pt x="230" y="40"/>
                  </a:lnTo>
                  <a:lnTo>
                    <a:pt x="194" y="19"/>
                  </a:lnTo>
                  <a:lnTo>
                    <a:pt x="178" y="40"/>
                  </a:lnTo>
                  <a:lnTo>
                    <a:pt x="155" y="42"/>
                  </a:lnTo>
                  <a:lnTo>
                    <a:pt x="139" y="29"/>
                  </a:lnTo>
                  <a:lnTo>
                    <a:pt x="113" y="14"/>
                  </a:lnTo>
                  <a:lnTo>
                    <a:pt x="82" y="35"/>
                  </a:lnTo>
                  <a:lnTo>
                    <a:pt x="80" y="33"/>
                  </a:lnTo>
                  <a:lnTo>
                    <a:pt x="69" y="105"/>
                  </a:lnTo>
                  <a:lnTo>
                    <a:pt x="85" y="197"/>
                  </a:lnTo>
                  <a:lnTo>
                    <a:pt x="85" y="258"/>
                  </a:lnTo>
                  <a:lnTo>
                    <a:pt x="64" y="310"/>
                  </a:lnTo>
                  <a:lnTo>
                    <a:pt x="69" y="345"/>
                  </a:lnTo>
                  <a:lnTo>
                    <a:pt x="46" y="363"/>
                  </a:lnTo>
                  <a:lnTo>
                    <a:pt x="59" y="432"/>
                  </a:lnTo>
                  <a:lnTo>
                    <a:pt x="49" y="447"/>
                  </a:lnTo>
                  <a:lnTo>
                    <a:pt x="41" y="516"/>
                  </a:lnTo>
                  <a:lnTo>
                    <a:pt x="59" y="539"/>
                  </a:lnTo>
                  <a:lnTo>
                    <a:pt x="0" y="577"/>
                  </a:lnTo>
                  <a:lnTo>
                    <a:pt x="0" y="630"/>
                  </a:lnTo>
                  <a:lnTo>
                    <a:pt x="17" y="654"/>
                  </a:lnTo>
                  <a:lnTo>
                    <a:pt x="48" y="670"/>
                  </a:lnTo>
                  <a:lnTo>
                    <a:pt x="50" y="714"/>
                  </a:lnTo>
                  <a:lnTo>
                    <a:pt x="9" y="743"/>
                  </a:lnTo>
                  <a:lnTo>
                    <a:pt x="32" y="764"/>
                  </a:lnTo>
                  <a:lnTo>
                    <a:pt x="61" y="745"/>
                  </a:lnTo>
                  <a:lnTo>
                    <a:pt x="131" y="748"/>
                  </a:lnTo>
                  <a:lnTo>
                    <a:pt x="157" y="743"/>
                  </a:lnTo>
                  <a:lnTo>
                    <a:pt x="165" y="722"/>
                  </a:lnTo>
                  <a:lnTo>
                    <a:pt x="194" y="725"/>
                  </a:lnTo>
                  <a:lnTo>
                    <a:pt x="199" y="745"/>
                  </a:lnTo>
                  <a:lnTo>
                    <a:pt x="264" y="709"/>
                  </a:lnTo>
                  <a:lnTo>
                    <a:pt x="287" y="680"/>
                  </a:lnTo>
                  <a:lnTo>
                    <a:pt x="319" y="644"/>
                  </a:lnTo>
                  <a:lnTo>
                    <a:pt x="298" y="620"/>
                  </a:lnTo>
                  <a:lnTo>
                    <a:pt x="316" y="581"/>
                  </a:lnTo>
                  <a:lnTo>
                    <a:pt x="363" y="558"/>
                  </a:lnTo>
                  <a:lnTo>
                    <a:pt x="465" y="563"/>
                  </a:lnTo>
                  <a:lnTo>
                    <a:pt x="488" y="545"/>
                  </a:lnTo>
                  <a:lnTo>
                    <a:pt x="490" y="547"/>
                  </a:lnTo>
                  <a:lnTo>
                    <a:pt x="496" y="503"/>
                  </a:lnTo>
                  <a:lnTo>
                    <a:pt x="506" y="451"/>
                  </a:lnTo>
                  <a:lnTo>
                    <a:pt x="525" y="427"/>
                  </a:lnTo>
                  <a:lnTo>
                    <a:pt x="527" y="396"/>
                  </a:lnTo>
                  <a:lnTo>
                    <a:pt x="563" y="381"/>
                  </a:lnTo>
                  <a:lnTo>
                    <a:pt x="563" y="360"/>
                  </a:lnTo>
                  <a:lnTo>
                    <a:pt x="525" y="362"/>
                  </a:lnTo>
                  <a:lnTo>
                    <a:pt x="517" y="344"/>
                  </a:lnTo>
                  <a:lnTo>
                    <a:pt x="530" y="321"/>
                  </a:lnTo>
                  <a:lnTo>
                    <a:pt x="519" y="282"/>
                  </a:lnTo>
                  <a:lnTo>
                    <a:pt x="498" y="269"/>
                  </a:lnTo>
                  <a:lnTo>
                    <a:pt x="504" y="232"/>
                  </a:lnTo>
                  <a:lnTo>
                    <a:pt x="525" y="219"/>
                  </a:lnTo>
                  <a:lnTo>
                    <a:pt x="522" y="204"/>
                  </a:lnTo>
                  <a:lnTo>
                    <a:pt x="529" y="195"/>
                  </a:lnTo>
                  <a:lnTo>
                    <a:pt x="485" y="185"/>
                  </a:lnTo>
                  <a:lnTo>
                    <a:pt x="472" y="154"/>
                  </a:lnTo>
                  <a:lnTo>
                    <a:pt x="449" y="146"/>
                  </a:lnTo>
                  <a:lnTo>
                    <a:pt x="379" y="79"/>
                  </a:lnTo>
                  <a:lnTo>
                    <a:pt x="371" y="21"/>
                  </a:lnTo>
                  <a:lnTo>
                    <a:pt x="342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77</a:t>
              </a:r>
            </a:p>
          </p:txBody>
        </p:sp>
        <p:sp>
          <p:nvSpPr>
            <p:cNvPr id="189" name="FR-68">
              <a:extLst>
                <a:ext uri="{FF2B5EF4-FFF2-40B4-BE49-F238E27FC236}">
                  <a16:creationId xmlns:a16="http://schemas.microsoft.com/office/drawing/2014/main" id="{43828AB3-D3A1-4CE1-B6BE-2011B9C4D05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734257" y="1924953"/>
              <a:ext cx="368228" cy="635339"/>
            </a:xfrm>
            <a:custGeom>
              <a:avLst/>
              <a:gdLst>
                <a:gd name="T0" fmla="*/ 193 w 379"/>
                <a:gd name="T1" fmla="*/ 0 h 671"/>
                <a:gd name="T2" fmla="*/ 154 w 379"/>
                <a:gd name="T3" fmla="*/ 2 h 671"/>
                <a:gd name="T4" fmla="*/ 129 w 379"/>
                <a:gd name="T5" fmla="*/ 58 h 671"/>
                <a:gd name="T6" fmla="*/ 98 w 379"/>
                <a:gd name="T7" fmla="*/ 120 h 671"/>
                <a:gd name="T8" fmla="*/ 106 w 379"/>
                <a:gd name="T9" fmla="*/ 159 h 671"/>
                <a:gd name="T10" fmla="*/ 80 w 379"/>
                <a:gd name="T11" fmla="*/ 219 h 671"/>
                <a:gd name="T12" fmla="*/ 35 w 379"/>
                <a:gd name="T13" fmla="*/ 258 h 671"/>
                <a:gd name="T14" fmla="*/ 33 w 379"/>
                <a:gd name="T15" fmla="*/ 360 h 671"/>
                <a:gd name="T16" fmla="*/ 0 w 379"/>
                <a:gd name="T17" fmla="*/ 388 h 671"/>
                <a:gd name="T18" fmla="*/ 2 w 379"/>
                <a:gd name="T19" fmla="*/ 388 h 671"/>
                <a:gd name="T20" fmla="*/ 12 w 379"/>
                <a:gd name="T21" fmla="*/ 409 h 671"/>
                <a:gd name="T22" fmla="*/ 54 w 379"/>
                <a:gd name="T23" fmla="*/ 412 h 671"/>
                <a:gd name="T24" fmla="*/ 101 w 379"/>
                <a:gd name="T25" fmla="*/ 448 h 671"/>
                <a:gd name="T26" fmla="*/ 108 w 379"/>
                <a:gd name="T27" fmla="*/ 466 h 671"/>
                <a:gd name="T28" fmla="*/ 106 w 379"/>
                <a:gd name="T29" fmla="*/ 498 h 671"/>
                <a:gd name="T30" fmla="*/ 93 w 379"/>
                <a:gd name="T31" fmla="*/ 521 h 671"/>
                <a:gd name="T32" fmla="*/ 98 w 379"/>
                <a:gd name="T33" fmla="*/ 553 h 671"/>
                <a:gd name="T34" fmla="*/ 135 w 379"/>
                <a:gd name="T35" fmla="*/ 547 h 671"/>
                <a:gd name="T36" fmla="*/ 143 w 379"/>
                <a:gd name="T37" fmla="*/ 576 h 671"/>
                <a:gd name="T38" fmla="*/ 155 w 379"/>
                <a:gd name="T39" fmla="*/ 631 h 671"/>
                <a:gd name="T40" fmla="*/ 186 w 379"/>
                <a:gd name="T41" fmla="*/ 626 h 671"/>
                <a:gd name="T42" fmla="*/ 181 w 379"/>
                <a:gd name="T43" fmla="*/ 655 h 671"/>
                <a:gd name="T44" fmla="*/ 199 w 379"/>
                <a:gd name="T45" fmla="*/ 671 h 671"/>
                <a:gd name="T46" fmla="*/ 295 w 379"/>
                <a:gd name="T47" fmla="*/ 668 h 671"/>
                <a:gd name="T48" fmla="*/ 345 w 379"/>
                <a:gd name="T49" fmla="*/ 629 h 671"/>
                <a:gd name="T50" fmla="*/ 348 w 379"/>
                <a:gd name="T51" fmla="*/ 571 h 671"/>
                <a:gd name="T52" fmla="*/ 374 w 379"/>
                <a:gd name="T53" fmla="*/ 538 h 671"/>
                <a:gd name="T54" fmla="*/ 340 w 379"/>
                <a:gd name="T55" fmla="*/ 498 h 671"/>
                <a:gd name="T56" fmla="*/ 322 w 379"/>
                <a:gd name="T57" fmla="*/ 457 h 671"/>
                <a:gd name="T58" fmla="*/ 343 w 379"/>
                <a:gd name="T59" fmla="*/ 428 h 671"/>
                <a:gd name="T60" fmla="*/ 343 w 379"/>
                <a:gd name="T61" fmla="*/ 363 h 671"/>
                <a:gd name="T62" fmla="*/ 355 w 379"/>
                <a:gd name="T63" fmla="*/ 332 h 671"/>
                <a:gd name="T64" fmla="*/ 355 w 379"/>
                <a:gd name="T65" fmla="*/ 280 h 671"/>
                <a:gd name="T66" fmla="*/ 379 w 379"/>
                <a:gd name="T67" fmla="*/ 246 h 671"/>
                <a:gd name="T68" fmla="*/ 353 w 379"/>
                <a:gd name="T69" fmla="*/ 210 h 671"/>
                <a:gd name="T70" fmla="*/ 350 w 379"/>
                <a:gd name="T71" fmla="*/ 135 h 671"/>
                <a:gd name="T72" fmla="*/ 310 w 379"/>
                <a:gd name="T73" fmla="*/ 117 h 671"/>
                <a:gd name="T74" fmla="*/ 288 w 379"/>
                <a:gd name="T75" fmla="*/ 51 h 671"/>
                <a:gd name="T76" fmla="*/ 236 w 379"/>
                <a:gd name="T77" fmla="*/ 53 h 671"/>
                <a:gd name="T78" fmla="*/ 216 w 379"/>
                <a:gd name="T79" fmla="*/ 28 h 671"/>
                <a:gd name="T80" fmla="*/ 193 w 379"/>
                <a:gd name="T81" fmla="*/ 0 h 67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79"/>
                <a:gd name="T124" fmla="*/ 0 h 671"/>
                <a:gd name="T125" fmla="*/ 379 w 379"/>
                <a:gd name="T126" fmla="*/ 671 h 671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79" h="671">
                  <a:moveTo>
                    <a:pt x="193" y="0"/>
                  </a:moveTo>
                  <a:lnTo>
                    <a:pt x="154" y="2"/>
                  </a:lnTo>
                  <a:lnTo>
                    <a:pt x="129" y="58"/>
                  </a:lnTo>
                  <a:lnTo>
                    <a:pt x="98" y="120"/>
                  </a:lnTo>
                  <a:lnTo>
                    <a:pt x="106" y="159"/>
                  </a:lnTo>
                  <a:lnTo>
                    <a:pt x="80" y="219"/>
                  </a:lnTo>
                  <a:lnTo>
                    <a:pt x="35" y="258"/>
                  </a:lnTo>
                  <a:lnTo>
                    <a:pt x="33" y="360"/>
                  </a:lnTo>
                  <a:lnTo>
                    <a:pt x="0" y="388"/>
                  </a:lnTo>
                  <a:lnTo>
                    <a:pt x="2" y="388"/>
                  </a:lnTo>
                  <a:lnTo>
                    <a:pt x="12" y="409"/>
                  </a:lnTo>
                  <a:lnTo>
                    <a:pt x="54" y="412"/>
                  </a:lnTo>
                  <a:lnTo>
                    <a:pt x="101" y="448"/>
                  </a:lnTo>
                  <a:lnTo>
                    <a:pt x="108" y="466"/>
                  </a:lnTo>
                  <a:lnTo>
                    <a:pt x="106" y="498"/>
                  </a:lnTo>
                  <a:lnTo>
                    <a:pt x="93" y="521"/>
                  </a:lnTo>
                  <a:lnTo>
                    <a:pt x="98" y="553"/>
                  </a:lnTo>
                  <a:lnTo>
                    <a:pt x="135" y="547"/>
                  </a:lnTo>
                  <a:lnTo>
                    <a:pt x="143" y="576"/>
                  </a:lnTo>
                  <a:lnTo>
                    <a:pt x="155" y="631"/>
                  </a:lnTo>
                  <a:lnTo>
                    <a:pt x="186" y="626"/>
                  </a:lnTo>
                  <a:lnTo>
                    <a:pt x="181" y="655"/>
                  </a:lnTo>
                  <a:lnTo>
                    <a:pt x="199" y="671"/>
                  </a:lnTo>
                  <a:lnTo>
                    <a:pt x="295" y="668"/>
                  </a:lnTo>
                  <a:lnTo>
                    <a:pt x="345" y="629"/>
                  </a:lnTo>
                  <a:lnTo>
                    <a:pt x="348" y="571"/>
                  </a:lnTo>
                  <a:lnTo>
                    <a:pt x="374" y="538"/>
                  </a:lnTo>
                  <a:lnTo>
                    <a:pt x="340" y="498"/>
                  </a:lnTo>
                  <a:lnTo>
                    <a:pt x="322" y="457"/>
                  </a:lnTo>
                  <a:lnTo>
                    <a:pt x="343" y="428"/>
                  </a:lnTo>
                  <a:lnTo>
                    <a:pt x="343" y="363"/>
                  </a:lnTo>
                  <a:lnTo>
                    <a:pt x="355" y="332"/>
                  </a:lnTo>
                  <a:lnTo>
                    <a:pt x="355" y="280"/>
                  </a:lnTo>
                  <a:lnTo>
                    <a:pt x="379" y="246"/>
                  </a:lnTo>
                  <a:lnTo>
                    <a:pt x="353" y="210"/>
                  </a:lnTo>
                  <a:lnTo>
                    <a:pt x="350" y="135"/>
                  </a:lnTo>
                  <a:lnTo>
                    <a:pt x="310" y="117"/>
                  </a:lnTo>
                  <a:lnTo>
                    <a:pt x="288" y="51"/>
                  </a:lnTo>
                  <a:lnTo>
                    <a:pt x="236" y="53"/>
                  </a:lnTo>
                  <a:lnTo>
                    <a:pt x="216" y="28"/>
                  </a:lnTo>
                  <a:lnTo>
                    <a:pt x="193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68</a:t>
              </a:r>
            </a:p>
          </p:txBody>
        </p:sp>
        <p:sp>
          <p:nvSpPr>
            <p:cNvPr id="190" name="FR-55">
              <a:extLst>
                <a:ext uri="{FF2B5EF4-FFF2-40B4-BE49-F238E27FC236}">
                  <a16:creationId xmlns:a16="http://schemas.microsoft.com/office/drawing/2014/main" id="{407D67F2-D43D-4235-BD11-59A3AE6AEF4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746162" y="1041539"/>
              <a:ext cx="463443" cy="859743"/>
            </a:xfrm>
            <a:custGeom>
              <a:avLst/>
              <a:gdLst>
                <a:gd name="T0" fmla="*/ 185 w 477"/>
                <a:gd name="T1" fmla="*/ 30 h 908"/>
                <a:gd name="T2" fmla="*/ 144 w 477"/>
                <a:gd name="T3" fmla="*/ 27 h 908"/>
                <a:gd name="T4" fmla="*/ 97 w 477"/>
                <a:gd name="T5" fmla="*/ 17 h 908"/>
                <a:gd name="T6" fmla="*/ 60 w 477"/>
                <a:gd name="T7" fmla="*/ 84 h 908"/>
                <a:gd name="T8" fmla="*/ 81 w 477"/>
                <a:gd name="T9" fmla="*/ 176 h 908"/>
                <a:gd name="T10" fmla="*/ 55 w 477"/>
                <a:gd name="T11" fmla="*/ 217 h 908"/>
                <a:gd name="T12" fmla="*/ 50 w 477"/>
                <a:gd name="T13" fmla="*/ 259 h 908"/>
                <a:gd name="T14" fmla="*/ 24 w 477"/>
                <a:gd name="T15" fmla="*/ 303 h 908"/>
                <a:gd name="T16" fmla="*/ 14 w 477"/>
                <a:gd name="T17" fmla="*/ 326 h 908"/>
                <a:gd name="T18" fmla="*/ 50 w 477"/>
                <a:gd name="T19" fmla="*/ 423 h 908"/>
                <a:gd name="T20" fmla="*/ 68 w 477"/>
                <a:gd name="T21" fmla="*/ 446 h 908"/>
                <a:gd name="T22" fmla="*/ 19 w 477"/>
                <a:gd name="T23" fmla="*/ 524 h 908"/>
                <a:gd name="T24" fmla="*/ 19 w 477"/>
                <a:gd name="T25" fmla="*/ 576 h 908"/>
                <a:gd name="T26" fmla="*/ 6 w 477"/>
                <a:gd name="T27" fmla="*/ 629 h 908"/>
                <a:gd name="T28" fmla="*/ 58 w 477"/>
                <a:gd name="T29" fmla="*/ 759 h 908"/>
                <a:gd name="T30" fmla="*/ 146 w 477"/>
                <a:gd name="T31" fmla="*/ 803 h 908"/>
                <a:gd name="T32" fmla="*/ 232 w 477"/>
                <a:gd name="T33" fmla="*/ 842 h 908"/>
                <a:gd name="T34" fmla="*/ 281 w 477"/>
                <a:gd name="T35" fmla="*/ 908 h 908"/>
                <a:gd name="T36" fmla="*/ 327 w 477"/>
                <a:gd name="T37" fmla="*/ 879 h 908"/>
                <a:gd name="T38" fmla="*/ 378 w 477"/>
                <a:gd name="T39" fmla="*/ 851 h 908"/>
                <a:gd name="T40" fmla="*/ 391 w 477"/>
                <a:gd name="T41" fmla="*/ 866 h 908"/>
                <a:gd name="T42" fmla="*/ 447 w 477"/>
                <a:gd name="T43" fmla="*/ 833 h 908"/>
                <a:gd name="T44" fmla="*/ 445 w 477"/>
                <a:gd name="T45" fmla="*/ 798 h 908"/>
                <a:gd name="T46" fmla="*/ 419 w 477"/>
                <a:gd name="T47" fmla="*/ 759 h 908"/>
                <a:gd name="T48" fmla="*/ 462 w 477"/>
                <a:gd name="T49" fmla="*/ 749 h 908"/>
                <a:gd name="T50" fmla="*/ 440 w 477"/>
                <a:gd name="T51" fmla="*/ 736 h 908"/>
                <a:gd name="T52" fmla="*/ 429 w 477"/>
                <a:gd name="T53" fmla="*/ 668 h 908"/>
                <a:gd name="T54" fmla="*/ 440 w 477"/>
                <a:gd name="T55" fmla="*/ 594 h 908"/>
                <a:gd name="T56" fmla="*/ 437 w 477"/>
                <a:gd name="T57" fmla="*/ 525 h 908"/>
                <a:gd name="T58" fmla="*/ 447 w 477"/>
                <a:gd name="T59" fmla="*/ 494 h 908"/>
                <a:gd name="T60" fmla="*/ 477 w 477"/>
                <a:gd name="T61" fmla="*/ 481 h 908"/>
                <a:gd name="T62" fmla="*/ 447 w 477"/>
                <a:gd name="T63" fmla="*/ 451 h 908"/>
                <a:gd name="T64" fmla="*/ 445 w 477"/>
                <a:gd name="T65" fmla="*/ 397 h 908"/>
                <a:gd name="T66" fmla="*/ 432 w 477"/>
                <a:gd name="T67" fmla="*/ 366 h 908"/>
                <a:gd name="T68" fmla="*/ 414 w 477"/>
                <a:gd name="T69" fmla="*/ 321 h 908"/>
                <a:gd name="T70" fmla="*/ 401 w 477"/>
                <a:gd name="T71" fmla="*/ 285 h 908"/>
                <a:gd name="T72" fmla="*/ 416 w 477"/>
                <a:gd name="T73" fmla="*/ 236 h 908"/>
                <a:gd name="T74" fmla="*/ 404 w 477"/>
                <a:gd name="T75" fmla="*/ 208 h 908"/>
                <a:gd name="T76" fmla="*/ 396 w 477"/>
                <a:gd name="T77" fmla="*/ 162 h 908"/>
                <a:gd name="T78" fmla="*/ 363 w 477"/>
                <a:gd name="T79" fmla="*/ 124 h 908"/>
                <a:gd name="T80" fmla="*/ 294 w 477"/>
                <a:gd name="T81" fmla="*/ 139 h 908"/>
                <a:gd name="T82" fmla="*/ 268 w 477"/>
                <a:gd name="T83" fmla="*/ 172 h 908"/>
                <a:gd name="T84" fmla="*/ 271 w 477"/>
                <a:gd name="T85" fmla="*/ 144 h 908"/>
                <a:gd name="T86" fmla="*/ 261 w 477"/>
                <a:gd name="T87" fmla="*/ 104 h 908"/>
                <a:gd name="T88" fmla="*/ 250 w 477"/>
                <a:gd name="T89" fmla="*/ 72 h 908"/>
                <a:gd name="T90" fmla="*/ 219 w 477"/>
                <a:gd name="T91" fmla="*/ 2 h 90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77"/>
                <a:gd name="T139" fmla="*/ 0 h 908"/>
                <a:gd name="T140" fmla="*/ 477 w 477"/>
                <a:gd name="T141" fmla="*/ 908 h 908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77" h="908">
                  <a:moveTo>
                    <a:pt x="204" y="0"/>
                  </a:moveTo>
                  <a:lnTo>
                    <a:pt x="185" y="30"/>
                  </a:lnTo>
                  <a:lnTo>
                    <a:pt x="162" y="45"/>
                  </a:lnTo>
                  <a:lnTo>
                    <a:pt x="144" y="27"/>
                  </a:lnTo>
                  <a:lnTo>
                    <a:pt x="105" y="27"/>
                  </a:lnTo>
                  <a:lnTo>
                    <a:pt x="97" y="17"/>
                  </a:lnTo>
                  <a:lnTo>
                    <a:pt x="71" y="66"/>
                  </a:lnTo>
                  <a:lnTo>
                    <a:pt x="60" y="84"/>
                  </a:lnTo>
                  <a:lnTo>
                    <a:pt x="92" y="124"/>
                  </a:lnTo>
                  <a:lnTo>
                    <a:pt x="81" y="176"/>
                  </a:lnTo>
                  <a:lnTo>
                    <a:pt x="52" y="199"/>
                  </a:lnTo>
                  <a:lnTo>
                    <a:pt x="55" y="217"/>
                  </a:lnTo>
                  <a:lnTo>
                    <a:pt x="65" y="243"/>
                  </a:lnTo>
                  <a:lnTo>
                    <a:pt x="50" y="259"/>
                  </a:lnTo>
                  <a:lnTo>
                    <a:pt x="19" y="274"/>
                  </a:lnTo>
                  <a:lnTo>
                    <a:pt x="24" y="303"/>
                  </a:lnTo>
                  <a:lnTo>
                    <a:pt x="37" y="306"/>
                  </a:lnTo>
                  <a:lnTo>
                    <a:pt x="14" y="326"/>
                  </a:lnTo>
                  <a:lnTo>
                    <a:pt x="32" y="366"/>
                  </a:lnTo>
                  <a:lnTo>
                    <a:pt x="50" y="423"/>
                  </a:lnTo>
                  <a:lnTo>
                    <a:pt x="27" y="449"/>
                  </a:lnTo>
                  <a:lnTo>
                    <a:pt x="68" y="446"/>
                  </a:lnTo>
                  <a:lnTo>
                    <a:pt x="47" y="511"/>
                  </a:lnTo>
                  <a:lnTo>
                    <a:pt x="19" y="524"/>
                  </a:lnTo>
                  <a:lnTo>
                    <a:pt x="3" y="564"/>
                  </a:lnTo>
                  <a:lnTo>
                    <a:pt x="19" y="576"/>
                  </a:lnTo>
                  <a:lnTo>
                    <a:pt x="0" y="608"/>
                  </a:lnTo>
                  <a:lnTo>
                    <a:pt x="6" y="629"/>
                  </a:lnTo>
                  <a:lnTo>
                    <a:pt x="55" y="668"/>
                  </a:lnTo>
                  <a:lnTo>
                    <a:pt x="58" y="759"/>
                  </a:lnTo>
                  <a:lnTo>
                    <a:pt x="112" y="767"/>
                  </a:lnTo>
                  <a:lnTo>
                    <a:pt x="146" y="803"/>
                  </a:lnTo>
                  <a:lnTo>
                    <a:pt x="209" y="834"/>
                  </a:lnTo>
                  <a:lnTo>
                    <a:pt x="232" y="842"/>
                  </a:lnTo>
                  <a:lnTo>
                    <a:pt x="287" y="902"/>
                  </a:lnTo>
                  <a:lnTo>
                    <a:pt x="281" y="908"/>
                  </a:lnTo>
                  <a:lnTo>
                    <a:pt x="327" y="902"/>
                  </a:lnTo>
                  <a:lnTo>
                    <a:pt x="327" y="879"/>
                  </a:lnTo>
                  <a:lnTo>
                    <a:pt x="378" y="869"/>
                  </a:lnTo>
                  <a:lnTo>
                    <a:pt x="378" y="851"/>
                  </a:lnTo>
                  <a:lnTo>
                    <a:pt x="391" y="851"/>
                  </a:lnTo>
                  <a:lnTo>
                    <a:pt x="391" y="866"/>
                  </a:lnTo>
                  <a:lnTo>
                    <a:pt x="432" y="854"/>
                  </a:lnTo>
                  <a:lnTo>
                    <a:pt x="447" y="833"/>
                  </a:lnTo>
                  <a:lnTo>
                    <a:pt x="445" y="834"/>
                  </a:lnTo>
                  <a:lnTo>
                    <a:pt x="445" y="798"/>
                  </a:lnTo>
                  <a:lnTo>
                    <a:pt x="419" y="775"/>
                  </a:lnTo>
                  <a:lnTo>
                    <a:pt x="419" y="759"/>
                  </a:lnTo>
                  <a:lnTo>
                    <a:pt x="440" y="749"/>
                  </a:lnTo>
                  <a:lnTo>
                    <a:pt x="462" y="749"/>
                  </a:lnTo>
                  <a:lnTo>
                    <a:pt x="455" y="736"/>
                  </a:lnTo>
                  <a:lnTo>
                    <a:pt x="440" y="736"/>
                  </a:lnTo>
                  <a:lnTo>
                    <a:pt x="429" y="714"/>
                  </a:lnTo>
                  <a:lnTo>
                    <a:pt x="429" y="668"/>
                  </a:lnTo>
                  <a:lnTo>
                    <a:pt x="419" y="639"/>
                  </a:lnTo>
                  <a:lnTo>
                    <a:pt x="440" y="594"/>
                  </a:lnTo>
                  <a:lnTo>
                    <a:pt x="457" y="545"/>
                  </a:lnTo>
                  <a:lnTo>
                    <a:pt x="437" y="525"/>
                  </a:lnTo>
                  <a:lnTo>
                    <a:pt x="434" y="512"/>
                  </a:lnTo>
                  <a:lnTo>
                    <a:pt x="447" y="494"/>
                  </a:lnTo>
                  <a:lnTo>
                    <a:pt x="477" y="494"/>
                  </a:lnTo>
                  <a:lnTo>
                    <a:pt x="477" y="481"/>
                  </a:lnTo>
                  <a:lnTo>
                    <a:pt x="452" y="469"/>
                  </a:lnTo>
                  <a:lnTo>
                    <a:pt x="447" y="451"/>
                  </a:lnTo>
                  <a:lnTo>
                    <a:pt x="472" y="423"/>
                  </a:lnTo>
                  <a:lnTo>
                    <a:pt x="445" y="397"/>
                  </a:lnTo>
                  <a:lnTo>
                    <a:pt x="455" y="376"/>
                  </a:lnTo>
                  <a:lnTo>
                    <a:pt x="432" y="366"/>
                  </a:lnTo>
                  <a:lnTo>
                    <a:pt x="416" y="354"/>
                  </a:lnTo>
                  <a:lnTo>
                    <a:pt x="414" y="321"/>
                  </a:lnTo>
                  <a:lnTo>
                    <a:pt x="411" y="300"/>
                  </a:lnTo>
                  <a:lnTo>
                    <a:pt x="401" y="285"/>
                  </a:lnTo>
                  <a:lnTo>
                    <a:pt x="404" y="251"/>
                  </a:lnTo>
                  <a:lnTo>
                    <a:pt x="416" y="236"/>
                  </a:lnTo>
                  <a:lnTo>
                    <a:pt x="416" y="219"/>
                  </a:lnTo>
                  <a:lnTo>
                    <a:pt x="404" y="208"/>
                  </a:lnTo>
                  <a:lnTo>
                    <a:pt x="404" y="185"/>
                  </a:lnTo>
                  <a:lnTo>
                    <a:pt x="396" y="162"/>
                  </a:lnTo>
                  <a:lnTo>
                    <a:pt x="386" y="142"/>
                  </a:lnTo>
                  <a:lnTo>
                    <a:pt x="363" y="124"/>
                  </a:lnTo>
                  <a:lnTo>
                    <a:pt x="320" y="137"/>
                  </a:lnTo>
                  <a:lnTo>
                    <a:pt x="294" y="139"/>
                  </a:lnTo>
                  <a:lnTo>
                    <a:pt x="281" y="162"/>
                  </a:lnTo>
                  <a:lnTo>
                    <a:pt x="268" y="172"/>
                  </a:lnTo>
                  <a:lnTo>
                    <a:pt x="266" y="162"/>
                  </a:lnTo>
                  <a:lnTo>
                    <a:pt x="271" y="144"/>
                  </a:lnTo>
                  <a:lnTo>
                    <a:pt x="276" y="129"/>
                  </a:lnTo>
                  <a:lnTo>
                    <a:pt x="261" y="104"/>
                  </a:lnTo>
                  <a:lnTo>
                    <a:pt x="262" y="72"/>
                  </a:lnTo>
                  <a:lnTo>
                    <a:pt x="250" y="72"/>
                  </a:lnTo>
                  <a:lnTo>
                    <a:pt x="240" y="23"/>
                  </a:lnTo>
                  <a:lnTo>
                    <a:pt x="219" y="2"/>
                  </a:lnTo>
                  <a:lnTo>
                    <a:pt x="204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55</a:t>
              </a:r>
            </a:p>
          </p:txBody>
        </p:sp>
        <p:sp>
          <p:nvSpPr>
            <p:cNvPr id="191" name="FR-57">
              <a:extLst>
                <a:ext uri="{FF2B5EF4-FFF2-40B4-BE49-F238E27FC236}">
                  <a16:creationId xmlns:a16="http://schemas.microsoft.com/office/drawing/2014/main" id="{839FF487-EF82-466F-8D44-5D814125454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220292" y="1089829"/>
              <a:ext cx="849160" cy="684575"/>
            </a:xfrm>
            <a:custGeom>
              <a:avLst/>
              <a:gdLst>
                <a:gd name="T0" fmla="*/ 116 w 874"/>
                <a:gd name="T1" fmla="*/ 3 h 723"/>
                <a:gd name="T2" fmla="*/ 77 w 874"/>
                <a:gd name="T3" fmla="*/ 42 h 723"/>
                <a:gd name="T4" fmla="*/ 17 w 874"/>
                <a:gd name="T5" fmla="*/ 26 h 723"/>
                <a:gd name="T6" fmla="*/ 13 w 874"/>
                <a:gd name="T7" fmla="*/ 65 h 723"/>
                <a:gd name="T8" fmla="*/ 33 w 874"/>
                <a:gd name="T9" fmla="*/ 157 h 723"/>
                <a:gd name="T10" fmla="*/ 61 w 874"/>
                <a:gd name="T11" fmla="*/ 208 h 723"/>
                <a:gd name="T12" fmla="*/ 64 w 874"/>
                <a:gd name="T13" fmla="*/ 267 h 723"/>
                <a:gd name="T14" fmla="*/ 54 w 874"/>
                <a:gd name="T15" fmla="*/ 315 h 723"/>
                <a:gd name="T16" fmla="*/ 23 w 874"/>
                <a:gd name="T17" fmla="*/ 348 h 723"/>
                <a:gd name="T18" fmla="*/ 74 w 874"/>
                <a:gd name="T19" fmla="*/ 423 h 723"/>
                <a:gd name="T20" fmla="*/ 135 w 874"/>
                <a:gd name="T21" fmla="*/ 450 h 723"/>
                <a:gd name="T22" fmla="*/ 237 w 874"/>
                <a:gd name="T23" fmla="*/ 515 h 723"/>
                <a:gd name="T24" fmla="*/ 283 w 874"/>
                <a:gd name="T25" fmla="*/ 550 h 723"/>
                <a:gd name="T26" fmla="*/ 408 w 874"/>
                <a:gd name="T27" fmla="*/ 614 h 723"/>
                <a:gd name="T28" fmla="*/ 447 w 874"/>
                <a:gd name="T29" fmla="*/ 627 h 723"/>
                <a:gd name="T30" fmla="*/ 541 w 874"/>
                <a:gd name="T31" fmla="*/ 655 h 723"/>
                <a:gd name="T32" fmla="*/ 622 w 874"/>
                <a:gd name="T33" fmla="*/ 713 h 723"/>
                <a:gd name="T34" fmla="*/ 700 w 874"/>
                <a:gd name="T35" fmla="*/ 677 h 723"/>
                <a:gd name="T36" fmla="*/ 695 w 874"/>
                <a:gd name="T37" fmla="*/ 601 h 723"/>
                <a:gd name="T38" fmla="*/ 723 w 874"/>
                <a:gd name="T39" fmla="*/ 525 h 723"/>
                <a:gd name="T40" fmla="*/ 609 w 874"/>
                <a:gd name="T41" fmla="*/ 515 h 723"/>
                <a:gd name="T42" fmla="*/ 596 w 874"/>
                <a:gd name="T43" fmla="*/ 476 h 723"/>
                <a:gd name="T44" fmla="*/ 536 w 874"/>
                <a:gd name="T45" fmla="*/ 442 h 723"/>
                <a:gd name="T46" fmla="*/ 570 w 874"/>
                <a:gd name="T47" fmla="*/ 398 h 723"/>
                <a:gd name="T48" fmla="*/ 606 w 874"/>
                <a:gd name="T49" fmla="*/ 312 h 723"/>
                <a:gd name="T50" fmla="*/ 645 w 874"/>
                <a:gd name="T51" fmla="*/ 364 h 723"/>
                <a:gd name="T52" fmla="*/ 721 w 874"/>
                <a:gd name="T53" fmla="*/ 398 h 723"/>
                <a:gd name="T54" fmla="*/ 778 w 874"/>
                <a:gd name="T55" fmla="*/ 380 h 723"/>
                <a:gd name="T56" fmla="*/ 830 w 874"/>
                <a:gd name="T57" fmla="*/ 403 h 723"/>
                <a:gd name="T58" fmla="*/ 851 w 874"/>
                <a:gd name="T59" fmla="*/ 346 h 723"/>
                <a:gd name="T60" fmla="*/ 869 w 874"/>
                <a:gd name="T61" fmla="*/ 308 h 723"/>
                <a:gd name="T62" fmla="*/ 799 w 874"/>
                <a:gd name="T63" fmla="*/ 250 h 723"/>
                <a:gd name="T64" fmla="*/ 718 w 874"/>
                <a:gd name="T65" fmla="*/ 227 h 723"/>
                <a:gd name="T66" fmla="*/ 593 w 874"/>
                <a:gd name="T67" fmla="*/ 263 h 723"/>
                <a:gd name="T68" fmla="*/ 541 w 874"/>
                <a:gd name="T69" fmla="*/ 213 h 723"/>
                <a:gd name="T70" fmla="*/ 538 w 874"/>
                <a:gd name="T71" fmla="*/ 212 h 723"/>
                <a:gd name="T72" fmla="*/ 537 w 874"/>
                <a:gd name="T73" fmla="*/ 211 h 723"/>
                <a:gd name="T74" fmla="*/ 497 w 874"/>
                <a:gd name="T75" fmla="*/ 196 h 723"/>
                <a:gd name="T76" fmla="*/ 457 w 874"/>
                <a:gd name="T77" fmla="*/ 243 h 723"/>
                <a:gd name="T78" fmla="*/ 387 w 874"/>
                <a:gd name="T79" fmla="*/ 198 h 723"/>
                <a:gd name="T80" fmla="*/ 372 w 874"/>
                <a:gd name="T81" fmla="*/ 157 h 723"/>
                <a:gd name="T82" fmla="*/ 332 w 874"/>
                <a:gd name="T83" fmla="*/ 78 h 723"/>
                <a:gd name="T84" fmla="*/ 252 w 874"/>
                <a:gd name="T85" fmla="*/ 26 h 723"/>
                <a:gd name="T86" fmla="*/ 218 w 874"/>
                <a:gd name="T87" fmla="*/ 32 h 723"/>
                <a:gd name="T88" fmla="*/ 155 w 874"/>
                <a:gd name="T89" fmla="*/ 0 h 72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74"/>
                <a:gd name="T136" fmla="*/ 0 h 723"/>
                <a:gd name="T137" fmla="*/ 874 w 874"/>
                <a:gd name="T138" fmla="*/ 723 h 72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74" h="723">
                  <a:moveTo>
                    <a:pt x="155" y="0"/>
                  </a:moveTo>
                  <a:lnTo>
                    <a:pt x="116" y="3"/>
                  </a:lnTo>
                  <a:lnTo>
                    <a:pt x="85" y="29"/>
                  </a:lnTo>
                  <a:lnTo>
                    <a:pt x="77" y="42"/>
                  </a:lnTo>
                  <a:lnTo>
                    <a:pt x="33" y="42"/>
                  </a:lnTo>
                  <a:lnTo>
                    <a:pt x="17" y="26"/>
                  </a:lnTo>
                  <a:lnTo>
                    <a:pt x="11" y="26"/>
                  </a:lnTo>
                  <a:cubicBezTo>
                    <a:pt x="12" y="49"/>
                    <a:pt x="15" y="55"/>
                    <a:pt x="13" y="65"/>
                  </a:cubicBezTo>
                  <a:lnTo>
                    <a:pt x="0" y="86"/>
                  </a:lnTo>
                  <a:lnTo>
                    <a:pt x="33" y="157"/>
                  </a:lnTo>
                  <a:lnTo>
                    <a:pt x="46" y="168"/>
                  </a:lnTo>
                  <a:lnTo>
                    <a:pt x="61" y="208"/>
                  </a:lnTo>
                  <a:lnTo>
                    <a:pt x="41" y="244"/>
                  </a:lnTo>
                  <a:lnTo>
                    <a:pt x="64" y="267"/>
                  </a:lnTo>
                  <a:lnTo>
                    <a:pt x="54" y="287"/>
                  </a:lnTo>
                  <a:lnTo>
                    <a:pt x="54" y="315"/>
                  </a:lnTo>
                  <a:lnTo>
                    <a:pt x="25" y="315"/>
                  </a:lnTo>
                  <a:lnTo>
                    <a:pt x="23" y="348"/>
                  </a:lnTo>
                  <a:lnTo>
                    <a:pt x="77" y="382"/>
                  </a:lnTo>
                  <a:lnTo>
                    <a:pt x="74" y="423"/>
                  </a:lnTo>
                  <a:lnTo>
                    <a:pt x="115" y="423"/>
                  </a:lnTo>
                  <a:lnTo>
                    <a:pt x="135" y="450"/>
                  </a:lnTo>
                  <a:lnTo>
                    <a:pt x="186" y="450"/>
                  </a:lnTo>
                  <a:lnTo>
                    <a:pt x="237" y="515"/>
                  </a:lnTo>
                  <a:lnTo>
                    <a:pt x="250" y="550"/>
                  </a:lnTo>
                  <a:lnTo>
                    <a:pt x="283" y="550"/>
                  </a:lnTo>
                  <a:lnTo>
                    <a:pt x="349" y="578"/>
                  </a:lnTo>
                  <a:lnTo>
                    <a:pt x="408" y="614"/>
                  </a:lnTo>
                  <a:lnTo>
                    <a:pt x="408" y="624"/>
                  </a:lnTo>
                  <a:lnTo>
                    <a:pt x="447" y="627"/>
                  </a:lnTo>
                  <a:lnTo>
                    <a:pt x="495" y="655"/>
                  </a:lnTo>
                  <a:lnTo>
                    <a:pt x="541" y="655"/>
                  </a:lnTo>
                  <a:lnTo>
                    <a:pt x="579" y="683"/>
                  </a:lnTo>
                  <a:lnTo>
                    <a:pt x="622" y="713"/>
                  </a:lnTo>
                  <a:lnTo>
                    <a:pt x="653" y="723"/>
                  </a:lnTo>
                  <a:lnTo>
                    <a:pt x="700" y="677"/>
                  </a:lnTo>
                  <a:lnTo>
                    <a:pt x="716" y="622"/>
                  </a:lnTo>
                  <a:lnTo>
                    <a:pt x="695" y="601"/>
                  </a:lnTo>
                  <a:lnTo>
                    <a:pt x="692" y="583"/>
                  </a:lnTo>
                  <a:lnTo>
                    <a:pt x="723" y="525"/>
                  </a:lnTo>
                  <a:lnTo>
                    <a:pt x="651" y="484"/>
                  </a:lnTo>
                  <a:lnTo>
                    <a:pt x="609" y="515"/>
                  </a:lnTo>
                  <a:lnTo>
                    <a:pt x="585" y="500"/>
                  </a:lnTo>
                  <a:lnTo>
                    <a:pt x="596" y="476"/>
                  </a:lnTo>
                  <a:lnTo>
                    <a:pt x="570" y="458"/>
                  </a:lnTo>
                  <a:lnTo>
                    <a:pt x="536" y="442"/>
                  </a:lnTo>
                  <a:lnTo>
                    <a:pt x="536" y="408"/>
                  </a:lnTo>
                  <a:lnTo>
                    <a:pt x="570" y="398"/>
                  </a:lnTo>
                  <a:lnTo>
                    <a:pt x="583" y="338"/>
                  </a:lnTo>
                  <a:lnTo>
                    <a:pt x="606" y="312"/>
                  </a:lnTo>
                  <a:lnTo>
                    <a:pt x="617" y="351"/>
                  </a:lnTo>
                  <a:lnTo>
                    <a:pt x="645" y="364"/>
                  </a:lnTo>
                  <a:lnTo>
                    <a:pt x="695" y="372"/>
                  </a:lnTo>
                  <a:lnTo>
                    <a:pt x="721" y="398"/>
                  </a:lnTo>
                  <a:lnTo>
                    <a:pt x="752" y="398"/>
                  </a:lnTo>
                  <a:lnTo>
                    <a:pt x="778" y="380"/>
                  </a:lnTo>
                  <a:lnTo>
                    <a:pt x="812" y="403"/>
                  </a:lnTo>
                  <a:lnTo>
                    <a:pt x="830" y="403"/>
                  </a:lnTo>
                  <a:lnTo>
                    <a:pt x="851" y="385"/>
                  </a:lnTo>
                  <a:lnTo>
                    <a:pt x="851" y="346"/>
                  </a:lnTo>
                  <a:lnTo>
                    <a:pt x="874" y="306"/>
                  </a:lnTo>
                  <a:lnTo>
                    <a:pt x="869" y="308"/>
                  </a:lnTo>
                  <a:lnTo>
                    <a:pt x="851" y="282"/>
                  </a:lnTo>
                  <a:lnTo>
                    <a:pt x="799" y="250"/>
                  </a:lnTo>
                  <a:lnTo>
                    <a:pt x="780" y="222"/>
                  </a:lnTo>
                  <a:lnTo>
                    <a:pt x="718" y="227"/>
                  </a:lnTo>
                  <a:lnTo>
                    <a:pt x="681" y="261"/>
                  </a:lnTo>
                  <a:lnTo>
                    <a:pt x="593" y="263"/>
                  </a:lnTo>
                  <a:lnTo>
                    <a:pt x="567" y="245"/>
                  </a:lnTo>
                  <a:cubicBezTo>
                    <a:pt x="565" y="242"/>
                    <a:pt x="552" y="219"/>
                    <a:pt x="541" y="213"/>
                  </a:cubicBezTo>
                  <a:cubicBezTo>
                    <a:pt x="540" y="213"/>
                    <a:pt x="540" y="212"/>
                    <a:pt x="539" y="212"/>
                  </a:cubicBezTo>
                  <a:lnTo>
                    <a:pt x="538" y="212"/>
                  </a:lnTo>
                  <a:lnTo>
                    <a:pt x="537" y="211"/>
                  </a:lnTo>
                  <a:cubicBezTo>
                    <a:pt x="536" y="211"/>
                    <a:pt x="536" y="211"/>
                    <a:pt x="535" y="211"/>
                  </a:cubicBezTo>
                  <a:cubicBezTo>
                    <a:pt x="523" y="211"/>
                    <a:pt x="509" y="196"/>
                    <a:pt x="497" y="196"/>
                  </a:cubicBezTo>
                  <a:lnTo>
                    <a:pt x="460" y="211"/>
                  </a:lnTo>
                  <a:lnTo>
                    <a:pt x="457" y="243"/>
                  </a:lnTo>
                  <a:lnTo>
                    <a:pt x="413" y="248"/>
                  </a:lnTo>
                  <a:lnTo>
                    <a:pt x="387" y="198"/>
                  </a:lnTo>
                  <a:lnTo>
                    <a:pt x="372" y="193"/>
                  </a:lnTo>
                  <a:lnTo>
                    <a:pt x="372" y="157"/>
                  </a:lnTo>
                  <a:lnTo>
                    <a:pt x="335" y="141"/>
                  </a:lnTo>
                  <a:lnTo>
                    <a:pt x="332" y="78"/>
                  </a:lnTo>
                  <a:lnTo>
                    <a:pt x="306" y="53"/>
                  </a:lnTo>
                  <a:lnTo>
                    <a:pt x="252" y="26"/>
                  </a:lnTo>
                  <a:lnTo>
                    <a:pt x="226" y="26"/>
                  </a:lnTo>
                  <a:lnTo>
                    <a:pt x="218" y="32"/>
                  </a:lnTo>
                  <a:lnTo>
                    <a:pt x="192" y="32"/>
                  </a:lnTo>
                  <a:lnTo>
                    <a:pt x="155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57</a:t>
              </a:r>
            </a:p>
          </p:txBody>
        </p:sp>
        <p:sp>
          <p:nvSpPr>
            <p:cNvPr id="192" name="FR-88">
              <a:extLst>
                <a:ext uri="{FF2B5EF4-FFF2-40B4-BE49-F238E27FC236}">
                  <a16:creationId xmlns:a16="http://schemas.microsoft.com/office/drawing/2014/main" id="{3E3A2A8A-3AA1-4A68-A0B4-EB334E405E0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002658" y="1791447"/>
              <a:ext cx="885108" cy="500886"/>
            </a:xfrm>
            <a:custGeom>
              <a:avLst/>
              <a:gdLst>
                <a:gd name="T0" fmla="*/ 831 w 911"/>
                <a:gd name="T1" fmla="*/ 6 h 529"/>
                <a:gd name="T2" fmla="*/ 770 w 911"/>
                <a:gd name="T3" fmla="*/ 47 h 529"/>
                <a:gd name="T4" fmla="*/ 703 w 911"/>
                <a:gd name="T5" fmla="*/ 82 h 529"/>
                <a:gd name="T6" fmla="*/ 660 w 911"/>
                <a:gd name="T7" fmla="*/ 72 h 529"/>
                <a:gd name="T8" fmla="*/ 619 w 911"/>
                <a:gd name="T9" fmla="*/ 36 h 529"/>
                <a:gd name="T10" fmla="*/ 596 w 911"/>
                <a:gd name="T11" fmla="*/ 80 h 529"/>
                <a:gd name="T12" fmla="*/ 553 w 911"/>
                <a:gd name="T13" fmla="*/ 85 h 529"/>
                <a:gd name="T14" fmla="*/ 492 w 911"/>
                <a:gd name="T15" fmla="*/ 92 h 529"/>
                <a:gd name="T16" fmla="*/ 443 w 911"/>
                <a:gd name="T17" fmla="*/ 85 h 529"/>
                <a:gd name="T18" fmla="*/ 390 w 911"/>
                <a:gd name="T19" fmla="*/ 97 h 529"/>
                <a:gd name="T20" fmla="*/ 288 w 911"/>
                <a:gd name="T21" fmla="*/ 136 h 529"/>
                <a:gd name="T22" fmla="*/ 242 w 911"/>
                <a:gd name="T23" fmla="*/ 108 h 529"/>
                <a:gd name="T24" fmla="*/ 262 w 911"/>
                <a:gd name="T25" fmla="*/ 82 h 529"/>
                <a:gd name="T26" fmla="*/ 244 w 911"/>
                <a:gd name="T27" fmla="*/ 36 h 529"/>
                <a:gd name="T28" fmla="*/ 183 w 911"/>
                <a:gd name="T29" fmla="*/ 41 h 529"/>
                <a:gd name="T30" fmla="*/ 127 w 911"/>
                <a:gd name="T31" fmla="*/ 74 h 529"/>
                <a:gd name="T32" fmla="*/ 114 w 911"/>
                <a:gd name="T33" fmla="*/ 59 h 529"/>
                <a:gd name="T34" fmla="*/ 63 w 911"/>
                <a:gd name="T35" fmla="*/ 87 h 529"/>
                <a:gd name="T36" fmla="*/ 17 w 911"/>
                <a:gd name="T37" fmla="*/ 116 h 529"/>
                <a:gd name="T38" fmla="*/ 18 w 911"/>
                <a:gd name="T39" fmla="*/ 159 h 529"/>
                <a:gd name="T40" fmla="*/ 96 w 911"/>
                <a:gd name="T41" fmla="*/ 212 h 529"/>
                <a:gd name="T42" fmla="*/ 135 w 911"/>
                <a:gd name="T43" fmla="*/ 246 h 529"/>
                <a:gd name="T44" fmla="*/ 176 w 911"/>
                <a:gd name="T45" fmla="*/ 274 h 529"/>
                <a:gd name="T46" fmla="*/ 138 w 911"/>
                <a:gd name="T47" fmla="*/ 360 h 529"/>
                <a:gd name="T48" fmla="*/ 211 w 911"/>
                <a:gd name="T49" fmla="*/ 451 h 529"/>
                <a:gd name="T50" fmla="*/ 263 w 911"/>
                <a:gd name="T51" fmla="*/ 459 h 529"/>
                <a:gd name="T52" fmla="*/ 271 w 911"/>
                <a:gd name="T53" fmla="*/ 433 h 529"/>
                <a:gd name="T54" fmla="*/ 301 w 911"/>
                <a:gd name="T55" fmla="*/ 446 h 529"/>
                <a:gd name="T56" fmla="*/ 336 w 911"/>
                <a:gd name="T57" fmla="*/ 402 h 529"/>
                <a:gd name="T58" fmla="*/ 398 w 911"/>
                <a:gd name="T59" fmla="*/ 404 h 529"/>
                <a:gd name="T60" fmla="*/ 429 w 911"/>
                <a:gd name="T61" fmla="*/ 459 h 529"/>
                <a:gd name="T62" fmla="*/ 473 w 911"/>
                <a:gd name="T63" fmla="*/ 438 h 529"/>
                <a:gd name="T64" fmla="*/ 567 w 911"/>
                <a:gd name="T65" fmla="*/ 482 h 529"/>
                <a:gd name="T66" fmla="*/ 601 w 911"/>
                <a:gd name="T67" fmla="*/ 469 h 529"/>
                <a:gd name="T68" fmla="*/ 625 w 911"/>
                <a:gd name="T69" fmla="*/ 444 h 529"/>
                <a:gd name="T70" fmla="*/ 671 w 911"/>
                <a:gd name="T71" fmla="*/ 485 h 529"/>
                <a:gd name="T72" fmla="*/ 786 w 911"/>
                <a:gd name="T73" fmla="*/ 501 h 529"/>
                <a:gd name="T74" fmla="*/ 833 w 911"/>
                <a:gd name="T75" fmla="*/ 360 h 529"/>
                <a:gd name="T76" fmla="*/ 851 w 911"/>
                <a:gd name="T77" fmla="*/ 261 h 529"/>
                <a:gd name="T78" fmla="*/ 911 w 911"/>
                <a:gd name="T79" fmla="*/ 134 h 529"/>
                <a:gd name="T80" fmla="*/ 851 w 911"/>
                <a:gd name="T81" fmla="*/ 50 h 529"/>
                <a:gd name="T82" fmla="*/ 858 w 911"/>
                <a:gd name="T83" fmla="*/ 0 h 529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11"/>
                <a:gd name="T127" fmla="*/ 0 h 529"/>
                <a:gd name="T128" fmla="*/ 911 w 911"/>
                <a:gd name="T129" fmla="*/ 529 h 529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11" h="529">
                  <a:moveTo>
                    <a:pt x="858" y="0"/>
                  </a:moveTo>
                  <a:lnTo>
                    <a:pt x="831" y="6"/>
                  </a:lnTo>
                  <a:lnTo>
                    <a:pt x="791" y="21"/>
                  </a:lnTo>
                  <a:lnTo>
                    <a:pt x="770" y="47"/>
                  </a:lnTo>
                  <a:lnTo>
                    <a:pt x="747" y="62"/>
                  </a:lnTo>
                  <a:lnTo>
                    <a:pt x="703" y="82"/>
                  </a:lnTo>
                  <a:lnTo>
                    <a:pt x="691" y="80"/>
                  </a:lnTo>
                  <a:lnTo>
                    <a:pt x="660" y="72"/>
                  </a:lnTo>
                  <a:lnTo>
                    <a:pt x="630" y="69"/>
                  </a:lnTo>
                  <a:lnTo>
                    <a:pt x="619" y="36"/>
                  </a:lnTo>
                  <a:lnTo>
                    <a:pt x="599" y="44"/>
                  </a:lnTo>
                  <a:lnTo>
                    <a:pt x="596" y="80"/>
                  </a:lnTo>
                  <a:lnTo>
                    <a:pt x="581" y="64"/>
                  </a:lnTo>
                  <a:lnTo>
                    <a:pt x="553" y="85"/>
                  </a:lnTo>
                  <a:lnTo>
                    <a:pt x="525" y="95"/>
                  </a:lnTo>
                  <a:lnTo>
                    <a:pt x="492" y="92"/>
                  </a:lnTo>
                  <a:lnTo>
                    <a:pt x="469" y="100"/>
                  </a:lnTo>
                  <a:lnTo>
                    <a:pt x="443" y="85"/>
                  </a:lnTo>
                  <a:lnTo>
                    <a:pt x="428" y="97"/>
                  </a:lnTo>
                  <a:lnTo>
                    <a:pt x="390" y="97"/>
                  </a:lnTo>
                  <a:lnTo>
                    <a:pt x="372" y="131"/>
                  </a:lnTo>
                  <a:lnTo>
                    <a:pt x="288" y="136"/>
                  </a:lnTo>
                  <a:lnTo>
                    <a:pt x="270" y="113"/>
                  </a:lnTo>
                  <a:lnTo>
                    <a:pt x="242" y="108"/>
                  </a:lnTo>
                  <a:lnTo>
                    <a:pt x="244" y="95"/>
                  </a:lnTo>
                  <a:lnTo>
                    <a:pt x="262" y="82"/>
                  </a:lnTo>
                  <a:lnTo>
                    <a:pt x="247" y="77"/>
                  </a:lnTo>
                  <a:lnTo>
                    <a:pt x="244" y="36"/>
                  </a:lnTo>
                  <a:lnTo>
                    <a:pt x="206" y="34"/>
                  </a:lnTo>
                  <a:lnTo>
                    <a:pt x="183" y="41"/>
                  </a:lnTo>
                  <a:lnTo>
                    <a:pt x="168" y="62"/>
                  </a:lnTo>
                  <a:lnTo>
                    <a:pt x="127" y="74"/>
                  </a:lnTo>
                  <a:lnTo>
                    <a:pt x="127" y="59"/>
                  </a:lnTo>
                  <a:lnTo>
                    <a:pt x="114" y="59"/>
                  </a:lnTo>
                  <a:lnTo>
                    <a:pt x="114" y="77"/>
                  </a:lnTo>
                  <a:lnTo>
                    <a:pt x="63" y="87"/>
                  </a:lnTo>
                  <a:lnTo>
                    <a:pt x="63" y="110"/>
                  </a:lnTo>
                  <a:lnTo>
                    <a:pt x="17" y="116"/>
                  </a:lnTo>
                  <a:lnTo>
                    <a:pt x="0" y="134"/>
                  </a:lnTo>
                  <a:lnTo>
                    <a:pt x="18" y="159"/>
                  </a:lnTo>
                  <a:lnTo>
                    <a:pt x="59" y="162"/>
                  </a:lnTo>
                  <a:lnTo>
                    <a:pt x="96" y="212"/>
                  </a:lnTo>
                  <a:lnTo>
                    <a:pt x="127" y="212"/>
                  </a:lnTo>
                  <a:lnTo>
                    <a:pt x="135" y="246"/>
                  </a:lnTo>
                  <a:lnTo>
                    <a:pt x="169" y="251"/>
                  </a:lnTo>
                  <a:lnTo>
                    <a:pt x="176" y="274"/>
                  </a:lnTo>
                  <a:lnTo>
                    <a:pt x="153" y="290"/>
                  </a:lnTo>
                  <a:lnTo>
                    <a:pt x="138" y="360"/>
                  </a:lnTo>
                  <a:lnTo>
                    <a:pt x="211" y="397"/>
                  </a:lnTo>
                  <a:lnTo>
                    <a:pt x="211" y="451"/>
                  </a:lnTo>
                  <a:lnTo>
                    <a:pt x="239" y="441"/>
                  </a:lnTo>
                  <a:lnTo>
                    <a:pt x="263" y="459"/>
                  </a:lnTo>
                  <a:lnTo>
                    <a:pt x="281" y="449"/>
                  </a:lnTo>
                  <a:lnTo>
                    <a:pt x="271" y="433"/>
                  </a:lnTo>
                  <a:lnTo>
                    <a:pt x="283" y="425"/>
                  </a:lnTo>
                  <a:lnTo>
                    <a:pt x="301" y="446"/>
                  </a:lnTo>
                  <a:lnTo>
                    <a:pt x="328" y="428"/>
                  </a:lnTo>
                  <a:lnTo>
                    <a:pt x="336" y="402"/>
                  </a:lnTo>
                  <a:lnTo>
                    <a:pt x="385" y="394"/>
                  </a:lnTo>
                  <a:lnTo>
                    <a:pt x="398" y="404"/>
                  </a:lnTo>
                  <a:lnTo>
                    <a:pt x="396" y="433"/>
                  </a:lnTo>
                  <a:lnTo>
                    <a:pt x="429" y="459"/>
                  </a:lnTo>
                  <a:lnTo>
                    <a:pt x="450" y="457"/>
                  </a:lnTo>
                  <a:lnTo>
                    <a:pt x="473" y="438"/>
                  </a:lnTo>
                  <a:lnTo>
                    <a:pt x="528" y="438"/>
                  </a:lnTo>
                  <a:lnTo>
                    <a:pt x="567" y="482"/>
                  </a:lnTo>
                  <a:lnTo>
                    <a:pt x="580" y="482"/>
                  </a:lnTo>
                  <a:lnTo>
                    <a:pt x="601" y="469"/>
                  </a:lnTo>
                  <a:lnTo>
                    <a:pt x="604" y="454"/>
                  </a:lnTo>
                  <a:lnTo>
                    <a:pt x="625" y="444"/>
                  </a:lnTo>
                  <a:lnTo>
                    <a:pt x="648" y="459"/>
                  </a:lnTo>
                  <a:lnTo>
                    <a:pt x="671" y="485"/>
                  </a:lnTo>
                  <a:lnTo>
                    <a:pt x="753" y="529"/>
                  </a:lnTo>
                  <a:lnTo>
                    <a:pt x="786" y="501"/>
                  </a:lnTo>
                  <a:lnTo>
                    <a:pt x="788" y="399"/>
                  </a:lnTo>
                  <a:lnTo>
                    <a:pt x="833" y="360"/>
                  </a:lnTo>
                  <a:lnTo>
                    <a:pt x="859" y="300"/>
                  </a:lnTo>
                  <a:lnTo>
                    <a:pt x="851" y="261"/>
                  </a:lnTo>
                  <a:lnTo>
                    <a:pt x="882" y="199"/>
                  </a:lnTo>
                  <a:lnTo>
                    <a:pt x="911" y="134"/>
                  </a:lnTo>
                  <a:lnTo>
                    <a:pt x="861" y="121"/>
                  </a:lnTo>
                  <a:lnTo>
                    <a:pt x="851" y="50"/>
                  </a:lnTo>
                  <a:lnTo>
                    <a:pt x="861" y="3"/>
                  </a:lnTo>
                  <a:lnTo>
                    <a:pt x="858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88</a:t>
              </a:r>
            </a:p>
          </p:txBody>
        </p:sp>
        <p:sp>
          <p:nvSpPr>
            <p:cNvPr id="193" name="FR-91">
              <a:extLst>
                <a:ext uri="{FF2B5EF4-FFF2-40B4-BE49-F238E27FC236}">
                  <a16:creationId xmlns:a16="http://schemas.microsoft.com/office/drawing/2014/main" id="{FDF025E1-7B01-43AD-B8B4-52942703185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294623" y="1671197"/>
              <a:ext cx="313820" cy="344655"/>
            </a:xfrm>
            <a:custGeom>
              <a:avLst/>
              <a:gdLst>
                <a:gd name="T0" fmla="*/ 152 w 323"/>
                <a:gd name="T1" fmla="*/ 0 h 364"/>
                <a:gd name="T2" fmla="*/ 129 w 323"/>
                <a:gd name="T3" fmla="*/ 10 h 364"/>
                <a:gd name="T4" fmla="*/ 104 w 323"/>
                <a:gd name="T5" fmla="*/ 20 h 364"/>
                <a:gd name="T6" fmla="*/ 99 w 323"/>
                <a:gd name="T7" fmla="*/ 49 h 364"/>
                <a:gd name="T8" fmla="*/ 60 w 323"/>
                <a:gd name="T9" fmla="*/ 66 h 364"/>
                <a:gd name="T10" fmla="*/ 55 w 323"/>
                <a:gd name="T11" fmla="*/ 94 h 364"/>
                <a:gd name="T12" fmla="*/ 73 w 323"/>
                <a:gd name="T13" fmla="*/ 125 h 364"/>
                <a:gd name="T14" fmla="*/ 47 w 323"/>
                <a:gd name="T15" fmla="*/ 161 h 364"/>
                <a:gd name="T16" fmla="*/ 9 w 323"/>
                <a:gd name="T17" fmla="*/ 161 h 364"/>
                <a:gd name="T18" fmla="*/ 24 w 323"/>
                <a:gd name="T19" fmla="*/ 184 h 364"/>
                <a:gd name="T20" fmla="*/ 6 w 323"/>
                <a:gd name="T21" fmla="*/ 204 h 364"/>
                <a:gd name="T22" fmla="*/ 0 w 323"/>
                <a:gd name="T23" fmla="*/ 245 h 364"/>
                <a:gd name="T24" fmla="*/ 13 w 323"/>
                <a:gd name="T25" fmla="*/ 248 h 364"/>
                <a:gd name="T26" fmla="*/ 18 w 323"/>
                <a:gd name="T27" fmla="*/ 281 h 364"/>
                <a:gd name="T28" fmla="*/ 23 w 323"/>
                <a:gd name="T29" fmla="*/ 289 h 364"/>
                <a:gd name="T30" fmla="*/ 29 w 323"/>
                <a:gd name="T31" fmla="*/ 359 h 364"/>
                <a:gd name="T32" fmla="*/ 112 w 323"/>
                <a:gd name="T33" fmla="*/ 352 h 364"/>
                <a:gd name="T34" fmla="*/ 146 w 323"/>
                <a:gd name="T35" fmla="*/ 321 h 364"/>
                <a:gd name="T36" fmla="*/ 174 w 323"/>
                <a:gd name="T37" fmla="*/ 344 h 364"/>
                <a:gd name="T38" fmla="*/ 244 w 323"/>
                <a:gd name="T39" fmla="*/ 349 h 364"/>
                <a:gd name="T40" fmla="*/ 254 w 323"/>
                <a:gd name="T41" fmla="*/ 364 h 364"/>
                <a:gd name="T42" fmla="*/ 254 w 323"/>
                <a:gd name="T43" fmla="*/ 311 h 364"/>
                <a:gd name="T44" fmla="*/ 313 w 323"/>
                <a:gd name="T45" fmla="*/ 273 h 364"/>
                <a:gd name="T46" fmla="*/ 295 w 323"/>
                <a:gd name="T47" fmla="*/ 250 h 364"/>
                <a:gd name="T48" fmla="*/ 303 w 323"/>
                <a:gd name="T49" fmla="*/ 181 h 364"/>
                <a:gd name="T50" fmla="*/ 313 w 323"/>
                <a:gd name="T51" fmla="*/ 166 h 364"/>
                <a:gd name="T52" fmla="*/ 300 w 323"/>
                <a:gd name="T53" fmla="*/ 97 h 364"/>
                <a:gd name="T54" fmla="*/ 323 w 323"/>
                <a:gd name="T55" fmla="*/ 79 h 364"/>
                <a:gd name="T56" fmla="*/ 319 w 323"/>
                <a:gd name="T57" fmla="*/ 46 h 364"/>
                <a:gd name="T58" fmla="*/ 290 w 323"/>
                <a:gd name="T59" fmla="*/ 33 h 364"/>
                <a:gd name="T60" fmla="*/ 241 w 323"/>
                <a:gd name="T61" fmla="*/ 33 h 364"/>
                <a:gd name="T62" fmla="*/ 214 w 323"/>
                <a:gd name="T63" fmla="*/ 18 h 364"/>
                <a:gd name="T64" fmla="*/ 193 w 323"/>
                <a:gd name="T65" fmla="*/ 28 h 364"/>
                <a:gd name="T66" fmla="*/ 152 w 323"/>
                <a:gd name="T67" fmla="*/ 0 h 36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323"/>
                <a:gd name="T103" fmla="*/ 0 h 364"/>
                <a:gd name="T104" fmla="*/ 323 w 323"/>
                <a:gd name="T105" fmla="*/ 364 h 36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323" h="364">
                  <a:moveTo>
                    <a:pt x="152" y="0"/>
                  </a:moveTo>
                  <a:lnTo>
                    <a:pt x="129" y="10"/>
                  </a:lnTo>
                  <a:lnTo>
                    <a:pt x="104" y="20"/>
                  </a:lnTo>
                  <a:lnTo>
                    <a:pt x="99" y="49"/>
                  </a:lnTo>
                  <a:lnTo>
                    <a:pt x="60" y="66"/>
                  </a:lnTo>
                  <a:lnTo>
                    <a:pt x="55" y="94"/>
                  </a:lnTo>
                  <a:lnTo>
                    <a:pt x="73" y="125"/>
                  </a:lnTo>
                  <a:lnTo>
                    <a:pt x="47" y="161"/>
                  </a:lnTo>
                  <a:lnTo>
                    <a:pt x="9" y="161"/>
                  </a:lnTo>
                  <a:lnTo>
                    <a:pt x="24" y="184"/>
                  </a:lnTo>
                  <a:lnTo>
                    <a:pt x="6" y="204"/>
                  </a:lnTo>
                  <a:lnTo>
                    <a:pt x="0" y="245"/>
                  </a:lnTo>
                  <a:lnTo>
                    <a:pt x="13" y="248"/>
                  </a:lnTo>
                  <a:lnTo>
                    <a:pt x="18" y="281"/>
                  </a:lnTo>
                  <a:lnTo>
                    <a:pt x="23" y="289"/>
                  </a:lnTo>
                  <a:lnTo>
                    <a:pt x="29" y="359"/>
                  </a:lnTo>
                  <a:lnTo>
                    <a:pt x="112" y="352"/>
                  </a:lnTo>
                  <a:lnTo>
                    <a:pt x="146" y="321"/>
                  </a:lnTo>
                  <a:lnTo>
                    <a:pt x="174" y="344"/>
                  </a:lnTo>
                  <a:lnTo>
                    <a:pt x="244" y="349"/>
                  </a:lnTo>
                  <a:lnTo>
                    <a:pt x="254" y="364"/>
                  </a:lnTo>
                  <a:lnTo>
                    <a:pt x="254" y="311"/>
                  </a:lnTo>
                  <a:lnTo>
                    <a:pt x="313" y="273"/>
                  </a:lnTo>
                  <a:lnTo>
                    <a:pt x="295" y="250"/>
                  </a:lnTo>
                  <a:lnTo>
                    <a:pt x="303" y="181"/>
                  </a:lnTo>
                  <a:lnTo>
                    <a:pt x="313" y="166"/>
                  </a:lnTo>
                  <a:lnTo>
                    <a:pt x="300" y="97"/>
                  </a:lnTo>
                  <a:lnTo>
                    <a:pt x="323" y="79"/>
                  </a:lnTo>
                  <a:lnTo>
                    <a:pt x="319" y="46"/>
                  </a:lnTo>
                  <a:lnTo>
                    <a:pt x="290" y="33"/>
                  </a:lnTo>
                  <a:lnTo>
                    <a:pt x="241" y="33"/>
                  </a:lnTo>
                  <a:lnTo>
                    <a:pt x="214" y="18"/>
                  </a:lnTo>
                  <a:lnTo>
                    <a:pt x="193" y="28"/>
                  </a:lnTo>
                  <a:lnTo>
                    <a:pt x="152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91</a:t>
              </a:r>
            </a:p>
          </p:txBody>
        </p:sp>
        <p:sp>
          <p:nvSpPr>
            <p:cNvPr id="194" name="FR-78">
              <a:extLst>
                <a:ext uri="{FF2B5EF4-FFF2-40B4-BE49-F238E27FC236}">
                  <a16:creationId xmlns:a16="http://schemas.microsoft.com/office/drawing/2014/main" id="{DB8F2250-19B3-4002-B897-5589002DDA4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066302" y="1440164"/>
              <a:ext cx="380859" cy="463011"/>
            </a:xfrm>
            <a:custGeom>
              <a:avLst/>
              <a:gdLst>
                <a:gd name="T0" fmla="*/ 84 w 392"/>
                <a:gd name="T1" fmla="*/ 0 h 489"/>
                <a:gd name="T2" fmla="*/ 84 w 392"/>
                <a:gd name="T3" fmla="*/ 2 h 489"/>
                <a:gd name="T4" fmla="*/ 11 w 392"/>
                <a:gd name="T5" fmla="*/ 23 h 489"/>
                <a:gd name="T6" fmla="*/ 0 w 392"/>
                <a:gd name="T7" fmla="*/ 36 h 489"/>
                <a:gd name="T8" fmla="*/ 14 w 392"/>
                <a:gd name="T9" fmla="*/ 57 h 489"/>
                <a:gd name="T10" fmla="*/ 14 w 392"/>
                <a:gd name="T11" fmla="*/ 78 h 489"/>
                <a:gd name="T12" fmla="*/ 37 w 392"/>
                <a:gd name="T13" fmla="*/ 83 h 489"/>
                <a:gd name="T14" fmla="*/ 24 w 392"/>
                <a:gd name="T15" fmla="*/ 96 h 489"/>
                <a:gd name="T16" fmla="*/ 25 w 392"/>
                <a:gd name="T17" fmla="*/ 108 h 489"/>
                <a:gd name="T18" fmla="*/ 26 w 392"/>
                <a:gd name="T19" fmla="*/ 106 h 489"/>
                <a:gd name="T20" fmla="*/ 52 w 392"/>
                <a:gd name="T21" fmla="*/ 132 h 489"/>
                <a:gd name="T22" fmla="*/ 60 w 392"/>
                <a:gd name="T23" fmla="*/ 163 h 489"/>
                <a:gd name="T24" fmla="*/ 81 w 392"/>
                <a:gd name="T25" fmla="*/ 184 h 489"/>
                <a:gd name="T26" fmla="*/ 71 w 392"/>
                <a:gd name="T27" fmla="*/ 213 h 489"/>
                <a:gd name="T28" fmla="*/ 71 w 392"/>
                <a:gd name="T29" fmla="*/ 239 h 489"/>
                <a:gd name="T30" fmla="*/ 89 w 392"/>
                <a:gd name="T31" fmla="*/ 260 h 489"/>
                <a:gd name="T32" fmla="*/ 71 w 392"/>
                <a:gd name="T33" fmla="*/ 291 h 489"/>
                <a:gd name="T34" fmla="*/ 89 w 392"/>
                <a:gd name="T35" fmla="*/ 335 h 489"/>
                <a:gd name="T36" fmla="*/ 125 w 392"/>
                <a:gd name="T37" fmla="*/ 361 h 489"/>
                <a:gd name="T38" fmla="*/ 131 w 392"/>
                <a:gd name="T39" fmla="*/ 390 h 489"/>
                <a:gd name="T40" fmla="*/ 162 w 392"/>
                <a:gd name="T41" fmla="*/ 395 h 489"/>
                <a:gd name="T42" fmla="*/ 169 w 392"/>
                <a:gd name="T43" fmla="*/ 453 h 489"/>
                <a:gd name="T44" fmla="*/ 193 w 392"/>
                <a:gd name="T45" fmla="*/ 481 h 489"/>
                <a:gd name="T46" fmla="*/ 235 w 392"/>
                <a:gd name="T47" fmla="*/ 489 h 489"/>
                <a:gd name="T48" fmla="*/ 241 w 392"/>
                <a:gd name="T49" fmla="*/ 448 h 489"/>
                <a:gd name="T50" fmla="*/ 259 w 392"/>
                <a:gd name="T51" fmla="*/ 428 h 489"/>
                <a:gd name="T52" fmla="*/ 244 w 392"/>
                <a:gd name="T53" fmla="*/ 405 h 489"/>
                <a:gd name="T54" fmla="*/ 282 w 392"/>
                <a:gd name="T55" fmla="*/ 405 h 489"/>
                <a:gd name="T56" fmla="*/ 308 w 392"/>
                <a:gd name="T57" fmla="*/ 369 h 489"/>
                <a:gd name="T58" fmla="*/ 290 w 392"/>
                <a:gd name="T59" fmla="*/ 338 h 489"/>
                <a:gd name="T60" fmla="*/ 295 w 392"/>
                <a:gd name="T61" fmla="*/ 310 h 489"/>
                <a:gd name="T62" fmla="*/ 334 w 392"/>
                <a:gd name="T63" fmla="*/ 293 h 489"/>
                <a:gd name="T64" fmla="*/ 339 w 392"/>
                <a:gd name="T65" fmla="*/ 264 h 489"/>
                <a:gd name="T66" fmla="*/ 364 w 392"/>
                <a:gd name="T67" fmla="*/ 254 h 489"/>
                <a:gd name="T68" fmla="*/ 387 w 392"/>
                <a:gd name="T69" fmla="*/ 244 h 489"/>
                <a:gd name="T70" fmla="*/ 392 w 392"/>
                <a:gd name="T71" fmla="*/ 247 h 489"/>
                <a:gd name="T72" fmla="*/ 392 w 392"/>
                <a:gd name="T73" fmla="*/ 244 h 489"/>
                <a:gd name="T74" fmla="*/ 369 w 392"/>
                <a:gd name="T75" fmla="*/ 218 h 489"/>
                <a:gd name="T76" fmla="*/ 354 w 392"/>
                <a:gd name="T77" fmla="*/ 178 h 489"/>
                <a:gd name="T78" fmla="*/ 377 w 392"/>
                <a:gd name="T79" fmla="*/ 127 h 489"/>
                <a:gd name="T80" fmla="*/ 366 w 392"/>
                <a:gd name="T81" fmla="*/ 89 h 489"/>
                <a:gd name="T82" fmla="*/ 320 w 392"/>
                <a:gd name="T83" fmla="*/ 61 h 489"/>
                <a:gd name="T84" fmla="*/ 256 w 392"/>
                <a:gd name="T85" fmla="*/ 58 h 489"/>
                <a:gd name="T86" fmla="*/ 196 w 392"/>
                <a:gd name="T87" fmla="*/ 20 h 489"/>
                <a:gd name="T88" fmla="*/ 148 w 392"/>
                <a:gd name="T89" fmla="*/ 29 h 489"/>
                <a:gd name="T90" fmla="*/ 84 w 392"/>
                <a:gd name="T91" fmla="*/ 0 h 489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92"/>
                <a:gd name="T139" fmla="*/ 0 h 489"/>
                <a:gd name="T140" fmla="*/ 392 w 392"/>
                <a:gd name="T141" fmla="*/ 489 h 489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92" h="489">
                  <a:moveTo>
                    <a:pt x="84" y="0"/>
                  </a:moveTo>
                  <a:lnTo>
                    <a:pt x="84" y="2"/>
                  </a:lnTo>
                  <a:lnTo>
                    <a:pt x="11" y="23"/>
                  </a:lnTo>
                  <a:lnTo>
                    <a:pt x="0" y="36"/>
                  </a:lnTo>
                  <a:lnTo>
                    <a:pt x="14" y="57"/>
                  </a:lnTo>
                  <a:lnTo>
                    <a:pt x="14" y="78"/>
                  </a:lnTo>
                  <a:lnTo>
                    <a:pt x="37" y="83"/>
                  </a:lnTo>
                  <a:lnTo>
                    <a:pt x="24" y="96"/>
                  </a:lnTo>
                  <a:lnTo>
                    <a:pt x="25" y="108"/>
                  </a:lnTo>
                  <a:lnTo>
                    <a:pt x="26" y="106"/>
                  </a:lnTo>
                  <a:lnTo>
                    <a:pt x="52" y="132"/>
                  </a:lnTo>
                  <a:lnTo>
                    <a:pt x="60" y="163"/>
                  </a:lnTo>
                  <a:lnTo>
                    <a:pt x="81" y="184"/>
                  </a:lnTo>
                  <a:lnTo>
                    <a:pt x="71" y="213"/>
                  </a:lnTo>
                  <a:lnTo>
                    <a:pt x="71" y="239"/>
                  </a:lnTo>
                  <a:lnTo>
                    <a:pt x="89" y="260"/>
                  </a:lnTo>
                  <a:lnTo>
                    <a:pt x="71" y="291"/>
                  </a:lnTo>
                  <a:lnTo>
                    <a:pt x="89" y="335"/>
                  </a:lnTo>
                  <a:lnTo>
                    <a:pt x="125" y="361"/>
                  </a:lnTo>
                  <a:lnTo>
                    <a:pt x="131" y="390"/>
                  </a:lnTo>
                  <a:lnTo>
                    <a:pt x="162" y="395"/>
                  </a:lnTo>
                  <a:lnTo>
                    <a:pt x="169" y="453"/>
                  </a:lnTo>
                  <a:lnTo>
                    <a:pt x="193" y="481"/>
                  </a:lnTo>
                  <a:lnTo>
                    <a:pt x="235" y="489"/>
                  </a:lnTo>
                  <a:lnTo>
                    <a:pt x="241" y="448"/>
                  </a:lnTo>
                  <a:lnTo>
                    <a:pt x="259" y="428"/>
                  </a:lnTo>
                  <a:lnTo>
                    <a:pt x="244" y="405"/>
                  </a:lnTo>
                  <a:lnTo>
                    <a:pt x="282" y="405"/>
                  </a:lnTo>
                  <a:lnTo>
                    <a:pt x="308" y="369"/>
                  </a:lnTo>
                  <a:lnTo>
                    <a:pt x="290" y="338"/>
                  </a:lnTo>
                  <a:lnTo>
                    <a:pt x="295" y="310"/>
                  </a:lnTo>
                  <a:lnTo>
                    <a:pt x="334" y="293"/>
                  </a:lnTo>
                  <a:lnTo>
                    <a:pt x="339" y="264"/>
                  </a:lnTo>
                  <a:lnTo>
                    <a:pt x="364" y="254"/>
                  </a:lnTo>
                  <a:lnTo>
                    <a:pt x="387" y="244"/>
                  </a:lnTo>
                  <a:lnTo>
                    <a:pt x="392" y="247"/>
                  </a:lnTo>
                  <a:lnTo>
                    <a:pt x="392" y="244"/>
                  </a:lnTo>
                  <a:lnTo>
                    <a:pt x="369" y="218"/>
                  </a:lnTo>
                  <a:lnTo>
                    <a:pt x="354" y="178"/>
                  </a:lnTo>
                  <a:lnTo>
                    <a:pt x="377" y="127"/>
                  </a:lnTo>
                  <a:lnTo>
                    <a:pt x="366" y="89"/>
                  </a:lnTo>
                  <a:lnTo>
                    <a:pt x="320" y="61"/>
                  </a:lnTo>
                  <a:lnTo>
                    <a:pt x="256" y="58"/>
                  </a:lnTo>
                  <a:lnTo>
                    <a:pt x="196" y="20"/>
                  </a:lnTo>
                  <a:lnTo>
                    <a:pt x="148" y="29"/>
                  </a:lnTo>
                  <a:lnTo>
                    <a:pt x="84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78</a:t>
              </a:r>
            </a:p>
          </p:txBody>
        </p:sp>
        <p:sp>
          <p:nvSpPr>
            <p:cNvPr id="195" name="FR-95">
              <a:extLst>
                <a:ext uri="{FF2B5EF4-FFF2-40B4-BE49-F238E27FC236}">
                  <a16:creationId xmlns:a16="http://schemas.microsoft.com/office/drawing/2014/main" id="{8539F70A-F9B5-43F4-A640-6E48B8C9D7D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147915" y="1334117"/>
              <a:ext cx="471216" cy="227245"/>
            </a:xfrm>
            <a:custGeom>
              <a:avLst/>
              <a:gdLst>
                <a:gd name="T0" fmla="*/ 55 w 485"/>
                <a:gd name="T1" fmla="*/ 0 h 240"/>
                <a:gd name="T2" fmla="*/ 34 w 485"/>
                <a:gd name="T3" fmla="*/ 25 h 240"/>
                <a:gd name="T4" fmla="*/ 18 w 485"/>
                <a:gd name="T5" fmla="*/ 83 h 240"/>
                <a:gd name="T6" fmla="*/ 0 w 485"/>
                <a:gd name="T7" fmla="*/ 112 h 240"/>
                <a:gd name="T8" fmla="*/ 64 w 485"/>
                <a:gd name="T9" fmla="*/ 141 h 240"/>
                <a:gd name="T10" fmla="*/ 112 w 485"/>
                <a:gd name="T11" fmla="*/ 132 h 240"/>
                <a:gd name="T12" fmla="*/ 172 w 485"/>
                <a:gd name="T13" fmla="*/ 170 h 240"/>
                <a:gd name="T14" fmla="*/ 236 w 485"/>
                <a:gd name="T15" fmla="*/ 173 h 240"/>
                <a:gd name="T16" fmla="*/ 282 w 485"/>
                <a:gd name="T17" fmla="*/ 201 h 240"/>
                <a:gd name="T18" fmla="*/ 293 w 485"/>
                <a:gd name="T19" fmla="*/ 239 h 240"/>
                <a:gd name="T20" fmla="*/ 293 w 485"/>
                <a:gd name="T21" fmla="*/ 240 h 240"/>
                <a:gd name="T22" fmla="*/ 298 w 485"/>
                <a:gd name="T23" fmla="*/ 239 h 240"/>
                <a:gd name="T24" fmla="*/ 345 w 485"/>
                <a:gd name="T25" fmla="*/ 214 h 240"/>
                <a:gd name="T26" fmla="*/ 415 w 485"/>
                <a:gd name="T27" fmla="*/ 210 h 240"/>
                <a:gd name="T28" fmla="*/ 453 w 485"/>
                <a:gd name="T29" fmla="*/ 192 h 240"/>
                <a:gd name="T30" fmla="*/ 477 w 485"/>
                <a:gd name="T31" fmla="*/ 175 h 240"/>
                <a:gd name="T32" fmla="*/ 485 w 485"/>
                <a:gd name="T33" fmla="*/ 123 h 240"/>
                <a:gd name="T34" fmla="*/ 468 w 485"/>
                <a:gd name="T35" fmla="*/ 106 h 240"/>
                <a:gd name="T36" fmla="*/ 411 w 485"/>
                <a:gd name="T37" fmla="*/ 72 h 240"/>
                <a:gd name="T38" fmla="*/ 356 w 485"/>
                <a:gd name="T39" fmla="*/ 44 h 240"/>
                <a:gd name="T40" fmla="*/ 328 w 485"/>
                <a:gd name="T41" fmla="*/ 57 h 240"/>
                <a:gd name="T42" fmla="*/ 297 w 485"/>
                <a:gd name="T43" fmla="*/ 65 h 240"/>
                <a:gd name="T44" fmla="*/ 276 w 485"/>
                <a:gd name="T45" fmla="*/ 49 h 240"/>
                <a:gd name="T46" fmla="*/ 234 w 485"/>
                <a:gd name="T47" fmla="*/ 23 h 240"/>
                <a:gd name="T48" fmla="*/ 200 w 485"/>
                <a:gd name="T49" fmla="*/ 49 h 240"/>
                <a:gd name="T50" fmla="*/ 151 w 485"/>
                <a:gd name="T51" fmla="*/ 54 h 240"/>
                <a:gd name="T52" fmla="*/ 80 w 485"/>
                <a:gd name="T53" fmla="*/ 49 h 240"/>
                <a:gd name="T54" fmla="*/ 65 w 485"/>
                <a:gd name="T55" fmla="*/ 23 h 240"/>
                <a:gd name="T56" fmla="*/ 55 w 485"/>
                <a:gd name="T57" fmla="*/ 0 h 24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485"/>
                <a:gd name="T88" fmla="*/ 0 h 240"/>
                <a:gd name="T89" fmla="*/ 485 w 485"/>
                <a:gd name="T90" fmla="*/ 240 h 240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485" h="240">
                  <a:moveTo>
                    <a:pt x="55" y="0"/>
                  </a:moveTo>
                  <a:lnTo>
                    <a:pt x="34" y="25"/>
                  </a:lnTo>
                  <a:lnTo>
                    <a:pt x="18" y="83"/>
                  </a:lnTo>
                  <a:lnTo>
                    <a:pt x="0" y="112"/>
                  </a:lnTo>
                  <a:lnTo>
                    <a:pt x="64" y="141"/>
                  </a:lnTo>
                  <a:lnTo>
                    <a:pt x="112" y="132"/>
                  </a:lnTo>
                  <a:lnTo>
                    <a:pt x="172" y="170"/>
                  </a:lnTo>
                  <a:lnTo>
                    <a:pt x="236" y="173"/>
                  </a:lnTo>
                  <a:lnTo>
                    <a:pt x="282" y="201"/>
                  </a:lnTo>
                  <a:lnTo>
                    <a:pt x="293" y="239"/>
                  </a:lnTo>
                  <a:lnTo>
                    <a:pt x="293" y="240"/>
                  </a:lnTo>
                  <a:lnTo>
                    <a:pt x="298" y="239"/>
                  </a:lnTo>
                  <a:lnTo>
                    <a:pt x="345" y="214"/>
                  </a:lnTo>
                  <a:lnTo>
                    <a:pt x="415" y="210"/>
                  </a:lnTo>
                  <a:lnTo>
                    <a:pt x="453" y="192"/>
                  </a:lnTo>
                  <a:lnTo>
                    <a:pt x="477" y="175"/>
                  </a:lnTo>
                  <a:lnTo>
                    <a:pt x="485" y="123"/>
                  </a:lnTo>
                  <a:lnTo>
                    <a:pt x="468" y="106"/>
                  </a:lnTo>
                  <a:lnTo>
                    <a:pt x="411" y="72"/>
                  </a:lnTo>
                  <a:lnTo>
                    <a:pt x="356" y="44"/>
                  </a:lnTo>
                  <a:lnTo>
                    <a:pt x="328" y="57"/>
                  </a:lnTo>
                  <a:lnTo>
                    <a:pt x="297" y="65"/>
                  </a:lnTo>
                  <a:lnTo>
                    <a:pt x="276" y="49"/>
                  </a:lnTo>
                  <a:lnTo>
                    <a:pt x="234" y="23"/>
                  </a:lnTo>
                  <a:lnTo>
                    <a:pt x="200" y="49"/>
                  </a:lnTo>
                  <a:lnTo>
                    <a:pt x="151" y="54"/>
                  </a:lnTo>
                  <a:lnTo>
                    <a:pt x="80" y="49"/>
                  </a:lnTo>
                  <a:lnTo>
                    <a:pt x="65" y="23"/>
                  </a:lnTo>
                  <a:lnTo>
                    <a:pt x="55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95</a:t>
              </a:r>
            </a:p>
          </p:txBody>
        </p:sp>
        <p:sp>
          <p:nvSpPr>
            <p:cNvPr id="196" name="FR-93">
              <a:extLst>
                <a:ext uri="{FF2B5EF4-FFF2-40B4-BE49-F238E27FC236}">
                  <a16:creationId xmlns:a16="http://schemas.microsoft.com/office/drawing/2014/main" id="{4F7AC2A1-5A49-4D31-8032-92481F71EDB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483109" y="1499816"/>
              <a:ext cx="140879" cy="142028"/>
            </a:xfrm>
            <a:custGeom>
              <a:avLst/>
              <a:gdLst>
                <a:gd name="T0" fmla="*/ 132 w 145"/>
                <a:gd name="T1" fmla="*/ 0 h 150"/>
                <a:gd name="T2" fmla="*/ 108 w 145"/>
                <a:gd name="T3" fmla="*/ 17 h 150"/>
                <a:gd name="T4" fmla="*/ 70 w 145"/>
                <a:gd name="T5" fmla="*/ 35 h 150"/>
                <a:gd name="T6" fmla="*/ 0 w 145"/>
                <a:gd name="T7" fmla="*/ 39 h 150"/>
                <a:gd name="T8" fmla="*/ 2 w 145"/>
                <a:gd name="T9" fmla="*/ 49 h 150"/>
                <a:gd name="T10" fmla="*/ 7 w 145"/>
                <a:gd name="T11" fmla="*/ 50 h 150"/>
                <a:gd name="T12" fmla="*/ 13 w 145"/>
                <a:gd name="T13" fmla="*/ 58 h 150"/>
                <a:gd name="T14" fmla="*/ 7 w 145"/>
                <a:gd name="T15" fmla="*/ 70 h 150"/>
                <a:gd name="T16" fmla="*/ 0 w 145"/>
                <a:gd name="T17" fmla="*/ 71 h 150"/>
                <a:gd name="T18" fmla="*/ 5 w 145"/>
                <a:gd name="T19" fmla="*/ 83 h 150"/>
                <a:gd name="T20" fmla="*/ 39 w 145"/>
                <a:gd name="T21" fmla="*/ 83 h 150"/>
                <a:gd name="T22" fmla="*/ 50 w 145"/>
                <a:gd name="T23" fmla="*/ 100 h 150"/>
                <a:gd name="T24" fmla="*/ 52 w 145"/>
                <a:gd name="T25" fmla="*/ 123 h 150"/>
                <a:gd name="T26" fmla="*/ 64 w 145"/>
                <a:gd name="T27" fmla="*/ 121 h 150"/>
                <a:gd name="T28" fmla="*/ 75 w 145"/>
                <a:gd name="T29" fmla="*/ 112 h 150"/>
                <a:gd name="T30" fmla="*/ 91 w 145"/>
                <a:gd name="T31" fmla="*/ 113 h 150"/>
                <a:gd name="T32" fmla="*/ 111 w 145"/>
                <a:gd name="T33" fmla="*/ 125 h 150"/>
                <a:gd name="T34" fmla="*/ 123 w 145"/>
                <a:gd name="T35" fmla="*/ 138 h 150"/>
                <a:gd name="T36" fmla="*/ 128 w 145"/>
                <a:gd name="T37" fmla="*/ 140 h 150"/>
                <a:gd name="T38" fmla="*/ 132 w 145"/>
                <a:gd name="T39" fmla="*/ 147 h 150"/>
                <a:gd name="T40" fmla="*/ 145 w 145"/>
                <a:gd name="T41" fmla="*/ 150 h 150"/>
                <a:gd name="T42" fmla="*/ 145 w 145"/>
                <a:gd name="T43" fmla="*/ 112 h 150"/>
                <a:gd name="T44" fmla="*/ 129 w 145"/>
                <a:gd name="T45" fmla="*/ 20 h 150"/>
                <a:gd name="T46" fmla="*/ 132 w 145"/>
                <a:gd name="T47" fmla="*/ 0 h 15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45"/>
                <a:gd name="T73" fmla="*/ 0 h 150"/>
                <a:gd name="T74" fmla="*/ 145 w 145"/>
                <a:gd name="T75" fmla="*/ 150 h 150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45" h="150">
                  <a:moveTo>
                    <a:pt x="132" y="0"/>
                  </a:moveTo>
                  <a:lnTo>
                    <a:pt x="108" y="17"/>
                  </a:lnTo>
                  <a:lnTo>
                    <a:pt x="70" y="35"/>
                  </a:lnTo>
                  <a:lnTo>
                    <a:pt x="0" y="39"/>
                  </a:lnTo>
                  <a:lnTo>
                    <a:pt x="2" y="49"/>
                  </a:lnTo>
                  <a:lnTo>
                    <a:pt x="7" y="50"/>
                  </a:lnTo>
                  <a:lnTo>
                    <a:pt x="13" y="58"/>
                  </a:lnTo>
                  <a:lnTo>
                    <a:pt x="7" y="70"/>
                  </a:lnTo>
                  <a:lnTo>
                    <a:pt x="0" y="71"/>
                  </a:lnTo>
                  <a:lnTo>
                    <a:pt x="5" y="83"/>
                  </a:lnTo>
                  <a:lnTo>
                    <a:pt x="39" y="83"/>
                  </a:lnTo>
                  <a:lnTo>
                    <a:pt x="50" y="100"/>
                  </a:lnTo>
                  <a:lnTo>
                    <a:pt x="52" y="123"/>
                  </a:lnTo>
                  <a:lnTo>
                    <a:pt x="64" y="121"/>
                  </a:lnTo>
                  <a:lnTo>
                    <a:pt x="75" y="112"/>
                  </a:lnTo>
                  <a:lnTo>
                    <a:pt x="91" y="113"/>
                  </a:lnTo>
                  <a:lnTo>
                    <a:pt x="111" y="125"/>
                  </a:lnTo>
                  <a:lnTo>
                    <a:pt x="123" y="138"/>
                  </a:lnTo>
                  <a:lnTo>
                    <a:pt x="128" y="140"/>
                  </a:lnTo>
                  <a:lnTo>
                    <a:pt x="132" y="147"/>
                  </a:lnTo>
                  <a:lnTo>
                    <a:pt x="145" y="150"/>
                  </a:lnTo>
                  <a:lnTo>
                    <a:pt x="145" y="112"/>
                  </a:lnTo>
                  <a:lnTo>
                    <a:pt x="129" y="20"/>
                  </a:lnTo>
                  <a:lnTo>
                    <a:pt x="132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93</a:t>
              </a:r>
            </a:p>
          </p:txBody>
        </p:sp>
        <p:sp>
          <p:nvSpPr>
            <p:cNvPr id="197" name="FR-75">
              <a:extLst>
                <a:ext uri="{FF2B5EF4-FFF2-40B4-BE49-F238E27FC236}">
                  <a16:creationId xmlns:a16="http://schemas.microsoft.com/office/drawing/2014/main" id="{423D3BE7-0DDB-4BD5-9302-CAE43DC686F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442303" y="1578405"/>
              <a:ext cx="116589" cy="63439"/>
            </a:xfrm>
            <a:custGeom>
              <a:avLst/>
              <a:gdLst>
                <a:gd name="T0" fmla="*/ 81 w 120"/>
                <a:gd name="T1" fmla="*/ 0 h 67"/>
                <a:gd name="T2" fmla="*/ 47 w 120"/>
                <a:gd name="T3" fmla="*/ 0 h 67"/>
                <a:gd name="T4" fmla="*/ 32 w 120"/>
                <a:gd name="T5" fmla="*/ 7 h 67"/>
                <a:gd name="T6" fmla="*/ 26 w 120"/>
                <a:gd name="T7" fmla="*/ 15 h 67"/>
                <a:gd name="T8" fmla="*/ 12 w 120"/>
                <a:gd name="T9" fmla="*/ 16 h 67"/>
                <a:gd name="T10" fmla="*/ 0 w 120"/>
                <a:gd name="T11" fmla="*/ 30 h 67"/>
                <a:gd name="T12" fmla="*/ 0 w 120"/>
                <a:gd name="T13" fmla="*/ 38 h 67"/>
                <a:gd name="T14" fmla="*/ 3 w 120"/>
                <a:gd name="T15" fmla="*/ 47 h 67"/>
                <a:gd name="T16" fmla="*/ 24 w 120"/>
                <a:gd name="T17" fmla="*/ 53 h 67"/>
                <a:gd name="T18" fmla="*/ 49 w 120"/>
                <a:gd name="T19" fmla="*/ 66 h 67"/>
                <a:gd name="T20" fmla="*/ 66 w 120"/>
                <a:gd name="T21" fmla="*/ 67 h 67"/>
                <a:gd name="T22" fmla="*/ 77 w 120"/>
                <a:gd name="T23" fmla="*/ 64 h 67"/>
                <a:gd name="T24" fmla="*/ 88 w 120"/>
                <a:gd name="T25" fmla="*/ 56 h 67"/>
                <a:gd name="T26" fmla="*/ 92 w 120"/>
                <a:gd name="T27" fmla="*/ 59 h 67"/>
                <a:gd name="T28" fmla="*/ 116 w 120"/>
                <a:gd name="T29" fmla="*/ 63 h 67"/>
                <a:gd name="T30" fmla="*/ 120 w 120"/>
                <a:gd name="T31" fmla="*/ 54 h 67"/>
                <a:gd name="T32" fmla="*/ 120 w 120"/>
                <a:gd name="T33" fmla="*/ 45 h 67"/>
                <a:gd name="T34" fmla="*/ 116 w 120"/>
                <a:gd name="T35" fmla="*/ 44 h 67"/>
                <a:gd name="T36" fmla="*/ 99 w 120"/>
                <a:gd name="T37" fmla="*/ 44 h 67"/>
                <a:gd name="T38" fmla="*/ 100 w 120"/>
                <a:gd name="T39" fmla="*/ 49 h 67"/>
                <a:gd name="T40" fmla="*/ 97 w 120"/>
                <a:gd name="T41" fmla="*/ 51 h 67"/>
                <a:gd name="T42" fmla="*/ 92 w 120"/>
                <a:gd name="T43" fmla="*/ 51 h 67"/>
                <a:gd name="T44" fmla="*/ 94 w 120"/>
                <a:gd name="T45" fmla="*/ 46 h 67"/>
                <a:gd name="T46" fmla="*/ 95 w 120"/>
                <a:gd name="T47" fmla="*/ 40 h 67"/>
                <a:gd name="T48" fmla="*/ 94 w 120"/>
                <a:gd name="T49" fmla="*/ 40 h 67"/>
                <a:gd name="T50" fmla="*/ 92 w 120"/>
                <a:gd name="T51" fmla="*/ 17 h 67"/>
                <a:gd name="T52" fmla="*/ 81 w 120"/>
                <a:gd name="T53" fmla="*/ 0 h 67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20"/>
                <a:gd name="T82" fmla="*/ 0 h 67"/>
                <a:gd name="T83" fmla="*/ 120 w 120"/>
                <a:gd name="T84" fmla="*/ 67 h 67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20" h="67">
                  <a:moveTo>
                    <a:pt x="81" y="0"/>
                  </a:moveTo>
                  <a:lnTo>
                    <a:pt x="47" y="0"/>
                  </a:lnTo>
                  <a:lnTo>
                    <a:pt x="32" y="7"/>
                  </a:lnTo>
                  <a:lnTo>
                    <a:pt x="26" y="15"/>
                  </a:lnTo>
                  <a:lnTo>
                    <a:pt x="12" y="16"/>
                  </a:lnTo>
                  <a:lnTo>
                    <a:pt x="0" y="30"/>
                  </a:lnTo>
                  <a:lnTo>
                    <a:pt x="0" y="38"/>
                  </a:lnTo>
                  <a:lnTo>
                    <a:pt x="3" y="47"/>
                  </a:lnTo>
                  <a:lnTo>
                    <a:pt x="24" y="53"/>
                  </a:lnTo>
                  <a:lnTo>
                    <a:pt x="49" y="66"/>
                  </a:lnTo>
                  <a:lnTo>
                    <a:pt x="66" y="67"/>
                  </a:lnTo>
                  <a:lnTo>
                    <a:pt x="77" y="64"/>
                  </a:lnTo>
                  <a:lnTo>
                    <a:pt x="88" y="56"/>
                  </a:lnTo>
                  <a:lnTo>
                    <a:pt x="92" y="59"/>
                  </a:lnTo>
                  <a:lnTo>
                    <a:pt x="116" y="63"/>
                  </a:lnTo>
                  <a:lnTo>
                    <a:pt x="120" y="54"/>
                  </a:lnTo>
                  <a:lnTo>
                    <a:pt x="120" y="45"/>
                  </a:lnTo>
                  <a:lnTo>
                    <a:pt x="116" y="44"/>
                  </a:lnTo>
                  <a:lnTo>
                    <a:pt x="99" y="44"/>
                  </a:lnTo>
                  <a:lnTo>
                    <a:pt x="100" y="49"/>
                  </a:lnTo>
                  <a:lnTo>
                    <a:pt x="97" y="51"/>
                  </a:lnTo>
                  <a:lnTo>
                    <a:pt x="92" y="51"/>
                  </a:lnTo>
                  <a:lnTo>
                    <a:pt x="94" y="46"/>
                  </a:lnTo>
                  <a:lnTo>
                    <a:pt x="95" y="40"/>
                  </a:lnTo>
                  <a:lnTo>
                    <a:pt x="94" y="40"/>
                  </a:lnTo>
                  <a:lnTo>
                    <a:pt x="92" y="17"/>
                  </a:lnTo>
                  <a:lnTo>
                    <a:pt x="81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75</a:t>
              </a:r>
            </a:p>
          </p:txBody>
        </p:sp>
        <p:sp>
          <p:nvSpPr>
            <p:cNvPr id="198" name="FR-92">
              <a:extLst>
                <a:ext uri="{FF2B5EF4-FFF2-40B4-BE49-F238E27FC236}">
                  <a16:creationId xmlns:a16="http://schemas.microsoft.com/office/drawing/2014/main" id="{BD39F0C8-ABE2-4C40-84E4-0BE8E1A576A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410241" y="1536743"/>
              <a:ext cx="85499" cy="160965"/>
            </a:xfrm>
            <a:custGeom>
              <a:avLst/>
              <a:gdLst>
                <a:gd name="T0" fmla="*/ 75 w 88"/>
                <a:gd name="T1" fmla="*/ 0 h 170"/>
                <a:gd name="T2" fmla="*/ 28 w 88"/>
                <a:gd name="T3" fmla="*/ 25 h 170"/>
                <a:gd name="T4" fmla="*/ 23 w 88"/>
                <a:gd name="T5" fmla="*/ 26 h 170"/>
                <a:gd name="T6" fmla="*/ 0 w 88"/>
                <a:gd name="T7" fmla="*/ 76 h 170"/>
                <a:gd name="T8" fmla="*/ 15 w 88"/>
                <a:gd name="T9" fmla="*/ 116 h 170"/>
                <a:gd name="T10" fmla="*/ 38 w 88"/>
                <a:gd name="T11" fmla="*/ 142 h 170"/>
                <a:gd name="T12" fmla="*/ 38 w 88"/>
                <a:gd name="T13" fmla="*/ 145 h 170"/>
                <a:gd name="T14" fmla="*/ 74 w 88"/>
                <a:gd name="T15" fmla="*/ 170 h 170"/>
                <a:gd name="T16" fmla="*/ 83 w 88"/>
                <a:gd name="T17" fmla="*/ 166 h 170"/>
                <a:gd name="T18" fmla="*/ 76 w 88"/>
                <a:gd name="T19" fmla="*/ 153 h 170"/>
                <a:gd name="T20" fmla="*/ 83 w 88"/>
                <a:gd name="T21" fmla="*/ 133 h 170"/>
                <a:gd name="T22" fmla="*/ 79 w 88"/>
                <a:gd name="T23" fmla="*/ 126 h 170"/>
                <a:gd name="T24" fmla="*/ 83 w 88"/>
                <a:gd name="T25" fmla="*/ 110 h 170"/>
                <a:gd name="T26" fmla="*/ 82 w 88"/>
                <a:gd name="T27" fmla="*/ 110 h 170"/>
                <a:gd name="T28" fmla="*/ 57 w 88"/>
                <a:gd name="T29" fmla="*/ 97 h 170"/>
                <a:gd name="T30" fmla="*/ 36 w 88"/>
                <a:gd name="T31" fmla="*/ 91 h 170"/>
                <a:gd name="T32" fmla="*/ 33 w 88"/>
                <a:gd name="T33" fmla="*/ 82 h 170"/>
                <a:gd name="T34" fmla="*/ 33 w 88"/>
                <a:gd name="T35" fmla="*/ 74 h 170"/>
                <a:gd name="T36" fmla="*/ 45 w 88"/>
                <a:gd name="T37" fmla="*/ 60 h 170"/>
                <a:gd name="T38" fmla="*/ 59 w 88"/>
                <a:gd name="T39" fmla="*/ 59 h 170"/>
                <a:gd name="T40" fmla="*/ 65 w 88"/>
                <a:gd name="T41" fmla="*/ 51 h 170"/>
                <a:gd name="T42" fmla="*/ 80 w 88"/>
                <a:gd name="T43" fmla="*/ 44 h 170"/>
                <a:gd name="T44" fmla="*/ 75 w 88"/>
                <a:gd name="T45" fmla="*/ 32 h 170"/>
                <a:gd name="T46" fmla="*/ 82 w 88"/>
                <a:gd name="T47" fmla="*/ 31 h 170"/>
                <a:gd name="T48" fmla="*/ 88 w 88"/>
                <a:gd name="T49" fmla="*/ 19 h 170"/>
                <a:gd name="T50" fmla="*/ 82 w 88"/>
                <a:gd name="T51" fmla="*/ 11 h 170"/>
                <a:gd name="T52" fmla="*/ 77 w 88"/>
                <a:gd name="T53" fmla="*/ 10 h 170"/>
                <a:gd name="T54" fmla="*/ 75 w 88"/>
                <a:gd name="T55" fmla="*/ 0 h 17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8"/>
                <a:gd name="T85" fmla="*/ 0 h 170"/>
                <a:gd name="T86" fmla="*/ 88 w 88"/>
                <a:gd name="T87" fmla="*/ 170 h 17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8" h="170">
                  <a:moveTo>
                    <a:pt x="75" y="0"/>
                  </a:moveTo>
                  <a:lnTo>
                    <a:pt x="28" y="25"/>
                  </a:lnTo>
                  <a:lnTo>
                    <a:pt x="23" y="26"/>
                  </a:lnTo>
                  <a:lnTo>
                    <a:pt x="0" y="76"/>
                  </a:lnTo>
                  <a:lnTo>
                    <a:pt x="15" y="116"/>
                  </a:lnTo>
                  <a:lnTo>
                    <a:pt x="38" y="142"/>
                  </a:lnTo>
                  <a:lnTo>
                    <a:pt x="38" y="145"/>
                  </a:lnTo>
                  <a:lnTo>
                    <a:pt x="74" y="170"/>
                  </a:lnTo>
                  <a:lnTo>
                    <a:pt x="83" y="166"/>
                  </a:lnTo>
                  <a:lnTo>
                    <a:pt x="76" y="153"/>
                  </a:lnTo>
                  <a:lnTo>
                    <a:pt x="83" y="133"/>
                  </a:lnTo>
                  <a:lnTo>
                    <a:pt x="79" y="126"/>
                  </a:lnTo>
                  <a:lnTo>
                    <a:pt x="83" y="110"/>
                  </a:lnTo>
                  <a:lnTo>
                    <a:pt x="82" y="110"/>
                  </a:lnTo>
                  <a:lnTo>
                    <a:pt x="57" y="97"/>
                  </a:lnTo>
                  <a:lnTo>
                    <a:pt x="36" y="91"/>
                  </a:lnTo>
                  <a:lnTo>
                    <a:pt x="33" y="82"/>
                  </a:lnTo>
                  <a:lnTo>
                    <a:pt x="33" y="74"/>
                  </a:lnTo>
                  <a:lnTo>
                    <a:pt x="45" y="60"/>
                  </a:lnTo>
                  <a:lnTo>
                    <a:pt x="59" y="59"/>
                  </a:lnTo>
                  <a:lnTo>
                    <a:pt x="65" y="51"/>
                  </a:lnTo>
                  <a:lnTo>
                    <a:pt x="80" y="44"/>
                  </a:lnTo>
                  <a:lnTo>
                    <a:pt x="75" y="32"/>
                  </a:lnTo>
                  <a:lnTo>
                    <a:pt x="82" y="31"/>
                  </a:lnTo>
                  <a:lnTo>
                    <a:pt x="88" y="19"/>
                  </a:lnTo>
                  <a:lnTo>
                    <a:pt x="82" y="11"/>
                  </a:lnTo>
                  <a:lnTo>
                    <a:pt x="77" y="10"/>
                  </a:lnTo>
                  <a:lnTo>
                    <a:pt x="75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92</a:t>
              </a:r>
            </a:p>
          </p:txBody>
        </p:sp>
        <p:sp>
          <p:nvSpPr>
            <p:cNvPr id="199" name="FR-94">
              <a:extLst>
                <a:ext uri="{FF2B5EF4-FFF2-40B4-BE49-F238E27FC236}">
                  <a16:creationId xmlns:a16="http://schemas.microsoft.com/office/drawing/2014/main" id="{00A6CF0A-A571-4253-BBF8-3317624848C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484081" y="1605864"/>
              <a:ext cx="139907" cy="108888"/>
            </a:xfrm>
            <a:custGeom>
              <a:avLst/>
              <a:gdLst>
                <a:gd name="T0" fmla="*/ 74 w 144"/>
                <a:gd name="T1" fmla="*/ 0 h 115"/>
                <a:gd name="T2" fmla="*/ 63 w 144"/>
                <a:gd name="T3" fmla="*/ 9 h 115"/>
                <a:gd name="T4" fmla="*/ 52 w 144"/>
                <a:gd name="T5" fmla="*/ 11 h 115"/>
                <a:gd name="T6" fmla="*/ 51 w 144"/>
                <a:gd name="T7" fmla="*/ 17 h 115"/>
                <a:gd name="T8" fmla="*/ 49 w 144"/>
                <a:gd name="T9" fmla="*/ 22 h 115"/>
                <a:gd name="T10" fmla="*/ 54 w 144"/>
                <a:gd name="T11" fmla="*/ 22 h 115"/>
                <a:gd name="T12" fmla="*/ 57 w 144"/>
                <a:gd name="T13" fmla="*/ 20 h 115"/>
                <a:gd name="T14" fmla="*/ 56 w 144"/>
                <a:gd name="T15" fmla="*/ 15 h 115"/>
                <a:gd name="T16" fmla="*/ 73 w 144"/>
                <a:gd name="T17" fmla="*/ 15 h 115"/>
                <a:gd name="T18" fmla="*/ 77 w 144"/>
                <a:gd name="T19" fmla="*/ 16 h 115"/>
                <a:gd name="T20" fmla="*/ 77 w 144"/>
                <a:gd name="T21" fmla="*/ 25 h 115"/>
                <a:gd name="T22" fmla="*/ 73 w 144"/>
                <a:gd name="T23" fmla="*/ 34 h 115"/>
                <a:gd name="T24" fmla="*/ 49 w 144"/>
                <a:gd name="T25" fmla="*/ 30 h 115"/>
                <a:gd name="T26" fmla="*/ 45 w 144"/>
                <a:gd name="T27" fmla="*/ 27 h 115"/>
                <a:gd name="T28" fmla="*/ 34 w 144"/>
                <a:gd name="T29" fmla="*/ 35 h 115"/>
                <a:gd name="T30" fmla="*/ 23 w 144"/>
                <a:gd name="T31" fmla="*/ 38 h 115"/>
                <a:gd name="T32" fmla="*/ 7 w 144"/>
                <a:gd name="T33" fmla="*/ 37 h 115"/>
                <a:gd name="T34" fmla="*/ 3 w 144"/>
                <a:gd name="T35" fmla="*/ 53 h 115"/>
                <a:gd name="T36" fmla="*/ 7 w 144"/>
                <a:gd name="T37" fmla="*/ 60 h 115"/>
                <a:gd name="T38" fmla="*/ 0 w 144"/>
                <a:gd name="T39" fmla="*/ 80 h 115"/>
                <a:gd name="T40" fmla="*/ 7 w 144"/>
                <a:gd name="T41" fmla="*/ 93 h 115"/>
                <a:gd name="T42" fmla="*/ 19 w 144"/>
                <a:gd name="T43" fmla="*/ 87 h 115"/>
                <a:gd name="T44" fmla="*/ 46 w 144"/>
                <a:gd name="T45" fmla="*/ 102 h 115"/>
                <a:gd name="T46" fmla="*/ 95 w 144"/>
                <a:gd name="T47" fmla="*/ 102 h 115"/>
                <a:gd name="T48" fmla="*/ 124 w 144"/>
                <a:gd name="T49" fmla="*/ 115 h 115"/>
                <a:gd name="T50" fmla="*/ 123 w 144"/>
                <a:gd name="T51" fmla="*/ 113 h 115"/>
                <a:gd name="T52" fmla="*/ 144 w 144"/>
                <a:gd name="T53" fmla="*/ 61 h 115"/>
                <a:gd name="T54" fmla="*/ 144 w 144"/>
                <a:gd name="T55" fmla="*/ 38 h 115"/>
                <a:gd name="T56" fmla="*/ 131 w 144"/>
                <a:gd name="T57" fmla="*/ 35 h 115"/>
                <a:gd name="T58" fmla="*/ 127 w 144"/>
                <a:gd name="T59" fmla="*/ 28 h 115"/>
                <a:gd name="T60" fmla="*/ 122 w 144"/>
                <a:gd name="T61" fmla="*/ 26 h 115"/>
                <a:gd name="T62" fmla="*/ 110 w 144"/>
                <a:gd name="T63" fmla="*/ 13 h 115"/>
                <a:gd name="T64" fmla="*/ 90 w 144"/>
                <a:gd name="T65" fmla="*/ 1 h 115"/>
                <a:gd name="T66" fmla="*/ 74 w 144"/>
                <a:gd name="T67" fmla="*/ 0 h 11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44"/>
                <a:gd name="T103" fmla="*/ 0 h 115"/>
                <a:gd name="T104" fmla="*/ 144 w 144"/>
                <a:gd name="T105" fmla="*/ 115 h 11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44" h="115">
                  <a:moveTo>
                    <a:pt x="74" y="0"/>
                  </a:moveTo>
                  <a:lnTo>
                    <a:pt x="63" y="9"/>
                  </a:lnTo>
                  <a:lnTo>
                    <a:pt x="52" y="11"/>
                  </a:lnTo>
                  <a:lnTo>
                    <a:pt x="51" y="17"/>
                  </a:lnTo>
                  <a:lnTo>
                    <a:pt x="49" y="22"/>
                  </a:lnTo>
                  <a:lnTo>
                    <a:pt x="54" y="22"/>
                  </a:lnTo>
                  <a:lnTo>
                    <a:pt x="57" y="20"/>
                  </a:lnTo>
                  <a:lnTo>
                    <a:pt x="56" y="15"/>
                  </a:lnTo>
                  <a:lnTo>
                    <a:pt x="73" y="15"/>
                  </a:lnTo>
                  <a:lnTo>
                    <a:pt x="77" y="16"/>
                  </a:lnTo>
                  <a:lnTo>
                    <a:pt x="77" y="25"/>
                  </a:lnTo>
                  <a:lnTo>
                    <a:pt x="73" y="34"/>
                  </a:lnTo>
                  <a:lnTo>
                    <a:pt x="49" y="30"/>
                  </a:lnTo>
                  <a:lnTo>
                    <a:pt x="45" y="27"/>
                  </a:lnTo>
                  <a:lnTo>
                    <a:pt x="34" y="35"/>
                  </a:lnTo>
                  <a:lnTo>
                    <a:pt x="23" y="38"/>
                  </a:lnTo>
                  <a:lnTo>
                    <a:pt x="7" y="37"/>
                  </a:lnTo>
                  <a:lnTo>
                    <a:pt x="3" y="53"/>
                  </a:lnTo>
                  <a:lnTo>
                    <a:pt x="7" y="60"/>
                  </a:lnTo>
                  <a:lnTo>
                    <a:pt x="0" y="80"/>
                  </a:lnTo>
                  <a:lnTo>
                    <a:pt x="7" y="93"/>
                  </a:lnTo>
                  <a:lnTo>
                    <a:pt x="19" y="87"/>
                  </a:lnTo>
                  <a:lnTo>
                    <a:pt x="46" y="102"/>
                  </a:lnTo>
                  <a:lnTo>
                    <a:pt x="95" y="102"/>
                  </a:lnTo>
                  <a:lnTo>
                    <a:pt x="124" y="115"/>
                  </a:lnTo>
                  <a:lnTo>
                    <a:pt x="123" y="113"/>
                  </a:lnTo>
                  <a:lnTo>
                    <a:pt x="144" y="61"/>
                  </a:lnTo>
                  <a:lnTo>
                    <a:pt x="144" y="38"/>
                  </a:lnTo>
                  <a:lnTo>
                    <a:pt x="131" y="35"/>
                  </a:lnTo>
                  <a:lnTo>
                    <a:pt x="127" y="28"/>
                  </a:lnTo>
                  <a:lnTo>
                    <a:pt x="122" y="26"/>
                  </a:lnTo>
                  <a:lnTo>
                    <a:pt x="110" y="13"/>
                  </a:lnTo>
                  <a:lnTo>
                    <a:pt x="90" y="1"/>
                  </a:lnTo>
                  <a:lnTo>
                    <a:pt x="74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lIns="0" rIns="0"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200" dirty="0">
                  <a:solidFill>
                    <a:schemeClr val="bg1"/>
                  </a:solidFill>
                  <a:latin typeface="+mj-lt"/>
                </a:rPr>
                <a:t>94</a:t>
              </a:r>
            </a:p>
          </p:txBody>
        </p:sp>
        <p:sp>
          <p:nvSpPr>
            <p:cNvPr id="200" name="FR-25">
              <a:extLst>
                <a:ext uri="{FF2B5EF4-FFF2-40B4-BE49-F238E27FC236}">
                  <a16:creationId xmlns:a16="http://schemas.microsoft.com/office/drawing/2014/main" id="{908CD983-27E2-4D9E-BE11-D1C75A1D372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195031" y="2470341"/>
              <a:ext cx="672332" cy="723396"/>
            </a:xfrm>
            <a:custGeom>
              <a:avLst/>
              <a:gdLst>
                <a:gd name="T0" fmla="*/ 505 w 692"/>
                <a:gd name="T1" fmla="*/ 0 h 764"/>
                <a:gd name="T2" fmla="*/ 503 w 692"/>
                <a:gd name="T3" fmla="*/ 3 h 764"/>
                <a:gd name="T4" fmla="*/ 473 w 692"/>
                <a:gd name="T5" fmla="*/ 3 h 764"/>
                <a:gd name="T6" fmla="*/ 458 w 692"/>
                <a:gd name="T7" fmla="*/ 24 h 764"/>
                <a:gd name="T8" fmla="*/ 438 w 692"/>
                <a:gd name="T9" fmla="*/ 35 h 764"/>
                <a:gd name="T10" fmla="*/ 438 w 692"/>
                <a:gd name="T11" fmla="*/ 62 h 764"/>
                <a:gd name="T12" fmla="*/ 389 w 692"/>
                <a:gd name="T13" fmla="*/ 67 h 764"/>
                <a:gd name="T14" fmla="*/ 363 w 692"/>
                <a:gd name="T15" fmla="*/ 49 h 764"/>
                <a:gd name="T16" fmla="*/ 328 w 692"/>
                <a:gd name="T17" fmla="*/ 54 h 764"/>
                <a:gd name="T18" fmla="*/ 294 w 692"/>
                <a:gd name="T19" fmla="*/ 80 h 764"/>
                <a:gd name="T20" fmla="*/ 270 w 692"/>
                <a:gd name="T21" fmla="*/ 122 h 764"/>
                <a:gd name="T22" fmla="*/ 245 w 692"/>
                <a:gd name="T23" fmla="*/ 129 h 764"/>
                <a:gd name="T24" fmla="*/ 234 w 692"/>
                <a:gd name="T25" fmla="*/ 157 h 764"/>
                <a:gd name="T26" fmla="*/ 204 w 692"/>
                <a:gd name="T27" fmla="*/ 162 h 764"/>
                <a:gd name="T28" fmla="*/ 163 w 692"/>
                <a:gd name="T29" fmla="*/ 196 h 764"/>
                <a:gd name="T30" fmla="*/ 109 w 692"/>
                <a:gd name="T31" fmla="*/ 195 h 764"/>
                <a:gd name="T32" fmla="*/ 92 w 692"/>
                <a:gd name="T33" fmla="*/ 207 h 764"/>
                <a:gd name="T34" fmla="*/ 77 w 692"/>
                <a:gd name="T35" fmla="*/ 207 h 764"/>
                <a:gd name="T36" fmla="*/ 25 w 692"/>
                <a:gd name="T37" fmla="*/ 250 h 764"/>
                <a:gd name="T38" fmla="*/ 1 w 692"/>
                <a:gd name="T39" fmla="*/ 250 h 764"/>
                <a:gd name="T40" fmla="*/ 0 w 692"/>
                <a:gd name="T41" fmla="*/ 265 h 764"/>
                <a:gd name="T42" fmla="*/ 4 w 692"/>
                <a:gd name="T43" fmla="*/ 293 h 764"/>
                <a:gd name="T44" fmla="*/ 38 w 692"/>
                <a:gd name="T45" fmla="*/ 316 h 764"/>
                <a:gd name="T46" fmla="*/ 57 w 692"/>
                <a:gd name="T47" fmla="*/ 340 h 764"/>
                <a:gd name="T48" fmla="*/ 51 w 692"/>
                <a:gd name="T49" fmla="*/ 366 h 764"/>
                <a:gd name="T50" fmla="*/ 34 w 692"/>
                <a:gd name="T51" fmla="*/ 406 h 764"/>
                <a:gd name="T52" fmla="*/ 23 w 692"/>
                <a:gd name="T53" fmla="*/ 432 h 764"/>
                <a:gd name="T54" fmla="*/ 96 w 692"/>
                <a:gd name="T55" fmla="*/ 456 h 764"/>
                <a:gd name="T56" fmla="*/ 143 w 692"/>
                <a:gd name="T57" fmla="*/ 452 h 764"/>
                <a:gd name="T58" fmla="*/ 146 w 692"/>
                <a:gd name="T59" fmla="*/ 492 h 764"/>
                <a:gd name="T60" fmla="*/ 146 w 692"/>
                <a:gd name="T61" fmla="*/ 544 h 764"/>
                <a:gd name="T62" fmla="*/ 204 w 692"/>
                <a:gd name="T63" fmla="*/ 563 h 764"/>
                <a:gd name="T64" fmla="*/ 230 w 692"/>
                <a:gd name="T65" fmla="*/ 570 h 764"/>
                <a:gd name="T66" fmla="*/ 268 w 692"/>
                <a:gd name="T67" fmla="*/ 606 h 764"/>
                <a:gd name="T68" fmla="*/ 264 w 692"/>
                <a:gd name="T69" fmla="*/ 636 h 764"/>
                <a:gd name="T70" fmla="*/ 247 w 692"/>
                <a:gd name="T71" fmla="*/ 660 h 764"/>
                <a:gd name="T72" fmla="*/ 200 w 692"/>
                <a:gd name="T73" fmla="*/ 675 h 764"/>
                <a:gd name="T74" fmla="*/ 212 w 692"/>
                <a:gd name="T75" fmla="*/ 701 h 764"/>
                <a:gd name="T76" fmla="*/ 217 w 692"/>
                <a:gd name="T77" fmla="*/ 722 h 764"/>
                <a:gd name="T78" fmla="*/ 197 w 692"/>
                <a:gd name="T79" fmla="*/ 742 h 764"/>
                <a:gd name="T80" fmla="*/ 199 w 692"/>
                <a:gd name="T81" fmla="*/ 761 h 764"/>
                <a:gd name="T82" fmla="*/ 230 w 692"/>
                <a:gd name="T83" fmla="*/ 764 h 764"/>
                <a:gd name="T84" fmla="*/ 231 w 692"/>
                <a:gd name="T85" fmla="*/ 761 h 764"/>
                <a:gd name="T86" fmla="*/ 392 w 692"/>
                <a:gd name="T87" fmla="*/ 610 h 764"/>
                <a:gd name="T88" fmla="*/ 387 w 692"/>
                <a:gd name="T89" fmla="*/ 485 h 764"/>
                <a:gd name="T90" fmla="*/ 444 w 692"/>
                <a:gd name="T91" fmla="*/ 457 h 764"/>
                <a:gd name="T92" fmla="*/ 483 w 692"/>
                <a:gd name="T93" fmla="*/ 438 h 764"/>
                <a:gd name="T94" fmla="*/ 520 w 692"/>
                <a:gd name="T95" fmla="*/ 405 h 764"/>
                <a:gd name="T96" fmla="*/ 523 w 692"/>
                <a:gd name="T97" fmla="*/ 355 h 764"/>
                <a:gd name="T98" fmla="*/ 559 w 692"/>
                <a:gd name="T99" fmla="*/ 337 h 764"/>
                <a:gd name="T100" fmla="*/ 642 w 692"/>
                <a:gd name="T101" fmla="*/ 240 h 764"/>
                <a:gd name="T102" fmla="*/ 629 w 692"/>
                <a:gd name="T103" fmla="*/ 209 h 764"/>
                <a:gd name="T104" fmla="*/ 658 w 692"/>
                <a:gd name="T105" fmla="*/ 196 h 764"/>
                <a:gd name="T106" fmla="*/ 692 w 692"/>
                <a:gd name="T107" fmla="*/ 155 h 764"/>
                <a:gd name="T108" fmla="*/ 673 w 692"/>
                <a:gd name="T109" fmla="*/ 136 h 764"/>
                <a:gd name="T110" fmla="*/ 611 w 692"/>
                <a:gd name="T111" fmla="*/ 149 h 764"/>
                <a:gd name="T112" fmla="*/ 608 w 692"/>
                <a:gd name="T113" fmla="*/ 139 h 764"/>
                <a:gd name="T114" fmla="*/ 666 w 692"/>
                <a:gd name="T115" fmla="*/ 72 h 764"/>
                <a:gd name="T116" fmla="*/ 505 w 692"/>
                <a:gd name="T117" fmla="*/ 0 h 7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92"/>
                <a:gd name="T178" fmla="*/ 0 h 764"/>
                <a:gd name="T179" fmla="*/ 692 w 692"/>
                <a:gd name="T180" fmla="*/ 764 h 7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92" h="764">
                  <a:moveTo>
                    <a:pt x="505" y="0"/>
                  </a:moveTo>
                  <a:lnTo>
                    <a:pt x="503" y="3"/>
                  </a:lnTo>
                  <a:lnTo>
                    <a:pt x="473" y="3"/>
                  </a:lnTo>
                  <a:lnTo>
                    <a:pt x="458" y="24"/>
                  </a:lnTo>
                  <a:lnTo>
                    <a:pt x="438" y="35"/>
                  </a:lnTo>
                  <a:lnTo>
                    <a:pt x="438" y="62"/>
                  </a:lnTo>
                  <a:lnTo>
                    <a:pt x="389" y="67"/>
                  </a:lnTo>
                  <a:lnTo>
                    <a:pt x="363" y="49"/>
                  </a:lnTo>
                  <a:lnTo>
                    <a:pt x="328" y="54"/>
                  </a:lnTo>
                  <a:lnTo>
                    <a:pt x="294" y="80"/>
                  </a:lnTo>
                  <a:lnTo>
                    <a:pt x="270" y="122"/>
                  </a:lnTo>
                  <a:lnTo>
                    <a:pt x="245" y="129"/>
                  </a:lnTo>
                  <a:lnTo>
                    <a:pt x="234" y="157"/>
                  </a:lnTo>
                  <a:lnTo>
                    <a:pt x="204" y="162"/>
                  </a:lnTo>
                  <a:lnTo>
                    <a:pt x="163" y="196"/>
                  </a:lnTo>
                  <a:lnTo>
                    <a:pt x="109" y="195"/>
                  </a:lnTo>
                  <a:lnTo>
                    <a:pt x="92" y="207"/>
                  </a:lnTo>
                  <a:lnTo>
                    <a:pt x="77" y="207"/>
                  </a:lnTo>
                  <a:lnTo>
                    <a:pt x="25" y="250"/>
                  </a:lnTo>
                  <a:lnTo>
                    <a:pt x="1" y="250"/>
                  </a:lnTo>
                  <a:lnTo>
                    <a:pt x="0" y="265"/>
                  </a:lnTo>
                  <a:lnTo>
                    <a:pt x="4" y="293"/>
                  </a:lnTo>
                  <a:lnTo>
                    <a:pt x="38" y="316"/>
                  </a:lnTo>
                  <a:lnTo>
                    <a:pt x="57" y="340"/>
                  </a:lnTo>
                  <a:lnTo>
                    <a:pt x="51" y="366"/>
                  </a:lnTo>
                  <a:lnTo>
                    <a:pt x="34" y="406"/>
                  </a:lnTo>
                  <a:lnTo>
                    <a:pt x="23" y="432"/>
                  </a:lnTo>
                  <a:lnTo>
                    <a:pt x="96" y="456"/>
                  </a:lnTo>
                  <a:lnTo>
                    <a:pt x="143" y="452"/>
                  </a:lnTo>
                  <a:lnTo>
                    <a:pt x="146" y="492"/>
                  </a:lnTo>
                  <a:lnTo>
                    <a:pt x="146" y="544"/>
                  </a:lnTo>
                  <a:lnTo>
                    <a:pt x="204" y="563"/>
                  </a:lnTo>
                  <a:lnTo>
                    <a:pt x="230" y="570"/>
                  </a:lnTo>
                  <a:lnTo>
                    <a:pt x="268" y="606"/>
                  </a:lnTo>
                  <a:lnTo>
                    <a:pt x="264" y="636"/>
                  </a:lnTo>
                  <a:lnTo>
                    <a:pt x="247" y="660"/>
                  </a:lnTo>
                  <a:lnTo>
                    <a:pt x="200" y="675"/>
                  </a:lnTo>
                  <a:lnTo>
                    <a:pt x="212" y="701"/>
                  </a:lnTo>
                  <a:lnTo>
                    <a:pt x="217" y="722"/>
                  </a:lnTo>
                  <a:lnTo>
                    <a:pt x="197" y="742"/>
                  </a:lnTo>
                  <a:lnTo>
                    <a:pt x="199" y="761"/>
                  </a:lnTo>
                  <a:lnTo>
                    <a:pt x="230" y="764"/>
                  </a:lnTo>
                  <a:lnTo>
                    <a:pt x="231" y="761"/>
                  </a:lnTo>
                  <a:lnTo>
                    <a:pt x="392" y="610"/>
                  </a:lnTo>
                  <a:lnTo>
                    <a:pt x="387" y="485"/>
                  </a:lnTo>
                  <a:lnTo>
                    <a:pt x="444" y="457"/>
                  </a:lnTo>
                  <a:lnTo>
                    <a:pt x="483" y="438"/>
                  </a:lnTo>
                  <a:lnTo>
                    <a:pt x="520" y="405"/>
                  </a:lnTo>
                  <a:lnTo>
                    <a:pt x="523" y="355"/>
                  </a:lnTo>
                  <a:lnTo>
                    <a:pt x="559" y="337"/>
                  </a:lnTo>
                  <a:lnTo>
                    <a:pt x="642" y="240"/>
                  </a:lnTo>
                  <a:lnTo>
                    <a:pt x="629" y="209"/>
                  </a:lnTo>
                  <a:lnTo>
                    <a:pt x="658" y="196"/>
                  </a:lnTo>
                  <a:lnTo>
                    <a:pt x="692" y="155"/>
                  </a:lnTo>
                  <a:lnTo>
                    <a:pt x="673" y="136"/>
                  </a:lnTo>
                  <a:lnTo>
                    <a:pt x="611" y="149"/>
                  </a:lnTo>
                  <a:lnTo>
                    <a:pt x="608" y="139"/>
                  </a:lnTo>
                  <a:lnTo>
                    <a:pt x="666" y="72"/>
                  </a:lnTo>
                  <a:lnTo>
                    <a:pt x="505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25</a:t>
              </a:r>
            </a:p>
          </p:txBody>
        </p:sp>
        <p:sp>
          <p:nvSpPr>
            <p:cNvPr id="201" name="FR-90">
              <a:extLst>
                <a:ext uri="{FF2B5EF4-FFF2-40B4-BE49-F238E27FC236}">
                  <a16:creationId xmlns:a16="http://schemas.microsoft.com/office/drawing/2014/main" id="{66E107D8-B5B5-4719-9988-6DE3F0A9E64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685678" y="2297067"/>
              <a:ext cx="199174" cy="241448"/>
            </a:xfrm>
            <a:custGeom>
              <a:avLst/>
              <a:gdLst>
                <a:gd name="T0" fmla="*/ 54 w 205"/>
                <a:gd name="T1" fmla="*/ 0 h 255"/>
                <a:gd name="T2" fmla="*/ 30 w 205"/>
                <a:gd name="T3" fmla="*/ 13 h 255"/>
                <a:gd name="T4" fmla="*/ 10 w 205"/>
                <a:gd name="T5" fmla="*/ 28 h 255"/>
                <a:gd name="T6" fmla="*/ 10 w 205"/>
                <a:gd name="T7" fmla="*/ 61 h 255"/>
                <a:gd name="T8" fmla="*/ 21 w 205"/>
                <a:gd name="T9" fmla="*/ 101 h 255"/>
                <a:gd name="T10" fmla="*/ 21 w 205"/>
                <a:gd name="T11" fmla="*/ 127 h 255"/>
                <a:gd name="T12" fmla="*/ 15 w 205"/>
                <a:gd name="T13" fmla="*/ 168 h 255"/>
                <a:gd name="T14" fmla="*/ 0 w 205"/>
                <a:gd name="T15" fmla="*/ 183 h 255"/>
                <a:gd name="T16" fmla="*/ 161 w 205"/>
                <a:gd name="T17" fmla="*/ 255 h 255"/>
                <a:gd name="T18" fmla="*/ 171 w 205"/>
                <a:gd name="T19" fmla="*/ 244 h 255"/>
                <a:gd name="T20" fmla="*/ 205 w 205"/>
                <a:gd name="T21" fmla="*/ 238 h 255"/>
                <a:gd name="T22" fmla="*/ 193 w 205"/>
                <a:gd name="T23" fmla="*/ 183 h 255"/>
                <a:gd name="T24" fmla="*/ 185 w 205"/>
                <a:gd name="T25" fmla="*/ 154 h 255"/>
                <a:gd name="T26" fmla="*/ 148 w 205"/>
                <a:gd name="T27" fmla="*/ 160 h 255"/>
                <a:gd name="T28" fmla="*/ 143 w 205"/>
                <a:gd name="T29" fmla="*/ 128 h 255"/>
                <a:gd name="T30" fmla="*/ 156 w 205"/>
                <a:gd name="T31" fmla="*/ 105 h 255"/>
                <a:gd name="T32" fmla="*/ 158 w 205"/>
                <a:gd name="T33" fmla="*/ 73 h 255"/>
                <a:gd name="T34" fmla="*/ 151 w 205"/>
                <a:gd name="T35" fmla="*/ 55 h 255"/>
                <a:gd name="T36" fmla="*/ 104 w 205"/>
                <a:gd name="T37" fmla="*/ 19 h 255"/>
                <a:gd name="T38" fmla="*/ 62 w 205"/>
                <a:gd name="T39" fmla="*/ 16 h 255"/>
                <a:gd name="T40" fmla="*/ 54 w 205"/>
                <a:gd name="T41" fmla="*/ 0 h 25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05"/>
                <a:gd name="T64" fmla="*/ 0 h 255"/>
                <a:gd name="T65" fmla="*/ 205 w 205"/>
                <a:gd name="T66" fmla="*/ 255 h 255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05" h="255">
                  <a:moveTo>
                    <a:pt x="54" y="0"/>
                  </a:moveTo>
                  <a:lnTo>
                    <a:pt x="30" y="13"/>
                  </a:lnTo>
                  <a:lnTo>
                    <a:pt x="10" y="28"/>
                  </a:lnTo>
                  <a:lnTo>
                    <a:pt x="10" y="61"/>
                  </a:lnTo>
                  <a:lnTo>
                    <a:pt x="21" y="101"/>
                  </a:lnTo>
                  <a:lnTo>
                    <a:pt x="21" y="127"/>
                  </a:lnTo>
                  <a:lnTo>
                    <a:pt x="15" y="168"/>
                  </a:lnTo>
                  <a:lnTo>
                    <a:pt x="0" y="183"/>
                  </a:lnTo>
                  <a:lnTo>
                    <a:pt x="161" y="255"/>
                  </a:lnTo>
                  <a:lnTo>
                    <a:pt x="171" y="244"/>
                  </a:lnTo>
                  <a:lnTo>
                    <a:pt x="205" y="238"/>
                  </a:lnTo>
                  <a:lnTo>
                    <a:pt x="193" y="183"/>
                  </a:lnTo>
                  <a:lnTo>
                    <a:pt x="185" y="154"/>
                  </a:lnTo>
                  <a:lnTo>
                    <a:pt x="148" y="160"/>
                  </a:lnTo>
                  <a:lnTo>
                    <a:pt x="143" y="128"/>
                  </a:lnTo>
                  <a:lnTo>
                    <a:pt x="156" y="105"/>
                  </a:lnTo>
                  <a:lnTo>
                    <a:pt x="158" y="73"/>
                  </a:lnTo>
                  <a:lnTo>
                    <a:pt x="151" y="55"/>
                  </a:lnTo>
                  <a:lnTo>
                    <a:pt x="104" y="19"/>
                  </a:lnTo>
                  <a:lnTo>
                    <a:pt x="62" y="16"/>
                  </a:lnTo>
                  <a:lnTo>
                    <a:pt x="54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anchor="ctr" anchorCtr="1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r>
                <a:rPr lang="fr-FR" sz="700" dirty="0">
                  <a:latin typeface="+mj-lt"/>
                </a:rPr>
                <a:t>90</a:t>
              </a:r>
            </a:p>
          </p:txBody>
        </p:sp>
      </p:grpSp>
      <p:sp>
        <p:nvSpPr>
          <p:cNvPr id="202" name="Flèche droite 9">
            <a:extLst>
              <a:ext uri="{FF2B5EF4-FFF2-40B4-BE49-F238E27FC236}">
                <a16:creationId xmlns:a16="http://schemas.microsoft.com/office/drawing/2014/main" id="{5851FE47-B461-4732-B7DC-21B98B34F962}"/>
              </a:ext>
            </a:extLst>
          </p:cNvPr>
          <p:cNvSpPr/>
          <p:nvPr/>
        </p:nvSpPr>
        <p:spPr>
          <a:xfrm>
            <a:off x="3872315" y="4876700"/>
            <a:ext cx="5711524" cy="521707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03" name="Group 1">
            <a:extLst>
              <a:ext uri="{FF2B5EF4-FFF2-40B4-BE49-F238E27FC236}">
                <a16:creationId xmlns:a16="http://schemas.microsoft.com/office/drawing/2014/main" id="{13CA94CC-31F5-48DE-B6F1-6A1417719C62}"/>
              </a:ext>
            </a:extLst>
          </p:cNvPr>
          <p:cNvGrpSpPr/>
          <p:nvPr/>
        </p:nvGrpSpPr>
        <p:grpSpPr>
          <a:xfrm>
            <a:off x="4642433" y="4299452"/>
            <a:ext cx="2566101" cy="354308"/>
            <a:chOff x="7679946" y="3926540"/>
            <a:chExt cx="2945757" cy="418991"/>
          </a:xfrm>
        </p:grpSpPr>
        <p:pic>
          <p:nvPicPr>
            <p:cNvPr id="204" name="Image 318">
              <a:extLst>
                <a:ext uri="{FF2B5EF4-FFF2-40B4-BE49-F238E27FC236}">
                  <a16:creationId xmlns:a16="http://schemas.microsoft.com/office/drawing/2014/main" id="{0B239883-013A-4D9E-929F-C4B9D73CB48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49773" y="3926540"/>
              <a:ext cx="675930" cy="418991"/>
            </a:xfrm>
            <a:prstGeom prst="rect">
              <a:avLst/>
            </a:prstGeom>
          </p:spPr>
        </p:pic>
        <p:sp>
          <p:nvSpPr>
            <p:cNvPr id="205" name="TextBox 19">
              <a:extLst>
                <a:ext uri="{FF2B5EF4-FFF2-40B4-BE49-F238E27FC236}">
                  <a16:creationId xmlns:a16="http://schemas.microsoft.com/office/drawing/2014/main" id="{02AA5BEE-E47A-43F9-A017-B64F8D297D64}"/>
                </a:ext>
              </a:extLst>
            </p:cNvPr>
            <p:cNvSpPr txBox="1"/>
            <p:nvPr/>
          </p:nvSpPr>
          <p:spPr>
            <a:xfrm>
              <a:off x="7679946" y="3990808"/>
              <a:ext cx="1491527" cy="290457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square" lIns="0" tIns="0" rIns="0" bIns="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4"/>
                  </a:solidFill>
                  <a:effectLst/>
                  <a:uLnTx/>
                  <a:uFillTx/>
                  <a:latin typeface="+mj-lt"/>
                  <a:ea typeface="+mn-ea"/>
                  <a:cs typeface="Calibri" panose="020F0502020204030204" pitchFamily="34" charset="0"/>
                </a:rPr>
                <a:t>e-prescription</a:t>
              </a:r>
            </a:p>
          </p:txBody>
        </p:sp>
        <p:cxnSp>
          <p:nvCxnSpPr>
            <p:cNvPr id="206" name="Connecteur droit avec flèche 321">
              <a:extLst>
                <a:ext uri="{FF2B5EF4-FFF2-40B4-BE49-F238E27FC236}">
                  <a16:creationId xmlns:a16="http://schemas.microsoft.com/office/drawing/2014/main" id="{E90B7D2E-4623-4D2D-A501-751A78F7F845}"/>
                </a:ext>
              </a:extLst>
            </p:cNvPr>
            <p:cNvCxnSpPr/>
            <p:nvPr/>
          </p:nvCxnSpPr>
          <p:spPr>
            <a:xfrm>
              <a:off x="9166358" y="4077892"/>
              <a:ext cx="522568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Connecteur droit avec flèche 322">
              <a:extLst>
                <a:ext uri="{FF2B5EF4-FFF2-40B4-BE49-F238E27FC236}">
                  <a16:creationId xmlns:a16="http://schemas.microsoft.com/office/drawing/2014/main" id="{92501157-FE0D-4161-A537-D3824C329E05}"/>
                </a:ext>
              </a:extLst>
            </p:cNvPr>
            <p:cNvCxnSpPr/>
            <p:nvPr/>
          </p:nvCxnSpPr>
          <p:spPr>
            <a:xfrm flipH="1" flipV="1">
              <a:off x="9231674" y="4230292"/>
              <a:ext cx="522568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08" name="Straight Arrow Connector 211">
            <a:extLst>
              <a:ext uri="{FF2B5EF4-FFF2-40B4-BE49-F238E27FC236}">
                <a16:creationId xmlns:a16="http://schemas.microsoft.com/office/drawing/2014/main" id="{B909B87F-5B9E-48E4-B89A-EBA85A12A20C}"/>
              </a:ext>
            </a:extLst>
          </p:cNvPr>
          <p:cNvCxnSpPr/>
          <p:nvPr/>
        </p:nvCxnSpPr>
        <p:spPr>
          <a:xfrm>
            <a:off x="523052" y="2475739"/>
            <a:ext cx="11196000" cy="0"/>
          </a:xfrm>
          <a:prstGeom prst="straightConnector1">
            <a:avLst/>
          </a:prstGeom>
          <a:ln w="5715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09" name="Table 5">
            <a:extLst>
              <a:ext uri="{FF2B5EF4-FFF2-40B4-BE49-F238E27FC236}">
                <a16:creationId xmlns:a16="http://schemas.microsoft.com/office/drawing/2014/main" id="{CF7690C2-3F52-4E1F-9FB8-8D3D277B97E5}"/>
              </a:ext>
            </a:extLst>
          </p:cNvPr>
          <p:cNvGraphicFramePr>
            <a:graphicFrameLocks noGrp="1"/>
          </p:cNvGraphicFramePr>
          <p:nvPr/>
        </p:nvGraphicFramePr>
        <p:xfrm>
          <a:off x="477794" y="1884840"/>
          <a:ext cx="1128651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57303">
                  <a:extLst>
                    <a:ext uri="{9D8B030D-6E8A-4147-A177-3AD203B41FA5}">
                      <a16:colId xmlns:a16="http://schemas.microsoft.com/office/drawing/2014/main" val="1652512686"/>
                    </a:ext>
                  </a:extLst>
                </a:gridCol>
                <a:gridCol w="2257303">
                  <a:extLst>
                    <a:ext uri="{9D8B030D-6E8A-4147-A177-3AD203B41FA5}">
                      <a16:colId xmlns:a16="http://schemas.microsoft.com/office/drawing/2014/main" val="3995955067"/>
                    </a:ext>
                  </a:extLst>
                </a:gridCol>
                <a:gridCol w="2257303">
                  <a:extLst>
                    <a:ext uri="{9D8B030D-6E8A-4147-A177-3AD203B41FA5}">
                      <a16:colId xmlns:a16="http://schemas.microsoft.com/office/drawing/2014/main" val="3615055145"/>
                    </a:ext>
                  </a:extLst>
                </a:gridCol>
                <a:gridCol w="2257303">
                  <a:extLst>
                    <a:ext uri="{9D8B030D-6E8A-4147-A177-3AD203B41FA5}">
                      <a16:colId xmlns:a16="http://schemas.microsoft.com/office/drawing/2014/main" val="3523427004"/>
                    </a:ext>
                  </a:extLst>
                </a:gridCol>
                <a:gridCol w="2257303">
                  <a:extLst>
                    <a:ext uri="{9D8B030D-6E8A-4147-A177-3AD203B41FA5}">
                      <a16:colId xmlns:a16="http://schemas.microsoft.com/office/drawing/2014/main" val="356666775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2020</a:t>
                      </a:r>
                    </a:p>
                  </a:txBody>
                  <a:tcP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2021</a:t>
                      </a:r>
                    </a:p>
                  </a:txBody>
                  <a:tcP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2022</a:t>
                      </a:r>
                    </a:p>
                  </a:txBody>
                  <a:tcP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2023</a:t>
                      </a:r>
                    </a:p>
                  </a:txBody>
                  <a:tcP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/>
                        <a:t>2024</a:t>
                      </a:r>
                    </a:p>
                  </a:txBody>
                  <a:tcPr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9530592"/>
                  </a:ext>
                </a:extLst>
              </a:tr>
            </a:tbl>
          </a:graphicData>
        </a:graphic>
      </p:graphicFrame>
      <p:sp>
        <p:nvSpPr>
          <p:cNvPr id="210" name="TextBox 213">
            <a:extLst>
              <a:ext uri="{FF2B5EF4-FFF2-40B4-BE49-F238E27FC236}">
                <a16:creationId xmlns:a16="http://schemas.microsoft.com/office/drawing/2014/main" id="{E7011B43-61BB-4192-A451-6AE5DB7D9E64}"/>
              </a:ext>
            </a:extLst>
          </p:cNvPr>
          <p:cNvSpPr txBox="1"/>
          <p:nvPr/>
        </p:nvSpPr>
        <p:spPr>
          <a:xfrm>
            <a:off x="414380" y="2570036"/>
            <a:ext cx="23347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rgbClr val="000000"/>
                </a:solidFill>
              </a:rPr>
              <a:t>Mise en production de la première version de la eP unifiée</a:t>
            </a:r>
          </a:p>
        </p:txBody>
      </p:sp>
      <p:sp>
        <p:nvSpPr>
          <p:cNvPr id="211" name="TextBox 214">
            <a:extLst>
              <a:ext uri="{FF2B5EF4-FFF2-40B4-BE49-F238E27FC236}">
                <a16:creationId xmlns:a16="http://schemas.microsoft.com/office/drawing/2014/main" id="{BE2B5B37-A21B-4FEC-AFCD-4B8EF89ECBC2}"/>
              </a:ext>
            </a:extLst>
          </p:cNvPr>
          <p:cNvSpPr txBox="1"/>
          <p:nvPr/>
        </p:nvSpPr>
        <p:spPr>
          <a:xfrm>
            <a:off x="2722352" y="2567722"/>
            <a:ext cx="23347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rgbClr val="000000"/>
                </a:solidFill>
              </a:rPr>
              <a:t>1ères préséries médecins et pharmaciens</a:t>
            </a:r>
          </a:p>
        </p:txBody>
      </p:sp>
      <p:sp>
        <p:nvSpPr>
          <p:cNvPr id="212" name="TextBox 215">
            <a:extLst>
              <a:ext uri="{FF2B5EF4-FFF2-40B4-BE49-F238E27FC236}">
                <a16:creationId xmlns:a16="http://schemas.microsoft.com/office/drawing/2014/main" id="{7E8FF30F-C4B9-438A-8329-DAEE8F7A9824}"/>
              </a:ext>
            </a:extLst>
          </p:cNvPr>
          <p:cNvSpPr txBox="1"/>
          <p:nvPr/>
        </p:nvSpPr>
        <p:spPr>
          <a:xfrm>
            <a:off x="4980536" y="2573129"/>
            <a:ext cx="23226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rgbClr val="000000"/>
                </a:solidFill>
              </a:rPr>
              <a:t>Déploiement progressif médecins et pharmacien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rgbClr val="000000"/>
                </a:solidFill>
              </a:rPr>
              <a:t>Préséries Prestataires LPP</a:t>
            </a:r>
          </a:p>
        </p:txBody>
      </p:sp>
      <p:sp>
        <p:nvSpPr>
          <p:cNvPr id="213" name="TextBox 216">
            <a:extLst>
              <a:ext uri="{FF2B5EF4-FFF2-40B4-BE49-F238E27FC236}">
                <a16:creationId xmlns:a16="http://schemas.microsoft.com/office/drawing/2014/main" id="{355F6BAF-47AA-4D8F-8255-707703BBC64C}"/>
              </a:ext>
            </a:extLst>
          </p:cNvPr>
          <p:cNvSpPr txBox="1"/>
          <p:nvPr/>
        </p:nvSpPr>
        <p:spPr>
          <a:xfrm>
            <a:off x="7229095" y="2548071"/>
            <a:ext cx="233182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rgbClr val="000000"/>
                </a:solidFill>
              </a:rPr>
              <a:t>Expérimentations EHPA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rgbClr val="000000"/>
                </a:solidFill>
              </a:rPr>
              <a:t>Démarrage biologistes, kinés, IDEL, Chirurgiens-dentistes et Sages-femmes</a:t>
            </a:r>
          </a:p>
        </p:txBody>
      </p:sp>
      <p:sp>
        <p:nvSpPr>
          <p:cNvPr id="214" name="TextBox 217">
            <a:extLst>
              <a:ext uri="{FF2B5EF4-FFF2-40B4-BE49-F238E27FC236}">
                <a16:creationId xmlns:a16="http://schemas.microsoft.com/office/drawing/2014/main" id="{152B632E-C2F2-469B-8F23-57E4668645FD}"/>
              </a:ext>
            </a:extLst>
          </p:cNvPr>
          <p:cNvSpPr txBox="1"/>
          <p:nvPr/>
        </p:nvSpPr>
        <p:spPr>
          <a:xfrm>
            <a:off x="9445791" y="2535967"/>
            <a:ext cx="23318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rgbClr val="000000"/>
                </a:solidFill>
              </a:rPr>
              <a:t>Généralisation tous PS</a:t>
            </a:r>
          </a:p>
        </p:txBody>
      </p:sp>
      <p:sp>
        <p:nvSpPr>
          <p:cNvPr id="215" name="TextBox 218">
            <a:extLst>
              <a:ext uri="{FF2B5EF4-FFF2-40B4-BE49-F238E27FC236}">
                <a16:creationId xmlns:a16="http://schemas.microsoft.com/office/drawing/2014/main" id="{45735190-1A84-48E1-88B0-34BA6AEAB009}"/>
              </a:ext>
            </a:extLst>
          </p:cNvPr>
          <p:cNvSpPr txBox="1"/>
          <p:nvPr/>
        </p:nvSpPr>
        <p:spPr>
          <a:xfrm>
            <a:off x="9983365" y="2765389"/>
            <a:ext cx="12731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dirty="0">
                <a:solidFill>
                  <a:srgbClr val="000000"/>
                </a:solidFill>
              </a:rPr>
              <a:t>~200 éditeurs</a:t>
            </a:r>
          </a:p>
        </p:txBody>
      </p:sp>
      <p:sp>
        <p:nvSpPr>
          <p:cNvPr id="216" name="Rectangle: Rounded Corners 2">
            <a:extLst>
              <a:ext uri="{FF2B5EF4-FFF2-40B4-BE49-F238E27FC236}">
                <a16:creationId xmlns:a16="http://schemas.microsoft.com/office/drawing/2014/main" id="{E3A2C7D0-9E9A-48C5-A076-76E868D61975}"/>
              </a:ext>
            </a:extLst>
          </p:cNvPr>
          <p:cNvSpPr/>
          <p:nvPr/>
        </p:nvSpPr>
        <p:spPr>
          <a:xfrm>
            <a:off x="5057066" y="3815777"/>
            <a:ext cx="4522805" cy="194704"/>
          </a:xfrm>
          <a:prstGeom prst="roundRect">
            <a:avLst/>
          </a:prstGeom>
          <a:solidFill>
            <a:srgbClr val="293173"/>
          </a:solidFill>
          <a:ln>
            <a:solidFill>
              <a:srgbClr val="29317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/>
              <a:t>SEGUR DE LA SANTE</a:t>
            </a:r>
          </a:p>
        </p:txBody>
      </p:sp>
      <p:sp>
        <p:nvSpPr>
          <p:cNvPr id="217" name="Slide Number Placeholder 2">
            <a:extLst>
              <a:ext uri="{FF2B5EF4-FFF2-40B4-BE49-F238E27FC236}">
                <a16:creationId xmlns:a16="http://schemas.microsoft.com/office/drawing/2014/main" id="{51B4C86F-D276-4DE3-8336-EB81821AEA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395469" y="6229647"/>
            <a:ext cx="720000" cy="288000"/>
          </a:xfrm>
        </p:spPr>
        <p:txBody>
          <a:bodyPr/>
          <a:lstStyle/>
          <a:p>
            <a:fld id="{975A587B-5814-4D9B-9598-FE9CB954CB01}" type="slidenum">
              <a:rPr lang="fr-FR" smtClean="0"/>
              <a:pPr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1795099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fr-FR" dirty="0"/>
              <a:t>04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3"/>
          </p:nvPr>
        </p:nvSpPr>
        <p:spPr>
          <a:xfrm>
            <a:off x="1538557" y="3000049"/>
            <a:ext cx="9201329" cy="1692000"/>
          </a:xfrm>
        </p:spPr>
        <p:txBody>
          <a:bodyPr/>
          <a:lstStyle/>
          <a:p>
            <a:r>
              <a:rPr lang="fr-FR" dirty="0"/>
              <a:t>Le planning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22</a:t>
            </a:fld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7477390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83988DA-FD72-4201-9704-AF5C4346B0C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23</a:t>
            </a:fld>
            <a:endParaRPr lang="fr-FR" dirty="0"/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id="{264E6045-8B24-4385-A68F-D2F01C4598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8660" y="494778"/>
            <a:ext cx="11196000" cy="1114817"/>
          </a:xfrm>
          <a:solidFill>
            <a:srgbClr val="0C419A"/>
          </a:solidFill>
        </p:spPr>
        <p:txBody>
          <a:bodyPr vert="horz"/>
          <a:lstStyle/>
          <a:p>
            <a:pPr>
              <a:lnSpc>
                <a:spcPts val="2700"/>
              </a:lnSpc>
            </a:pPr>
            <a:r>
              <a:rPr lang="fr-FR" altLang="fr-FR" dirty="0">
                <a:latin typeface="+mn-lt"/>
              </a:rPr>
              <a:t>Les leviers du déploiement de la e-prescription</a:t>
            </a:r>
            <a:br>
              <a:rPr lang="fr-FR" altLang="fr-FR" dirty="0">
                <a:latin typeface="+mn-lt"/>
              </a:rPr>
            </a:br>
            <a:r>
              <a:rPr lang="fr-FR" altLang="fr-FR" b="0" dirty="0">
                <a:latin typeface="+mn-lt"/>
              </a:rPr>
              <a:t>SEGUR de la santé</a:t>
            </a:r>
            <a:endParaRPr lang="fr-FR" altLang="fr-FR" b="0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35" name="Espace réservé du texte 2">
            <a:extLst>
              <a:ext uri="{FF2B5EF4-FFF2-40B4-BE49-F238E27FC236}">
                <a16:creationId xmlns:a16="http://schemas.microsoft.com/office/drawing/2014/main" id="{79DECAB2-5E07-4164-AB1F-D6AD89B6E4A6}"/>
              </a:ext>
            </a:extLst>
          </p:cNvPr>
          <p:cNvSpPr txBox="1">
            <a:spLocks/>
          </p:cNvSpPr>
          <p:nvPr/>
        </p:nvSpPr>
        <p:spPr>
          <a:xfrm>
            <a:off x="999634" y="2160991"/>
            <a:ext cx="10568479" cy="2229937"/>
          </a:xfrm>
          <a:prstGeom prst="rect">
            <a:avLst/>
          </a:prstGeom>
          <a:noFill/>
          <a:ln w="3175">
            <a:solidFill>
              <a:srgbClr val="4C6C9C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144000" indent="-144000">
              <a:buFont typeface="Arial" panose="020B0604020202020204" pitchFamily="34" charset="0"/>
              <a:buChar char="•"/>
              <a:defRPr sz="1400" b="1"/>
            </a:lvl1pPr>
            <a:lvl2pPr marL="0" lvl="1" algn="just">
              <a:spcBef>
                <a:spcPts val="800"/>
              </a:spcBef>
              <a:spcAft>
                <a:spcPts val="800"/>
              </a:spcAft>
              <a:defRPr sz="1550">
                <a:solidFill>
                  <a:schemeClr val="bg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indent="0">
              <a:buNone/>
            </a:pPr>
            <a:endParaRPr lang="fr-FR" b="0" i="1" dirty="0">
              <a:solidFill>
                <a:srgbClr val="0C419A"/>
              </a:solidFill>
            </a:endParaRPr>
          </a:p>
        </p:txBody>
      </p:sp>
      <p:pic>
        <p:nvPicPr>
          <p:cNvPr id="45" name="Graphic 44" descr="Flip calendar outline">
            <a:extLst>
              <a:ext uri="{FF2B5EF4-FFF2-40B4-BE49-F238E27FC236}">
                <a16:creationId xmlns:a16="http://schemas.microsoft.com/office/drawing/2014/main" id="{2541AF5D-85F5-4D64-B467-BCD44CEE2B2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2500" t="13021" r="11979" b="13802"/>
          <a:stretch/>
        </p:blipFill>
        <p:spPr>
          <a:xfrm>
            <a:off x="641168" y="1751460"/>
            <a:ext cx="318999" cy="309099"/>
          </a:xfrm>
          <a:prstGeom prst="rect">
            <a:avLst/>
          </a:prstGeom>
        </p:spPr>
      </p:pic>
      <p:sp>
        <p:nvSpPr>
          <p:cNvPr id="46" name="TextBox 9">
            <a:extLst>
              <a:ext uri="{FF2B5EF4-FFF2-40B4-BE49-F238E27FC236}">
                <a16:creationId xmlns:a16="http://schemas.microsoft.com/office/drawing/2014/main" id="{6889217D-76ED-4F3F-96DC-5C3C5AD7D3F6}"/>
              </a:ext>
            </a:extLst>
          </p:cNvPr>
          <p:cNvSpPr txBox="1"/>
          <p:nvPr/>
        </p:nvSpPr>
        <p:spPr>
          <a:xfrm>
            <a:off x="999634" y="1745252"/>
            <a:ext cx="5251753" cy="318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/>
              <a:t>Préparation du déploiement et leviers</a:t>
            </a:r>
            <a:endParaRPr lang="fr-FR" sz="1400" dirty="0"/>
          </a:p>
        </p:txBody>
      </p:sp>
      <p:sp>
        <p:nvSpPr>
          <p:cNvPr id="10" name="TextBox 12">
            <a:extLst>
              <a:ext uri="{FF2B5EF4-FFF2-40B4-BE49-F238E27FC236}">
                <a16:creationId xmlns:a16="http://schemas.microsoft.com/office/drawing/2014/main" id="{EA6C69B5-51D9-4EFC-A071-6F7CD36EB441}"/>
              </a:ext>
            </a:extLst>
          </p:cNvPr>
          <p:cNvSpPr txBox="1"/>
          <p:nvPr/>
        </p:nvSpPr>
        <p:spPr>
          <a:xfrm>
            <a:off x="623888" y="2180277"/>
            <a:ext cx="10655470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1950"/>
            <a:r>
              <a:rPr lang="fr-FR" sz="1200" b="1" dirty="0"/>
              <a:t>La e-prescription est une exigence du SEGUR de la Santé Vague 1 des volets Médecine de ville et Pharmacie</a:t>
            </a:r>
            <a:r>
              <a:rPr lang="fr-FR" sz="1200" dirty="0"/>
              <a:t>. </a:t>
            </a:r>
            <a:br>
              <a:rPr lang="fr-FR" sz="1200" dirty="0"/>
            </a:br>
            <a:br>
              <a:rPr lang="fr-FR" sz="1200" dirty="0"/>
            </a:br>
            <a:r>
              <a:rPr lang="fr-FR" sz="1200" dirty="0"/>
              <a:t>Les échéances sont les suivantes :</a:t>
            </a:r>
          </a:p>
          <a:p>
            <a:pPr marL="361950"/>
            <a:endParaRPr lang="fr-FR" sz="1200" dirty="0"/>
          </a:p>
          <a:p>
            <a:pPr marL="533400" indent="-171450">
              <a:buFont typeface="Arial" panose="020B0604020202020204" pitchFamily="34" charset="0"/>
              <a:buChar char="•"/>
            </a:pPr>
            <a:r>
              <a:rPr lang="fr-FR" sz="1200" dirty="0"/>
              <a:t>Pour les médecins : les commandes de logicielles doivent être passées au plus tard le 30/11/2022 et l’installation des logiciels doit être réalisée avant le 28/04/2023</a:t>
            </a:r>
          </a:p>
          <a:p>
            <a:pPr marL="533400" indent="-171450">
              <a:buFont typeface="Arial" panose="020B0604020202020204" pitchFamily="34" charset="0"/>
              <a:buChar char="•"/>
            </a:pPr>
            <a:endParaRPr lang="fr-FR" sz="1200" dirty="0"/>
          </a:p>
          <a:p>
            <a:pPr marL="533400" indent="-171450">
              <a:buFont typeface="Arial" panose="020B0604020202020204" pitchFamily="34" charset="0"/>
              <a:buChar char="•"/>
            </a:pPr>
            <a:r>
              <a:rPr lang="fr-FR" sz="1200" dirty="0"/>
              <a:t>Pour les pharmaciens : les commandes de logicielles doivent être passées au plus tard le 15/03/2023 et l’installation des logiciels doit être réalisée avant le 28/04/2023</a:t>
            </a:r>
          </a:p>
          <a:p>
            <a:endParaRPr lang="fr-FR" sz="1200" dirty="0">
              <a:highlight>
                <a:srgbClr val="FFFF00"/>
              </a:highlight>
            </a:endParaRPr>
          </a:p>
          <a:p>
            <a:pPr marL="361950"/>
            <a:r>
              <a:rPr lang="fr-FR" sz="1200" b="1" dirty="0"/>
              <a:t>Aucune indemnisation n’est prévue à date pour les professionnels de santé de la LPP</a:t>
            </a:r>
          </a:p>
        </p:txBody>
      </p:sp>
    </p:spTree>
    <p:extLst>
      <p:ext uri="{BB962C8B-B14F-4D97-AF65-F5344CB8AC3E}">
        <p14:creationId xmlns:p14="http://schemas.microsoft.com/office/powerpoint/2010/main" val="406912880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E610445-BD4E-40FD-A97C-66F731845504}"/>
              </a:ext>
            </a:extLst>
          </p:cNvPr>
          <p:cNvSpPr/>
          <p:nvPr/>
        </p:nvSpPr>
        <p:spPr>
          <a:xfrm>
            <a:off x="9169052" y="5999967"/>
            <a:ext cx="2768252" cy="7828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E1B86CA7-A4D8-49B8-AC14-8B766575BA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E1B86CA7-A4D8-49B8-AC14-8B766575BA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98660" y="360000"/>
            <a:ext cx="11196000" cy="782876"/>
          </a:xfrm>
        </p:spPr>
        <p:txBody>
          <a:bodyPr vert="horz">
            <a:normAutofit/>
          </a:bodyPr>
          <a:lstStyle/>
          <a:p>
            <a:r>
              <a:rPr lang="fr-FR" sz="2000" dirty="0"/>
              <a:t>Rôle de la CPAM dans le cadre d’une présérie sur son périmètre 1/2</a:t>
            </a:r>
          </a:p>
        </p:txBody>
      </p:sp>
      <p:sp>
        <p:nvSpPr>
          <p:cNvPr id="9" name="Rectangle: Rounded Corners 47">
            <a:extLst>
              <a:ext uri="{FF2B5EF4-FFF2-40B4-BE49-F238E27FC236}">
                <a16:creationId xmlns:a16="http://schemas.microsoft.com/office/drawing/2014/main" id="{73BBB1E5-2386-4B8E-9F7A-2CA3176D33D9}"/>
              </a:ext>
            </a:extLst>
          </p:cNvPr>
          <p:cNvSpPr/>
          <p:nvPr/>
        </p:nvSpPr>
        <p:spPr>
          <a:xfrm>
            <a:off x="497339" y="1424231"/>
            <a:ext cx="11195999" cy="4496738"/>
          </a:xfrm>
          <a:prstGeom prst="roundRect">
            <a:avLst>
              <a:gd name="adj" fmla="val 6951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16000" lvl="1" indent="-216000" eaLnBrk="0" fontAlgn="base" hangingPunct="0">
              <a:spcBef>
                <a:spcPts val="100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>
                <a:tab pos="269875" algn="l"/>
              </a:tabLst>
              <a:defRPr/>
            </a:pPr>
            <a:r>
              <a:rPr lang="fr-FR" sz="14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ier un référent Ordonnance Numérique </a:t>
            </a:r>
            <a:r>
              <a:rPr lang="fr-FR" sz="14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 sein de la CPAM qui sera en charge du suivi du sujet</a:t>
            </a:r>
          </a:p>
          <a:p>
            <a:pPr marL="216000" lvl="1" indent="-216000" eaLnBrk="0" fontAlgn="base" hangingPunct="0">
              <a:spcBef>
                <a:spcPts val="100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>
                <a:tab pos="269875" algn="l"/>
              </a:tabLst>
              <a:defRPr/>
            </a:pPr>
            <a:r>
              <a:rPr lang="fr-FR" sz="1450" b="1" dirty="0">
                <a:solidFill>
                  <a:schemeClr val="tx1"/>
                </a:solidFill>
              </a:rPr>
              <a:t>Création d’une liste de diffusion </a:t>
            </a:r>
            <a:r>
              <a:rPr lang="fr-FR" sz="1450" dirty="0">
                <a:solidFill>
                  <a:schemeClr val="tx1"/>
                </a:solidFill>
              </a:rPr>
              <a:t>au format </a:t>
            </a:r>
            <a:r>
              <a:rPr lang="fr-FR" sz="1450" dirty="0">
                <a:solidFill>
                  <a:schemeClr val="accent3">
                    <a:lumMod val="60000"/>
                    <a:lumOff val="40000"/>
                  </a:schemeClr>
                </a:solidFill>
                <a:hlinkClick r:id="rId5"/>
              </a:rPr>
              <a:t>epu.</a:t>
            </a:r>
            <a:r>
              <a:rPr lang="fr-FR" sz="1450" i="1" dirty="0">
                <a:solidFill>
                  <a:schemeClr val="accent3">
                    <a:lumMod val="60000"/>
                    <a:lumOff val="40000"/>
                  </a:schemeClr>
                </a:solidFill>
                <a:hlinkClick r:id="rId5"/>
              </a:rPr>
              <a:t>nomdelacaisse</a:t>
            </a:r>
            <a:r>
              <a:rPr lang="fr-FR" sz="1450" dirty="0">
                <a:solidFill>
                  <a:schemeClr val="accent3">
                    <a:lumMod val="60000"/>
                    <a:lumOff val="40000"/>
                  </a:schemeClr>
                </a:solidFill>
                <a:hlinkClick r:id="rId5"/>
              </a:rPr>
              <a:t>@assurance-maladie.fr</a:t>
            </a:r>
            <a:r>
              <a:rPr lang="fr-FR" sz="1450" dirty="0">
                <a:solidFill>
                  <a:schemeClr val="tx1"/>
                </a:solidFill>
              </a:rPr>
              <a:t> en utilisant la dénomination caisse reprise page 4 du document ci-après (ex: epu.cpam-cote-opale@assurance-maladie.fr)</a:t>
            </a:r>
          </a:p>
          <a:p>
            <a:pPr marL="216000" lvl="1" indent="-216000" eaLnBrk="0" fontAlgn="base" hangingPunct="0">
              <a:spcBef>
                <a:spcPts val="100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>
                <a:tab pos="269875" algn="l"/>
              </a:tabLst>
              <a:defRPr/>
            </a:pPr>
            <a:endParaRPr lang="fr-FR" sz="14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16000" lvl="1" indent="-216000" eaLnBrk="0" fontAlgn="base" hangingPunct="0">
              <a:spcBef>
                <a:spcPts val="100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>
                <a:tab pos="269875" algn="l"/>
              </a:tabLst>
              <a:defRPr/>
            </a:pPr>
            <a:r>
              <a:rPr lang="fr-FR" sz="14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iciper à la réunion de lancement de présérie</a:t>
            </a:r>
          </a:p>
          <a:p>
            <a:pPr marL="216000" lvl="1" indent="-216000" eaLnBrk="0" fontAlgn="base" hangingPunct="0">
              <a:spcBef>
                <a:spcPts val="100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>
                <a:tab pos="269875" algn="l"/>
              </a:tabLst>
              <a:defRPr/>
            </a:pPr>
            <a:r>
              <a:rPr lang="fr-FR" sz="14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liquer la e-prescription aux PS de présérie </a:t>
            </a:r>
            <a:r>
              <a:rPr lang="fr-FR" sz="14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s’appuyant sur les kits d’accompagnement fournis et mettre à disposition des PS un contact privilégié au sein de la CPAM</a:t>
            </a:r>
          </a:p>
          <a:p>
            <a:pPr marL="216000" lvl="1" indent="-216000" eaLnBrk="0" fontAlgn="base" hangingPunct="0">
              <a:spcBef>
                <a:spcPts val="100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>
                <a:tab pos="269875" algn="l"/>
              </a:tabLst>
              <a:defRPr/>
            </a:pPr>
            <a:r>
              <a:rPr lang="fr-FR" sz="14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ister l’éditeur dans l’organisation des installations du module e-prescription </a:t>
            </a:r>
            <a:r>
              <a:rPr lang="fr-FR" sz="14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ez les PS de présérie sur le territoire</a:t>
            </a:r>
          </a:p>
          <a:p>
            <a:pPr marL="216000" lvl="1" indent="-216000" eaLnBrk="0" fontAlgn="base" hangingPunct="0">
              <a:spcBef>
                <a:spcPts val="100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>
                <a:tab pos="269875" algn="l"/>
              </a:tabLst>
              <a:defRPr/>
            </a:pPr>
            <a:r>
              <a:rPr lang="fr-FR" sz="14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’assurer que les installations se sont correctement déroulées </a:t>
            </a:r>
            <a:r>
              <a:rPr lang="fr-FR" sz="14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 </a:t>
            </a:r>
            <a:r>
              <a:rPr lang="fr-FR" sz="14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onter au projet un REX </a:t>
            </a:r>
            <a:r>
              <a:rPr lang="fr-FR" sz="14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r ces installations (cf. p 26)</a:t>
            </a:r>
          </a:p>
          <a:p>
            <a:pPr marL="216000" lvl="1" indent="-216000" eaLnBrk="0" fontAlgn="base" hangingPunct="0">
              <a:spcBef>
                <a:spcPts val="100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>
                <a:tab pos="269875" algn="l"/>
              </a:tabLst>
              <a:defRPr/>
            </a:pPr>
            <a:r>
              <a:rPr lang="fr-FR" sz="14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érifier le bon fonctionnement suite à l’arrêt de l’envoi des PJ SCOR </a:t>
            </a:r>
            <a:r>
              <a:rPr lang="fr-FR" sz="14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une fois l’arrêt d’envoi des PJ SCOR activé pour un professionnel de santé prescrit, la CPAM vérifie la présence d’une PJ reconstituée conforme pour chaque facture émise à partir d’une e-prescription. Le contrôle s’effectuera à partir d’une liste de factures fournie par l’éditeur sur une période d’une semaine.</a:t>
            </a:r>
          </a:p>
        </p:txBody>
      </p:sp>
      <p:sp>
        <p:nvSpPr>
          <p:cNvPr id="16" name="Rectangle: Rounded Corners 47">
            <a:extLst>
              <a:ext uri="{FF2B5EF4-FFF2-40B4-BE49-F238E27FC236}">
                <a16:creationId xmlns:a16="http://schemas.microsoft.com/office/drawing/2014/main" id="{D3453181-69F9-421D-BFB8-7B29E9D35D50}"/>
              </a:ext>
            </a:extLst>
          </p:cNvPr>
          <p:cNvSpPr/>
          <p:nvPr/>
        </p:nvSpPr>
        <p:spPr>
          <a:xfrm>
            <a:off x="1532192" y="1851658"/>
            <a:ext cx="9832494" cy="400489"/>
          </a:xfrm>
          <a:prstGeom prst="roundRect">
            <a:avLst>
              <a:gd name="adj" fmla="val 6951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fontAlgn="auto">
              <a:lnSpc>
                <a:spcPts val="2400"/>
              </a:lnSpc>
              <a:spcBef>
                <a:spcPts val="500"/>
              </a:spcBef>
            </a:pPr>
            <a:endParaRPr lang="fr-FR" sz="1600" b="1" dirty="0">
              <a:solidFill>
                <a:srgbClr val="0C419A"/>
              </a:solidFill>
              <a:latin typeface="Arial" panose="020B0604020202020204"/>
            </a:endParaRPr>
          </a:p>
        </p:txBody>
      </p:sp>
      <p:graphicFrame>
        <p:nvGraphicFramePr>
          <p:cNvPr id="4" name="Obje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76719114"/>
              </p:ext>
            </p:extLst>
          </p:nvPr>
        </p:nvGraphicFramePr>
        <p:xfrm>
          <a:off x="2311400" y="2549526"/>
          <a:ext cx="623372" cy="5400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showAsIcon="1" r:id="rId6" imgW="914400" imgH="792360" progId="AcroExch.Document.DC">
                  <p:embed/>
                </p:oleObj>
              </mc:Choice>
              <mc:Fallback>
                <p:oleObj name="Acrobat Document" showAsIcon="1" r:id="rId6" imgW="914400" imgH="792360" progId="AcroExch.Document.DC">
                  <p:embed/>
                  <p:pic>
                    <p:nvPicPr>
                      <p:cNvPr id="4" name="Objet 3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311400" y="2549526"/>
                        <a:ext cx="623372" cy="5400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numéro de diapositive 2">
            <a:extLst>
              <a:ext uri="{FF2B5EF4-FFF2-40B4-BE49-F238E27FC236}">
                <a16:creationId xmlns:a16="http://schemas.microsoft.com/office/drawing/2014/main" id="{1AFBC2AC-4024-44CA-B504-C3C169A48D7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395469" y="6229647"/>
            <a:ext cx="720000" cy="288000"/>
          </a:xfrm>
        </p:spPr>
        <p:txBody>
          <a:bodyPr/>
          <a:lstStyle/>
          <a:p>
            <a:fld id="{975A587B-5814-4D9B-9598-FE9CB954CB01}" type="slidenum">
              <a:rPr lang="fr-FR" smtClean="0"/>
              <a:pPr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3869803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E610445-BD4E-40FD-A97C-66F731845504}"/>
              </a:ext>
            </a:extLst>
          </p:cNvPr>
          <p:cNvSpPr/>
          <p:nvPr/>
        </p:nvSpPr>
        <p:spPr>
          <a:xfrm>
            <a:off x="9169052" y="5999967"/>
            <a:ext cx="2768252" cy="7828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E1B86CA7-A4D8-49B8-AC14-8B766575BA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E1B86CA7-A4D8-49B8-AC14-8B766575BA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98660" y="360000"/>
            <a:ext cx="11196000" cy="782876"/>
          </a:xfrm>
        </p:spPr>
        <p:txBody>
          <a:bodyPr vert="horz">
            <a:normAutofit/>
          </a:bodyPr>
          <a:lstStyle/>
          <a:p>
            <a:r>
              <a:rPr lang="fr-FR" sz="2000" dirty="0"/>
              <a:t>Rôle de la CPAM dans le cadre d’une présérie sur son périmètre 2/2</a:t>
            </a:r>
          </a:p>
        </p:txBody>
      </p:sp>
      <p:sp>
        <p:nvSpPr>
          <p:cNvPr id="9" name="Rectangle: Rounded Corners 47">
            <a:extLst>
              <a:ext uri="{FF2B5EF4-FFF2-40B4-BE49-F238E27FC236}">
                <a16:creationId xmlns:a16="http://schemas.microsoft.com/office/drawing/2014/main" id="{73BBB1E5-2386-4B8E-9F7A-2CA3176D33D9}"/>
              </a:ext>
            </a:extLst>
          </p:cNvPr>
          <p:cNvSpPr/>
          <p:nvPr/>
        </p:nvSpPr>
        <p:spPr>
          <a:xfrm>
            <a:off x="497339" y="1424231"/>
            <a:ext cx="11195999" cy="4496738"/>
          </a:xfrm>
          <a:prstGeom prst="roundRect">
            <a:avLst>
              <a:gd name="adj" fmla="val 6951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16000" lvl="1" indent="-216000" eaLnBrk="0" fontAlgn="base" hangingPunct="0">
              <a:spcBef>
                <a:spcPts val="100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>
                <a:tab pos="269875" algn="l"/>
              </a:tabLst>
              <a:defRPr/>
            </a:pPr>
            <a:r>
              <a:rPr lang="fr-FR" sz="14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ompagner les PS de présérie à répondre au questionnaire de satisfaction </a:t>
            </a:r>
            <a:r>
              <a:rPr lang="fr-FR" sz="14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ilisé pour le bilan</a:t>
            </a:r>
            <a:endParaRPr lang="fr-FR" sz="14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16000" lvl="1" indent="-216000" eaLnBrk="0" fontAlgn="base" hangingPunct="0">
              <a:spcBef>
                <a:spcPts val="100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>
                <a:tab pos="269875" algn="l"/>
              </a:tabLst>
              <a:defRPr/>
            </a:pPr>
            <a:r>
              <a:rPr lang="fr-FR" sz="14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er la MOAD des éventuelles difficultés rencontrées</a:t>
            </a:r>
            <a:r>
              <a:rPr lang="fr-FR" sz="14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ur le terrain au fil de l’eau</a:t>
            </a:r>
          </a:p>
          <a:p>
            <a:pPr marL="216000" lvl="1" indent="-216000" eaLnBrk="0" fontAlgn="base" hangingPunct="0">
              <a:spcBef>
                <a:spcPts val="100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>
                <a:tab pos="269875" algn="l"/>
              </a:tabLst>
              <a:defRPr/>
            </a:pPr>
            <a:r>
              <a:rPr lang="fr-FR" sz="14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iciper au bilan global de la présérie </a:t>
            </a:r>
            <a:r>
              <a:rPr lang="fr-FR" sz="14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alimentant leurs REX sur les installations, le support éditeur,…</a:t>
            </a:r>
          </a:p>
          <a:p>
            <a:pPr marL="216000" lvl="1" indent="-216000" eaLnBrk="0" fontAlgn="base" hangingPunct="0">
              <a:spcBef>
                <a:spcPts val="100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>
                <a:tab pos="269875" algn="l"/>
              </a:tabLst>
              <a:defRPr/>
            </a:pPr>
            <a:endParaRPr lang="fr-FR" sz="14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16000" lvl="1" indent="-216000" eaLnBrk="0" fontAlgn="base" hangingPunct="0">
              <a:spcBef>
                <a:spcPts val="100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>
                <a:tab pos="269875" algn="l"/>
              </a:tabLst>
              <a:defRPr/>
            </a:pPr>
            <a:endParaRPr lang="fr-FR" sz="14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eaLnBrk="0" fontAlgn="base" hangingPunct="0">
              <a:spcBef>
                <a:spcPts val="1000"/>
              </a:spcBef>
              <a:spcAft>
                <a:spcPts val="1000"/>
              </a:spcAft>
              <a:buClr>
                <a:schemeClr val="tx1"/>
              </a:buClr>
              <a:buSzPct val="100000"/>
              <a:tabLst>
                <a:tab pos="269875" algn="l"/>
              </a:tabLst>
              <a:defRPr/>
            </a:pPr>
            <a:endParaRPr lang="fr-FR" sz="14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: Rounded Corners 47">
            <a:extLst>
              <a:ext uri="{FF2B5EF4-FFF2-40B4-BE49-F238E27FC236}">
                <a16:creationId xmlns:a16="http://schemas.microsoft.com/office/drawing/2014/main" id="{D3453181-69F9-421D-BFB8-7B29E9D35D50}"/>
              </a:ext>
            </a:extLst>
          </p:cNvPr>
          <p:cNvSpPr/>
          <p:nvPr/>
        </p:nvSpPr>
        <p:spPr>
          <a:xfrm>
            <a:off x="1532192" y="1851658"/>
            <a:ext cx="9832494" cy="400489"/>
          </a:xfrm>
          <a:prstGeom prst="roundRect">
            <a:avLst>
              <a:gd name="adj" fmla="val 6951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fontAlgn="auto">
              <a:lnSpc>
                <a:spcPts val="2400"/>
              </a:lnSpc>
              <a:spcBef>
                <a:spcPts val="500"/>
              </a:spcBef>
            </a:pPr>
            <a:endParaRPr lang="fr-FR" sz="1600" b="1" dirty="0">
              <a:solidFill>
                <a:srgbClr val="0C419A"/>
              </a:solidFill>
              <a:latin typeface="Arial" panose="020B0604020202020204"/>
            </a:endParaRPr>
          </a:p>
        </p:txBody>
      </p:sp>
      <p:sp>
        <p:nvSpPr>
          <p:cNvPr id="7" name="Espace réservé du numéro de diapositive 2">
            <a:extLst>
              <a:ext uri="{FF2B5EF4-FFF2-40B4-BE49-F238E27FC236}">
                <a16:creationId xmlns:a16="http://schemas.microsoft.com/office/drawing/2014/main" id="{F78295FD-EDBB-4AC4-AC97-403144E2BA4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395469" y="6229647"/>
            <a:ext cx="720000" cy="288000"/>
          </a:xfrm>
        </p:spPr>
        <p:txBody>
          <a:bodyPr/>
          <a:lstStyle/>
          <a:p>
            <a:fld id="{975A587B-5814-4D9B-9598-FE9CB954CB01}" type="slidenum">
              <a:rPr lang="fr-FR" smtClean="0"/>
              <a:pPr/>
              <a:t>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9680184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A586DE53-334A-491B-816A-D21E645E8E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4121631"/>
              </p:ext>
            </p:extLst>
          </p:nvPr>
        </p:nvGraphicFramePr>
        <p:xfrm>
          <a:off x="504000" y="4107115"/>
          <a:ext cx="11195999" cy="2575445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2309954">
                  <a:extLst>
                    <a:ext uri="{9D8B030D-6E8A-4147-A177-3AD203B41FA5}">
                      <a16:colId xmlns:a16="http://schemas.microsoft.com/office/drawing/2014/main" val="545475054"/>
                    </a:ext>
                  </a:extLst>
                </a:gridCol>
                <a:gridCol w="8886045">
                  <a:extLst>
                    <a:ext uri="{9D8B030D-6E8A-4147-A177-3AD203B41FA5}">
                      <a16:colId xmlns:a16="http://schemas.microsoft.com/office/drawing/2014/main" val="1120244732"/>
                    </a:ext>
                  </a:extLst>
                </a:gridCol>
              </a:tblGrid>
              <a:tr h="51508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C419A"/>
                          </a:solidFill>
                          <a:latin typeface="+mn-lt"/>
                          <a:ea typeface="+mn-ea"/>
                          <a:cs typeface="+mn-cs"/>
                        </a:rPr>
                        <a:t>Cnam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fr-FR" sz="1200" b="0" i="0" dirty="0">
                          <a:solidFill>
                            <a:srgbClr val="0C419A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éfinir l’échéance de la présérie ainsi que la date de finalisation du bilan de présérie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394119"/>
                  </a:ext>
                </a:extLst>
              </a:tr>
              <a:tr h="51508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C419A"/>
                          </a:solidFill>
                          <a:latin typeface="+mn-lt"/>
                          <a:ea typeface="+mn-ea"/>
                          <a:cs typeface="+mn-cs"/>
                        </a:rPr>
                        <a:t>CPAM de présérie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fr-FR" sz="1200" b="0" i="0" dirty="0">
                          <a:solidFill>
                            <a:srgbClr val="0C419A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éaliser l’enquête de satisfaction aux PS de présérie (envoi, suivi des retours et consolidation des résultats)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483883"/>
                  </a:ext>
                </a:extLst>
              </a:tr>
              <a:tr h="51508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C419A"/>
                          </a:solidFill>
                          <a:latin typeface="+mn-lt"/>
                          <a:ea typeface="+mn-ea"/>
                          <a:cs typeface="+mn-cs"/>
                        </a:rPr>
                        <a:t>MOAD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fr-FR" sz="1200" b="0" i="0" dirty="0">
                          <a:solidFill>
                            <a:srgbClr val="0C419A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éaliser le bilan de la présérie </a:t>
                      </a:r>
                      <a:r>
                        <a:rPr lang="fr-FR" sz="1200" b="1" i="0" dirty="0">
                          <a:solidFill>
                            <a:srgbClr val="0C419A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(contribution CPAM de présérie)</a:t>
                      </a:r>
                      <a:endParaRPr lang="fr-FR" sz="1200" b="0" i="0" dirty="0">
                        <a:solidFill>
                          <a:srgbClr val="0C419A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2933645"/>
                  </a:ext>
                </a:extLst>
              </a:tr>
              <a:tr h="51508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C419A"/>
                          </a:solidFill>
                          <a:latin typeface="+mn-lt"/>
                          <a:ea typeface="+mn-ea"/>
                          <a:cs typeface="+mn-cs"/>
                        </a:rPr>
                        <a:t>GIE SV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fr-FR" sz="1200" b="0" i="0" dirty="0">
                          <a:solidFill>
                            <a:srgbClr val="0C419A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rganiser une </a:t>
                      </a:r>
                      <a:r>
                        <a:rPr lang="fr-FR" sz="1200" b="0" i="0" u="sng" dirty="0">
                          <a:solidFill>
                            <a:srgbClr val="0C419A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éunion de restitution du bilan</a:t>
                      </a:r>
                      <a:r>
                        <a:rPr lang="fr-FR" sz="1200" b="0" i="0" dirty="0">
                          <a:solidFill>
                            <a:srgbClr val="0C419A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e présérie à l’éditeur </a:t>
                      </a:r>
                      <a:r>
                        <a:rPr lang="fr-FR" sz="1200" b="0" i="0" u="none" dirty="0">
                          <a:solidFill>
                            <a:srgbClr val="0C419A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(avec GIE, Editeur, Cnam, MOAD, </a:t>
                      </a:r>
                      <a:r>
                        <a:rPr lang="fr-FR" sz="1200" b="1" i="0" u="none" dirty="0">
                          <a:solidFill>
                            <a:srgbClr val="0C419A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PAM de présérie</a:t>
                      </a:r>
                      <a:r>
                        <a:rPr lang="fr-FR" sz="1200" b="0" i="0" u="none" dirty="0">
                          <a:solidFill>
                            <a:srgbClr val="0C419A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 </a:t>
                      </a:r>
                      <a:endParaRPr lang="fr-FR" sz="1200" b="0" i="0" dirty="0">
                        <a:solidFill>
                          <a:srgbClr val="0C419A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7712348"/>
                  </a:ext>
                </a:extLst>
              </a:tr>
              <a:tr h="51508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C419A"/>
                          </a:solidFill>
                          <a:latin typeface="+mn-lt"/>
                          <a:ea typeface="+mn-ea"/>
                          <a:cs typeface="+mn-cs"/>
                        </a:rPr>
                        <a:t>Cnam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fr-FR" sz="1200" b="0" i="0" dirty="0">
                          <a:solidFill>
                            <a:srgbClr val="0C419A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mmuniquer le GO de généralisation de l’éditeur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3191661"/>
                  </a:ext>
                </a:extLst>
              </a:tr>
            </a:tbl>
          </a:graphicData>
        </a:graphic>
      </p:graphicFrame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E1B86CA7-A4D8-49B8-AC14-8B766575BA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E1B86CA7-A4D8-49B8-AC14-8B766575BA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04000" y="360000"/>
            <a:ext cx="11196000" cy="782876"/>
          </a:xfrm>
        </p:spPr>
        <p:txBody>
          <a:bodyPr vert="horz">
            <a:normAutofit/>
          </a:bodyPr>
          <a:lstStyle/>
          <a:p>
            <a:r>
              <a:rPr lang="fr-FR" sz="2000" dirty="0"/>
              <a:t>Rôles et actions / Checklist</a:t>
            </a:r>
          </a:p>
        </p:txBody>
      </p:sp>
      <p:graphicFrame>
        <p:nvGraphicFramePr>
          <p:cNvPr id="10" name="Table 3">
            <a:extLst>
              <a:ext uri="{FF2B5EF4-FFF2-40B4-BE49-F238E27FC236}">
                <a16:creationId xmlns:a16="http://schemas.microsoft.com/office/drawing/2014/main" id="{CDEBD07D-DC19-431E-B129-1AE8C27160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4548826"/>
              </p:ext>
            </p:extLst>
          </p:nvPr>
        </p:nvGraphicFramePr>
        <p:xfrm>
          <a:off x="498660" y="1796400"/>
          <a:ext cx="11195999" cy="1928615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2309954">
                  <a:extLst>
                    <a:ext uri="{9D8B030D-6E8A-4147-A177-3AD203B41FA5}">
                      <a16:colId xmlns:a16="http://schemas.microsoft.com/office/drawing/2014/main" val="2430956732"/>
                    </a:ext>
                  </a:extLst>
                </a:gridCol>
                <a:gridCol w="8886045">
                  <a:extLst>
                    <a:ext uri="{9D8B030D-6E8A-4147-A177-3AD203B41FA5}">
                      <a16:colId xmlns:a16="http://schemas.microsoft.com/office/drawing/2014/main" val="283319278"/>
                    </a:ext>
                  </a:extLst>
                </a:gridCol>
              </a:tblGrid>
              <a:tr h="3857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C419A"/>
                          </a:solidFill>
                          <a:latin typeface="+mn-lt"/>
                          <a:ea typeface="+mn-ea"/>
                          <a:cs typeface="+mn-cs"/>
                        </a:rPr>
                        <a:t>CPAM de présérie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fr-FR" sz="1200" b="0" i="0" dirty="0">
                          <a:solidFill>
                            <a:srgbClr val="0C419A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ans le cas des pharmacies : Démarrer le test de l’arrêt de l’envoi des PJ SCOR 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5022805"/>
                  </a:ext>
                </a:extLst>
              </a:tr>
              <a:tr h="3857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C419A"/>
                          </a:solidFill>
                          <a:latin typeface="+mn-lt"/>
                          <a:ea typeface="+mn-ea"/>
                          <a:cs typeface="+mn-cs"/>
                        </a:rPr>
                        <a:t>Cnam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fr-FR" sz="1200" b="0" i="0" dirty="0">
                          <a:solidFill>
                            <a:srgbClr val="0C419A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nner le GO pour les installations suivantes (le test de l’arrêt des PJ SCOR n’est pas un prérequis aux installations suivantes)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2759663"/>
                  </a:ext>
                </a:extLst>
              </a:tr>
              <a:tr h="3857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C419A"/>
                          </a:solidFill>
                          <a:latin typeface="+mn-lt"/>
                          <a:ea typeface="+mn-ea"/>
                          <a:cs typeface="+mn-cs"/>
                        </a:rPr>
                        <a:t>CPAM de présérie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fr-FR" sz="1200" b="0" i="0" dirty="0">
                          <a:solidFill>
                            <a:srgbClr val="0C419A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anifier et suivre les installations suivantes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4581722"/>
                  </a:ext>
                </a:extLst>
              </a:tr>
              <a:tr h="3857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C419A"/>
                          </a:solidFill>
                          <a:latin typeface="+mn-lt"/>
                          <a:ea typeface="+mn-ea"/>
                          <a:cs typeface="+mn-cs"/>
                        </a:rPr>
                        <a:t>CPAM de présérie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fr-FR" sz="1200" b="0" i="0" dirty="0">
                          <a:solidFill>
                            <a:srgbClr val="0C419A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éaliser le suivi de l’arrêt de l’envoi des PJ SCOR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5764587"/>
                  </a:ext>
                </a:extLst>
              </a:tr>
              <a:tr h="3857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dirty="0">
                          <a:solidFill>
                            <a:srgbClr val="0C419A"/>
                          </a:solidFill>
                          <a:latin typeface="+mn-lt"/>
                          <a:ea typeface="+mn-ea"/>
                          <a:cs typeface="+mn-cs"/>
                        </a:rPr>
                        <a:t>MOAD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fr-FR" sz="1200" b="0" i="0" dirty="0">
                          <a:solidFill>
                            <a:srgbClr val="0C419A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mmuniquer à une liste de diffusion le suivi hebdomadaire de la présérie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1436909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1EA1BE57-E4B4-4553-8CBB-D142A34680FC}"/>
              </a:ext>
            </a:extLst>
          </p:cNvPr>
          <p:cNvSpPr txBox="1"/>
          <p:nvPr/>
        </p:nvSpPr>
        <p:spPr>
          <a:xfrm>
            <a:off x="497340" y="1236631"/>
            <a:ext cx="317747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b="1" dirty="0"/>
              <a:t>Phase 4 : Réalisation de la préséri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94B5B3B-2C32-4F71-8D4F-9512D34E3DBC}"/>
              </a:ext>
            </a:extLst>
          </p:cNvPr>
          <p:cNvSpPr txBox="1"/>
          <p:nvPr/>
        </p:nvSpPr>
        <p:spPr>
          <a:xfrm>
            <a:off x="493059" y="1508859"/>
            <a:ext cx="232185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100" b="1" dirty="0"/>
              <a:t>Responsabl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AE742C0-2F4B-4198-AF04-EE00A0B9643D}"/>
              </a:ext>
            </a:extLst>
          </p:cNvPr>
          <p:cNvSpPr txBox="1"/>
          <p:nvPr/>
        </p:nvSpPr>
        <p:spPr>
          <a:xfrm>
            <a:off x="6596991" y="1508859"/>
            <a:ext cx="62388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100" b="1" dirty="0"/>
              <a:t>Action</a:t>
            </a:r>
          </a:p>
        </p:txBody>
      </p:sp>
      <p:pic>
        <p:nvPicPr>
          <p:cNvPr id="22" name="Graphic 21" descr="Star with solid fill">
            <a:extLst>
              <a:ext uri="{FF2B5EF4-FFF2-40B4-BE49-F238E27FC236}">
                <a16:creationId xmlns:a16="http://schemas.microsoft.com/office/drawing/2014/main" id="{02E51B41-2E03-4C2A-BCAC-ED5851E9B9C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994531" y="1137318"/>
            <a:ext cx="301870" cy="30187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4A288D45-9B14-4A4F-8EA4-A8FCB5F7F8B6}"/>
              </a:ext>
            </a:extLst>
          </p:cNvPr>
          <p:cNvSpPr txBox="1"/>
          <p:nvPr/>
        </p:nvSpPr>
        <p:spPr>
          <a:xfrm>
            <a:off x="9226063" y="1203288"/>
            <a:ext cx="251222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900" dirty="0">
                <a:solidFill>
                  <a:srgbClr val="002060"/>
                </a:solidFill>
              </a:rPr>
              <a:t>Contribution / Participation CPAM de présérie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C830673A-946D-49DA-AB6F-9E2569A0F30B}"/>
              </a:ext>
            </a:extLst>
          </p:cNvPr>
          <p:cNvSpPr/>
          <p:nvPr/>
        </p:nvSpPr>
        <p:spPr>
          <a:xfrm>
            <a:off x="6783367" y="1238308"/>
            <a:ext cx="404446" cy="160792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B4CC717-826D-4272-8BF0-2100AAC06E2F}"/>
              </a:ext>
            </a:extLst>
          </p:cNvPr>
          <p:cNvSpPr txBox="1"/>
          <p:nvPr/>
        </p:nvSpPr>
        <p:spPr>
          <a:xfrm>
            <a:off x="7166555" y="1204232"/>
            <a:ext cx="17876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900" dirty="0">
                <a:solidFill>
                  <a:srgbClr val="002060"/>
                </a:solidFill>
              </a:rPr>
              <a:t>CPAM de présérie responsable</a:t>
            </a:r>
          </a:p>
        </p:txBody>
      </p:sp>
      <p:pic>
        <p:nvPicPr>
          <p:cNvPr id="26" name="Graphic 25" descr="Star with solid fill">
            <a:extLst>
              <a:ext uri="{FF2B5EF4-FFF2-40B4-BE49-F238E27FC236}">
                <a16:creationId xmlns:a16="http://schemas.microsoft.com/office/drawing/2014/main" id="{BD8DD60B-F4D8-42D7-9EDB-5185602E26A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3822" y="5774995"/>
            <a:ext cx="301870" cy="301870"/>
          </a:xfrm>
          <a:prstGeom prst="rect">
            <a:avLst/>
          </a:prstGeom>
        </p:spPr>
      </p:pic>
      <p:pic>
        <p:nvPicPr>
          <p:cNvPr id="27" name="Graphic 26" descr="Star with solid fill">
            <a:extLst>
              <a:ext uri="{FF2B5EF4-FFF2-40B4-BE49-F238E27FC236}">
                <a16:creationId xmlns:a16="http://schemas.microsoft.com/office/drawing/2014/main" id="{C27C0BCF-18F5-44CC-80FF-AC302A9A880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3822" y="5247456"/>
            <a:ext cx="301870" cy="301870"/>
          </a:xfrm>
          <a:prstGeom prst="rect">
            <a:avLst/>
          </a:prstGeom>
        </p:spPr>
      </p:pic>
      <p:pic>
        <p:nvPicPr>
          <p:cNvPr id="28" name="Graphic 27" descr="Online meeting with solid fill">
            <a:extLst>
              <a:ext uri="{FF2B5EF4-FFF2-40B4-BE49-F238E27FC236}">
                <a16:creationId xmlns:a16="http://schemas.microsoft.com/office/drawing/2014/main" id="{67096967-1ACF-45AC-8D12-7ACC850DD53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327991" y="5751981"/>
            <a:ext cx="349032" cy="349032"/>
          </a:xfrm>
          <a:prstGeom prst="rect">
            <a:avLst/>
          </a:prstGeom>
        </p:spPr>
      </p:pic>
      <p:pic>
        <p:nvPicPr>
          <p:cNvPr id="29" name="Graphic 28" descr="Online meeting with solid fill">
            <a:extLst>
              <a:ext uri="{FF2B5EF4-FFF2-40B4-BE49-F238E27FC236}">
                <a16:creationId xmlns:a16="http://schemas.microsoft.com/office/drawing/2014/main" id="{F7C101C3-D560-401D-9509-400E1996F54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753247" y="1159827"/>
            <a:ext cx="349032" cy="349032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0D60A420-3FC6-4EC4-AE71-49DB9A0C8A6D}"/>
              </a:ext>
            </a:extLst>
          </p:cNvPr>
          <p:cNvSpPr txBox="1"/>
          <p:nvPr/>
        </p:nvSpPr>
        <p:spPr>
          <a:xfrm>
            <a:off x="6087264" y="1207833"/>
            <a:ext cx="61427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900" dirty="0">
                <a:solidFill>
                  <a:srgbClr val="002060"/>
                </a:solidFill>
              </a:rPr>
              <a:t>Réunio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9E46686-9D32-4747-B6A0-CE91FE6A1FB1}"/>
              </a:ext>
            </a:extLst>
          </p:cNvPr>
          <p:cNvSpPr txBox="1"/>
          <p:nvPr/>
        </p:nvSpPr>
        <p:spPr>
          <a:xfrm>
            <a:off x="493059" y="3797594"/>
            <a:ext cx="26613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b="1" dirty="0"/>
              <a:t>Phase 5 : Bilan de la présérie</a:t>
            </a:r>
          </a:p>
        </p:txBody>
      </p:sp>
    </p:spTree>
    <p:extLst>
      <p:ext uri="{BB962C8B-B14F-4D97-AF65-F5344CB8AC3E}">
        <p14:creationId xmlns:p14="http://schemas.microsoft.com/office/powerpoint/2010/main" val="63128246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2000" dirty="0"/>
              <a:t>Questions / Réponses</a:t>
            </a:r>
          </a:p>
        </p:txBody>
      </p:sp>
      <p:pic>
        <p:nvPicPr>
          <p:cNvPr id="4" name="Graphic 3" descr="Questions with solid fill">
            <a:extLst>
              <a:ext uri="{FF2B5EF4-FFF2-40B4-BE49-F238E27FC236}">
                <a16:creationId xmlns:a16="http://schemas.microsoft.com/office/drawing/2014/main" id="{2942E33D-ADF6-4711-B1D9-A22500F9E5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24299" y="2356337"/>
            <a:ext cx="3311769" cy="3311769"/>
          </a:xfrm>
          <a:prstGeom prst="rect">
            <a:avLst/>
          </a:prstGeom>
        </p:spPr>
      </p:pic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66040F90-2DE3-4F01-A6B9-BB1F14053278}"/>
              </a:ext>
            </a:extLst>
          </p:cNvPr>
          <p:cNvSpPr txBox="1">
            <a:spLocks/>
          </p:cNvSpPr>
          <p:nvPr/>
        </p:nvSpPr>
        <p:spPr>
          <a:xfrm>
            <a:off x="395469" y="6229647"/>
            <a:ext cx="720000" cy="288000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75A587B-5814-4D9B-9598-FE9CB954CB01}" type="slidenum">
              <a:rPr lang="fr-FR" sz="1200" smtClean="0"/>
              <a:pPr/>
              <a:t>27</a:t>
            </a:fld>
            <a:endParaRPr lang="fr-FR" sz="1200"/>
          </a:p>
        </p:txBody>
      </p:sp>
    </p:spTree>
    <p:extLst>
      <p:ext uri="{BB962C8B-B14F-4D97-AF65-F5344CB8AC3E}">
        <p14:creationId xmlns:p14="http://schemas.microsoft.com/office/powerpoint/2010/main" val="269192591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3637F3-D6B0-424E-9E24-306CE3A67A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28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nexe</a:t>
            </a:r>
            <a:endParaRPr lang="fr-FR" sz="2800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6659B69A-9061-436F-AFF8-38E71E52BE1E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2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8601155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29</a:t>
            </a:fld>
            <a:endParaRPr lang="fr-FR" dirty="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solidFill>
            <a:srgbClr val="0C419A"/>
          </a:solidFill>
        </p:spPr>
        <p:txBody>
          <a:bodyPr>
            <a:normAutofit/>
          </a:bodyPr>
          <a:lstStyle/>
          <a:p>
            <a:r>
              <a:rPr lang="fr-FR" sz="2000" dirty="0"/>
              <a:t>les bénéfices pour les professionnels de santé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57D8F63-232B-4F99-A952-BFD725DD875F}"/>
              </a:ext>
            </a:extLst>
          </p:cNvPr>
          <p:cNvSpPr/>
          <p:nvPr/>
        </p:nvSpPr>
        <p:spPr>
          <a:xfrm>
            <a:off x="683722" y="3314769"/>
            <a:ext cx="1847255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fr-FR" sz="1050" b="1" dirty="0">
                <a:latin typeface="Arial" panose="020B0604020202020204" pitchFamily="34" charset="0"/>
                <a:cs typeface="Arial" panose="020B0604020202020204" pitchFamily="34" charset="0"/>
              </a:rPr>
              <a:t>Une réduction des risques de iatrogénie</a:t>
            </a:r>
            <a:r>
              <a:rPr lang="fr-FR" sz="1050" dirty="0">
                <a:latin typeface="Arial" panose="020B0604020202020204" pitchFamily="34" charset="0"/>
                <a:cs typeface="Arial" panose="020B0604020202020204" pitchFamily="34" charset="0"/>
              </a:rPr>
              <a:t>, grâce à l’utilisation des LAP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CFC936C-8F16-40A3-9ADE-995A60E49AE3}"/>
              </a:ext>
            </a:extLst>
          </p:cNvPr>
          <p:cNvSpPr/>
          <p:nvPr/>
        </p:nvSpPr>
        <p:spPr>
          <a:xfrm>
            <a:off x="2583474" y="2465699"/>
            <a:ext cx="184725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fr-FR" sz="1050" b="1" dirty="0">
                <a:latin typeface="Arial" panose="020B0604020202020204" pitchFamily="34" charset="0"/>
                <a:cs typeface="Arial" panose="020B0604020202020204" pitchFamily="34" charset="0"/>
              </a:rPr>
              <a:t>Une sécurisation de l’ensemble du processus </a:t>
            </a:r>
            <a:r>
              <a:rPr lang="fr-FR" sz="1050" dirty="0">
                <a:latin typeface="Arial" panose="020B0604020202020204" pitchFamily="34" charset="0"/>
                <a:cs typeface="Arial" panose="020B0604020202020204" pitchFamily="34" charset="0"/>
              </a:rPr>
              <a:t>avec une identification fiabilisée du prescripteur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0FB59DA-C014-4D58-914A-C9EDA86A0C7B}"/>
              </a:ext>
            </a:extLst>
          </p:cNvPr>
          <p:cNvSpPr/>
          <p:nvPr/>
        </p:nvSpPr>
        <p:spPr>
          <a:xfrm>
            <a:off x="4965243" y="1911530"/>
            <a:ext cx="2223216" cy="12234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fr-FR" sz="1050" b="1" dirty="0">
                <a:latin typeface="Arial" panose="020B0604020202020204" pitchFamily="34" charset="0"/>
                <a:cs typeface="Arial" panose="020B0604020202020204" pitchFamily="34" charset="0"/>
              </a:rPr>
              <a:t>Une simplification des échanges entre les médecins et les prescrits </a:t>
            </a:r>
            <a:r>
              <a:rPr lang="fr-FR" sz="1050" dirty="0">
                <a:latin typeface="Arial" panose="020B0604020202020204" pitchFamily="34" charset="0"/>
                <a:cs typeface="Arial" panose="020B0604020202020204" pitchFamily="34" charset="0"/>
              </a:rPr>
              <a:t>grâce à la dématérialisation du circuit jusqu’à l’exécution de la prescription et l’accès par le médecin de ce qui a été délivré 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28B7E58-FAFC-4CF0-A9B8-93C26BA1C27B}"/>
              </a:ext>
            </a:extLst>
          </p:cNvPr>
          <p:cNvSpPr/>
          <p:nvPr/>
        </p:nvSpPr>
        <p:spPr>
          <a:xfrm>
            <a:off x="7722973" y="2456467"/>
            <a:ext cx="1899675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fr-FR" sz="1050" b="1" dirty="0">
                <a:latin typeface="Arial" panose="020B0604020202020204" pitchFamily="34" charset="0"/>
                <a:cs typeface="Arial" panose="020B0604020202020204" pitchFamily="34" charset="0"/>
              </a:rPr>
              <a:t>Une simplification du processus de  traitement des pièces justificatives par le prescrit</a:t>
            </a:r>
            <a:r>
              <a:rPr lang="fr-FR" sz="1050" dirty="0">
                <a:latin typeface="Arial" panose="020B0604020202020204" pitchFamily="34" charset="0"/>
                <a:cs typeface="Arial" panose="020B0604020202020204" pitchFamily="34" charset="0"/>
              </a:rPr>
              <a:t> avec un gain de temps associé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F4A41E7E-EB1B-458F-8A15-1A5DFE68A082}"/>
              </a:ext>
            </a:extLst>
          </p:cNvPr>
          <p:cNvSpPr/>
          <p:nvPr/>
        </p:nvSpPr>
        <p:spPr>
          <a:xfrm>
            <a:off x="9726598" y="3272816"/>
            <a:ext cx="1874744" cy="12234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fr-FR" sz="1050" b="1" dirty="0">
                <a:latin typeface="Arial" panose="020B0604020202020204" pitchFamily="34" charset="0"/>
                <a:cs typeface="Arial" panose="020B0604020202020204" pitchFamily="34" charset="0"/>
              </a:rPr>
              <a:t>Pour les pharmaciens</a:t>
            </a:r>
            <a:r>
              <a:rPr lang="fr-FR" sz="1050" dirty="0">
                <a:latin typeface="Arial" panose="020B0604020202020204" pitchFamily="34" charset="0"/>
                <a:cs typeface="Arial" panose="020B0604020202020204" pitchFamily="34" charset="0"/>
              </a:rPr>
              <a:t>, l’intégration des données structurées  de la prescription dans le logiciel pourra permettre d’</a:t>
            </a:r>
            <a:r>
              <a:rPr lang="fr-FR" sz="1050" b="1" dirty="0">
                <a:latin typeface="Arial" panose="020B0604020202020204" pitchFamily="34" charset="0"/>
                <a:cs typeface="Arial" panose="020B0604020202020204" pitchFamily="34" charset="0"/>
              </a:rPr>
              <a:t>automatiser des opérations de vérification</a:t>
            </a:r>
          </a:p>
        </p:txBody>
      </p:sp>
      <p:sp>
        <p:nvSpPr>
          <p:cNvPr id="153" name="Freeform 8">
            <a:extLst>
              <a:ext uri="{FF2B5EF4-FFF2-40B4-BE49-F238E27FC236}">
                <a16:creationId xmlns:a16="http://schemas.microsoft.com/office/drawing/2014/main" id="{336EBB05-2AB2-4F86-9D97-E86E5782C8A4}"/>
              </a:ext>
            </a:extLst>
          </p:cNvPr>
          <p:cNvSpPr>
            <a:spLocks/>
          </p:cNvSpPr>
          <p:nvPr/>
        </p:nvSpPr>
        <p:spPr bwMode="auto">
          <a:xfrm>
            <a:off x="2948719" y="5517350"/>
            <a:ext cx="360363" cy="241300"/>
          </a:xfrm>
          <a:custGeom>
            <a:avLst/>
            <a:gdLst>
              <a:gd name="T0" fmla="*/ 13 w 253"/>
              <a:gd name="T1" fmla="*/ 169 h 169"/>
              <a:gd name="T2" fmla="*/ 3 w 253"/>
              <a:gd name="T3" fmla="*/ 164 h 169"/>
              <a:gd name="T4" fmla="*/ 6 w 253"/>
              <a:gd name="T5" fmla="*/ 147 h 169"/>
              <a:gd name="T6" fmla="*/ 233 w 253"/>
              <a:gd name="T7" fmla="*/ 3 h 169"/>
              <a:gd name="T8" fmla="*/ 250 w 253"/>
              <a:gd name="T9" fmla="*/ 8 h 169"/>
              <a:gd name="T10" fmla="*/ 245 w 253"/>
              <a:gd name="T11" fmla="*/ 24 h 169"/>
              <a:gd name="T12" fmla="*/ 20 w 253"/>
              <a:gd name="T13" fmla="*/ 167 h 169"/>
              <a:gd name="T14" fmla="*/ 13 w 253"/>
              <a:gd name="T15" fmla="*/ 169 h 1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53" h="169">
                <a:moveTo>
                  <a:pt x="13" y="169"/>
                </a:moveTo>
                <a:cubicBezTo>
                  <a:pt x="9" y="169"/>
                  <a:pt x="6" y="167"/>
                  <a:pt x="3" y="164"/>
                </a:cubicBezTo>
                <a:cubicBezTo>
                  <a:pt x="0" y="158"/>
                  <a:pt x="1" y="151"/>
                  <a:pt x="6" y="147"/>
                </a:cubicBezTo>
                <a:cubicBezTo>
                  <a:pt x="80" y="96"/>
                  <a:pt x="156" y="48"/>
                  <a:pt x="233" y="3"/>
                </a:cubicBezTo>
                <a:cubicBezTo>
                  <a:pt x="239" y="0"/>
                  <a:pt x="246" y="2"/>
                  <a:pt x="250" y="8"/>
                </a:cubicBezTo>
                <a:cubicBezTo>
                  <a:pt x="253" y="13"/>
                  <a:pt x="251" y="21"/>
                  <a:pt x="245" y="24"/>
                </a:cubicBezTo>
                <a:cubicBezTo>
                  <a:pt x="169" y="69"/>
                  <a:pt x="93" y="117"/>
                  <a:pt x="20" y="167"/>
                </a:cubicBezTo>
                <a:cubicBezTo>
                  <a:pt x="18" y="168"/>
                  <a:pt x="16" y="169"/>
                  <a:pt x="13" y="169"/>
                </a:cubicBezTo>
                <a:close/>
              </a:path>
            </a:pathLst>
          </a:custGeom>
          <a:solidFill>
            <a:srgbClr val="FD797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54" name="Freeform 9">
            <a:extLst>
              <a:ext uri="{FF2B5EF4-FFF2-40B4-BE49-F238E27FC236}">
                <a16:creationId xmlns:a16="http://schemas.microsoft.com/office/drawing/2014/main" id="{A9EE68C0-B82F-411D-BA93-C18DD02F7CB5}"/>
              </a:ext>
            </a:extLst>
          </p:cNvPr>
          <p:cNvSpPr>
            <a:spLocks/>
          </p:cNvSpPr>
          <p:nvPr/>
        </p:nvSpPr>
        <p:spPr bwMode="auto">
          <a:xfrm>
            <a:off x="2088294" y="3971125"/>
            <a:ext cx="1489075" cy="1355725"/>
          </a:xfrm>
          <a:custGeom>
            <a:avLst/>
            <a:gdLst>
              <a:gd name="T0" fmla="*/ 473 w 1043"/>
              <a:gd name="T1" fmla="*/ 952 h 952"/>
              <a:gd name="T2" fmla="*/ 358 w 1043"/>
              <a:gd name="T3" fmla="*/ 936 h 952"/>
              <a:gd name="T4" fmla="*/ 78 w 1043"/>
              <a:gd name="T5" fmla="*/ 722 h 952"/>
              <a:gd name="T6" fmla="*/ 32 w 1043"/>
              <a:gd name="T7" fmla="*/ 372 h 952"/>
              <a:gd name="T8" fmla="*/ 255 w 1043"/>
              <a:gd name="T9" fmla="*/ 81 h 952"/>
              <a:gd name="T10" fmla="*/ 619 w 1043"/>
              <a:gd name="T11" fmla="*/ 34 h 952"/>
              <a:gd name="T12" fmla="*/ 972 w 1043"/>
              <a:gd name="T13" fmla="*/ 644 h 952"/>
              <a:gd name="T14" fmla="*/ 957 w 1043"/>
              <a:gd name="T15" fmla="*/ 653 h 952"/>
              <a:gd name="T16" fmla="*/ 949 w 1043"/>
              <a:gd name="T17" fmla="*/ 638 h 952"/>
              <a:gd name="T18" fmla="*/ 613 w 1043"/>
              <a:gd name="T19" fmla="*/ 57 h 952"/>
              <a:gd name="T20" fmla="*/ 267 w 1043"/>
              <a:gd name="T21" fmla="*/ 102 h 952"/>
              <a:gd name="T22" fmla="*/ 55 w 1043"/>
              <a:gd name="T23" fmla="*/ 379 h 952"/>
              <a:gd name="T24" fmla="*/ 99 w 1043"/>
              <a:gd name="T25" fmla="*/ 710 h 952"/>
              <a:gd name="T26" fmla="*/ 364 w 1043"/>
              <a:gd name="T27" fmla="*/ 913 h 952"/>
              <a:gd name="T28" fmla="*/ 682 w 1043"/>
              <a:gd name="T29" fmla="*/ 871 h 952"/>
              <a:gd name="T30" fmla="*/ 877 w 1043"/>
              <a:gd name="T31" fmla="*/ 617 h 952"/>
              <a:gd name="T32" fmla="*/ 837 w 1043"/>
              <a:gd name="T33" fmla="*/ 313 h 952"/>
              <a:gd name="T34" fmla="*/ 593 w 1043"/>
              <a:gd name="T35" fmla="*/ 126 h 952"/>
              <a:gd name="T36" fmla="*/ 301 w 1043"/>
              <a:gd name="T37" fmla="*/ 164 h 952"/>
              <a:gd name="T38" fmla="*/ 122 w 1043"/>
              <a:gd name="T39" fmla="*/ 398 h 952"/>
              <a:gd name="T40" fmla="*/ 382 w 1043"/>
              <a:gd name="T41" fmla="*/ 850 h 952"/>
              <a:gd name="T42" fmla="*/ 391 w 1043"/>
              <a:gd name="T43" fmla="*/ 864 h 952"/>
              <a:gd name="T44" fmla="*/ 376 w 1043"/>
              <a:gd name="T45" fmla="*/ 873 h 952"/>
              <a:gd name="T46" fmla="*/ 98 w 1043"/>
              <a:gd name="T47" fmla="*/ 392 h 952"/>
              <a:gd name="T48" fmla="*/ 289 w 1043"/>
              <a:gd name="T49" fmla="*/ 143 h 952"/>
              <a:gd name="T50" fmla="*/ 599 w 1043"/>
              <a:gd name="T51" fmla="*/ 102 h 952"/>
              <a:gd name="T52" fmla="*/ 857 w 1043"/>
              <a:gd name="T53" fmla="*/ 301 h 952"/>
              <a:gd name="T54" fmla="*/ 900 w 1043"/>
              <a:gd name="T55" fmla="*/ 623 h 952"/>
              <a:gd name="T56" fmla="*/ 694 w 1043"/>
              <a:gd name="T57" fmla="*/ 892 h 952"/>
              <a:gd name="T58" fmla="*/ 473 w 1043"/>
              <a:gd name="T59" fmla="*/ 952 h 9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043" h="952">
                <a:moveTo>
                  <a:pt x="473" y="952"/>
                </a:moveTo>
                <a:cubicBezTo>
                  <a:pt x="435" y="952"/>
                  <a:pt x="396" y="947"/>
                  <a:pt x="358" y="936"/>
                </a:cubicBezTo>
                <a:cubicBezTo>
                  <a:pt x="239" y="905"/>
                  <a:pt x="140" y="828"/>
                  <a:pt x="78" y="722"/>
                </a:cubicBezTo>
                <a:cubicBezTo>
                  <a:pt x="17" y="615"/>
                  <a:pt x="0" y="491"/>
                  <a:pt x="32" y="372"/>
                </a:cubicBezTo>
                <a:cubicBezTo>
                  <a:pt x="65" y="249"/>
                  <a:pt x="145" y="145"/>
                  <a:pt x="255" y="81"/>
                </a:cubicBezTo>
                <a:cubicBezTo>
                  <a:pt x="366" y="17"/>
                  <a:pt x="495" y="0"/>
                  <a:pt x="619" y="34"/>
                </a:cubicBezTo>
                <a:cubicBezTo>
                  <a:pt x="885" y="105"/>
                  <a:pt x="1043" y="379"/>
                  <a:pt x="972" y="644"/>
                </a:cubicBezTo>
                <a:cubicBezTo>
                  <a:pt x="970" y="651"/>
                  <a:pt x="963" y="654"/>
                  <a:pt x="957" y="653"/>
                </a:cubicBezTo>
                <a:cubicBezTo>
                  <a:pt x="951" y="651"/>
                  <a:pt x="947" y="644"/>
                  <a:pt x="949" y="638"/>
                </a:cubicBezTo>
                <a:cubicBezTo>
                  <a:pt x="1016" y="385"/>
                  <a:pt x="866" y="124"/>
                  <a:pt x="613" y="57"/>
                </a:cubicBezTo>
                <a:cubicBezTo>
                  <a:pt x="495" y="25"/>
                  <a:pt x="373" y="41"/>
                  <a:pt x="267" y="102"/>
                </a:cubicBezTo>
                <a:cubicBezTo>
                  <a:pt x="162" y="163"/>
                  <a:pt x="87" y="261"/>
                  <a:pt x="55" y="379"/>
                </a:cubicBezTo>
                <a:cubicBezTo>
                  <a:pt x="25" y="491"/>
                  <a:pt x="41" y="609"/>
                  <a:pt x="99" y="710"/>
                </a:cubicBezTo>
                <a:cubicBezTo>
                  <a:pt x="157" y="811"/>
                  <a:pt x="251" y="883"/>
                  <a:pt x="364" y="913"/>
                </a:cubicBezTo>
                <a:cubicBezTo>
                  <a:pt x="472" y="942"/>
                  <a:pt x="585" y="927"/>
                  <a:pt x="682" y="871"/>
                </a:cubicBezTo>
                <a:cubicBezTo>
                  <a:pt x="778" y="815"/>
                  <a:pt x="848" y="725"/>
                  <a:pt x="877" y="617"/>
                </a:cubicBezTo>
                <a:cubicBezTo>
                  <a:pt x="904" y="514"/>
                  <a:pt x="890" y="405"/>
                  <a:pt x="837" y="313"/>
                </a:cubicBezTo>
                <a:cubicBezTo>
                  <a:pt x="783" y="220"/>
                  <a:pt x="696" y="153"/>
                  <a:pt x="593" y="126"/>
                </a:cubicBezTo>
                <a:cubicBezTo>
                  <a:pt x="494" y="99"/>
                  <a:pt x="390" y="113"/>
                  <a:pt x="301" y="164"/>
                </a:cubicBezTo>
                <a:cubicBezTo>
                  <a:pt x="212" y="215"/>
                  <a:pt x="148" y="298"/>
                  <a:pt x="122" y="398"/>
                </a:cubicBezTo>
                <a:cubicBezTo>
                  <a:pt x="69" y="594"/>
                  <a:pt x="186" y="797"/>
                  <a:pt x="382" y="850"/>
                </a:cubicBezTo>
                <a:cubicBezTo>
                  <a:pt x="389" y="851"/>
                  <a:pt x="393" y="858"/>
                  <a:pt x="391" y="864"/>
                </a:cubicBezTo>
                <a:cubicBezTo>
                  <a:pt x="389" y="871"/>
                  <a:pt x="383" y="875"/>
                  <a:pt x="376" y="873"/>
                </a:cubicBezTo>
                <a:cubicBezTo>
                  <a:pt x="167" y="817"/>
                  <a:pt x="42" y="601"/>
                  <a:pt x="98" y="392"/>
                </a:cubicBezTo>
                <a:cubicBezTo>
                  <a:pt x="127" y="286"/>
                  <a:pt x="194" y="198"/>
                  <a:pt x="289" y="143"/>
                </a:cubicBezTo>
                <a:cubicBezTo>
                  <a:pt x="383" y="89"/>
                  <a:pt x="494" y="74"/>
                  <a:pt x="599" y="102"/>
                </a:cubicBezTo>
                <a:cubicBezTo>
                  <a:pt x="709" y="132"/>
                  <a:pt x="801" y="202"/>
                  <a:pt x="857" y="301"/>
                </a:cubicBezTo>
                <a:cubicBezTo>
                  <a:pt x="914" y="399"/>
                  <a:pt x="929" y="514"/>
                  <a:pt x="900" y="623"/>
                </a:cubicBezTo>
                <a:cubicBezTo>
                  <a:pt x="869" y="738"/>
                  <a:pt x="796" y="833"/>
                  <a:pt x="694" y="892"/>
                </a:cubicBezTo>
                <a:cubicBezTo>
                  <a:pt x="625" y="932"/>
                  <a:pt x="550" y="952"/>
                  <a:pt x="473" y="952"/>
                </a:cubicBezTo>
                <a:close/>
              </a:path>
            </a:pathLst>
          </a:custGeom>
          <a:solidFill>
            <a:srgbClr val="4C6C9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55" name="Freeform 10">
            <a:extLst>
              <a:ext uri="{FF2B5EF4-FFF2-40B4-BE49-F238E27FC236}">
                <a16:creationId xmlns:a16="http://schemas.microsoft.com/office/drawing/2014/main" id="{A390FD92-3388-4674-B036-656F9436717D}"/>
              </a:ext>
            </a:extLst>
          </p:cNvPr>
          <p:cNvSpPr>
            <a:spLocks/>
          </p:cNvSpPr>
          <p:nvPr/>
        </p:nvSpPr>
        <p:spPr bwMode="auto">
          <a:xfrm>
            <a:off x="3286857" y="4866475"/>
            <a:ext cx="192088" cy="608013"/>
          </a:xfrm>
          <a:custGeom>
            <a:avLst/>
            <a:gdLst>
              <a:gd name="T0" fmla="*/ 13 w 135"/>
              <a:gd name="T1" fmla="*/ 428 h 428"/>
              <a:gd name="T2" fmla="*/ 10 w 135"/>
              <a:gd name="T3" fmla="*/ 428 h 428"/>
              <a:gd name="T4" fmla="*/ 2 w 135"/>
              <a:gd name="T5" fmla="*/ 413 h 428"/>
              <a:gd name="T6" fmla="*/ 110 w 135"/>
              <a:gd name="T7" fmla="*/ 10 h 428"/>
              <a:gd name="T8" fmla="*/ 124 w 135"/>
              <a:gd name="T9" fmla="*/ 1 h 428"/>
              <a:gd name="T10" fmla="*/ 133 w 135"/>
              <a:gd name="T11" fmla="*/ 16 h 428"/>
              <a:gd name="T12" fmla="*/ 25 w 135"/>
              <a:gd name="T13" fmla="*/ 419 h 428"/>
              <a:gd name="T14" fmla="*/ 13 w 135"/>
              <a:gd name="T15" fmla="*/ 428 h 4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35" h="428">
                <a:moveTo>
                  <a:pt x="13" y="428"/>
                </a:moveTo>
                <a:cubicBezTo>
                  <a:pt x="12" y="428"/>
                  <a:pt x="11" y="428"/>
                  <a:pt x="10" y="428"/>
                </a:cubicBezTo>
                <a:cubicBezTo>
                  <a:pt x="4" y="426"/>
                  <a:pt x="0" y="419"/>
                  <a:pt x="2" y="413"/>
                </a:cubicBezTo>
                <a:cubicBezTo>
                  <a:pt x="110" y="10"/>
                  <a:pt x="110" y="10"/>
                  <a:pt x="110" y="10"/>
                </a:cubicBezTo>
                <a:cubicBezTo>
                  <a:pt x="111" y="3"/>
                  <a:pt x="118" y="0"/>
                  <a:pt x="124" y="1"/>
                </a:cubicBezTo>
                <a:cubicBezTo>
                  <a:pt x="131" y="3"/>
                  <a:pt x="135" y="10"/>
                  <a:pt x="133" y="16"/>
                </a:cubicBezTo>
                <a:cubicBezTo>
                  <a:pt x="25" y="419"/>
                  <a:pt x="25" y="419"/>
                  <a:pt x="25" y="419"/>
                </a:cubicBezTo>
                <a:cubicBezTo>
                  <a:pt x="23" y="424"/>
                  <a:pt x="19" y="428"/>
                  <a:pt x="13" y="428"/>
                </a:cubicBezTo>
                <a:close/>
              </a:path>
            </a:pathLst>
          </a:custGeom>
          <a:solidFill>
            <a:srgbClr val="4C6C9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56" name="Freeform 11">
            <a:extLst>
              <a:ext uri="{FF2B5EF4-FFF2-40B4-BE49-F238E27FC236}">
                <a16:creationId xmlns:a16="http://schemas.microsoft.com/office/drawing/2014/main" id="{DB73DDD2-E251-4430-B1D1-64D19B2CF21B}"/>
              </a:ext>
            </a:extLst>
          </p:cNvPr>
          <p:cNvSpPr>
            <a:spLocks noEditPoints="1"/>
          </p:cNvSpPr>
          <p:nvPr/>
        </p:nvSpPr>
        <p:spPr bwMode="auto">
          <a:xfrm>
            <a:off x="3177319" y="5425275"/>
            <a:ext cx="214313" cy="209550"/>
          </a:xfrm>
          <a:custGeom>
            <a:avLst/>
            <a:gdLst>
              <a:gd name="T0" fmla="*/ 79 w 150"/>
              <a:gd name="T1" fmla="*/ 147 h 147"/>
              <a:gd name="T2" fmla="*/ 19 w 150"/>
              <a:gd name="T3" fmla="*/ 113 h 147"/>
              <a:gd name="T4" fmla="*/ 44 w 150"/>
              <a:gd name="T5" fmla="*/ 19 h 147"/>
              <a:gd name="T6" fmla="*/ 138 w 150"/>
              <a:gd name="T7" fmla="*/ 44 h 147"/>
              <a:gd name="T8" fmla="*/ 138 w 150"/>
              <a:gd name="T9" fmla="*/ 44 h 147"/>
              <a:gd name="T10" fmla="*/ 145 w 150"/>
              <a:gd name="T11" fmla="*/ 96 h 147"/>
              <a:gd name="T12" fmla="*/ 113 w 150"/>
              <a:gd name="T13" fmla="*/ 138 h 147"/>
              <a:gd name="T14" fmla="*/ 79 w 150"/>
              <a:gd name="T15" fmla="*/ 147 h 147"/>
              <a:gd name="T16" fmla="*/ 79 w 150"/>
              <a:gd name="T17" fmla="*/ 34 h 147"/>
              <a:gd name="T18" fmla="*/ 56 w 150"/>
              <a:gd name="T19" fmla="*/ 40 h 147"/>
              <a:gd name="T20" fmla="*/ 40 w 150"/>
              <a:gd name="T21" fmla="*/ 101 h 147"/>
              <a:gd name="T22" fmla="*/ 101 w 150"/>
              <a:gd name="T23" fmla="*/ 117 h 147"/>
              <a:gd name="T24" fmla="*/ 122 w 150"/>
              <a:gd name="T25" fmla="*/ 90 h 147"/>
              <a:gd name="T26" fmla="*/ 117 w 150"/>
              <a:gd name="T27" fmla="*/ 56 h 147"/>
              <a:gd name="T28" fmla="*/ 117 w 150"/>
              <a:gd name="T29" fmla="*/ 56 h 147"/>
              <a:gd name="T30" fmla="*/ 79 w 150"/>
              <a:gd name="T31" fmla="*/ 34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50" h="147">
                <a:moveTo>
                  <a:pt x="79" y="147"/>
                </a:moveTo>
                <a:cubicBezTo>
                  <a:pt x="55" y="147"/>
                  <a:pt x="32" y="135"/>
                  <a:pt x="19" y="113"/>
                </a:cubicBezTo>
                <a:cubicBezTo>
                  <a:pt x="0" y="80"/>
                  <a:pt x="12" y="38"/>
                  <a:pt x="44" y="19"/>
                </a:cubicBezTo>
                <a:cubicBezTo>
                  <a:pt x="77" y="0"/>
                  <a:pt x="119" y="12"/>
                  <a:pt x="138" y="44"/>
                </a:cubicBezTo>
                <a:cubicBezTo>
                  <a:pt x="138" y="44"/>
                  <a:pt x="138" y="44"/>
                  <a:pt x="138" y="44"/>
                </a:cubicBezTo>
                <a:cubicBezTo>
                  <a:pt x="147" y="60"/>
                  <a:pt x="150" y="79"/>
                  <a:pt x="145" y="96"/>
                </a:cubicBezTo>
                <a:cubicBezTo>
                  <a:pt x="140" y="114"/>
                  <a:pt x="129" y="129"/>
                  <a:pt x="113" y="138"/>
                </a:cubicBezTo>
                <a:cubicBezTo>
                  <a:pt x="102" y="144"/>
                  <a:pt x="90" y="147"/>
                  <a:pt x="79" y="147"/>
                </a:cubicBezTo>
                <a:close/>
                <a:moveTo>
                  <a:pt x="79" y="34"/>
                </a:moveTo>
                <a:cubicBezTo>
                  <a:pt x="71" y="34"/>
                  <a:pt x="63" y="36"/>
                  <a:pt x="56" y="40"/>
                </a:cubicBezTo>
                <a:cubicBezTo>
                  <a:pt x="35" y="52"/>
                  <a:pt x="28" y="80"/>
                  <a:pt x="40" y="101"/>
                </a:cubicBezTo>
                <a:cubicBezTo>
                  <a:pt x="52" y="122"/>
                  <a:pt x="80" y="130"/>
                  <a:pt x="101" y="117"/>
                </a:cubicBezTo>
                <a:cubicBezTo>
                  <a:pt x="111" y="111"/>
                  <a:pt x="119" y="102"/>
                  <a:pt x="122" y="90"/>
                </a:cubicBezTo>
                <a:cubicBezTo>
                  <a:pt x="125" y="79"/>
                  <a:pt x="123" y="67"/>
                  <a:pt x="117" y="56"/>
                </a:cubicBezTo>
                <a:cubicBezTo>
                  <a:pt x="117" y="56"/>
                  <a:pt x="117" y="56"/>
                  <a:pt x="117" y="56"/>
                </a:cubicBezTo>
                <a:cubicBezTo>
                  <a:pt x="109" y="42"/>
                  <a:pt x="94" y="34"/>
                  <a:pt x="79" y="34"/>
                </a:cubicBezTo>
                <a:close/>
              </a:path>
            </a:pathLst>
          </a:custGeom>
          <a:solidFill>
            <a:srgbClr val="4C6C9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57" name="Freeform 12">
            <a:extLst>
              <a:ext uri="{FF2B5EF4-FFF2-40B4-BE49-F238E27FC236}">
                <a16:creationId xmlns:a16="http://schemas.microsoft.com/office/drawing/2014/main" id="{C4C87112-1BEB-415E-ACEA-429E10696D9D}"/>
              </a:ext>
            </a:extLst>
          </p:cNvPr>
          <p:cNvSpPr>
            <a:spLocks/>
          </p:cNvSpPr>
          <p:nvPr/>
        </p:nvSpPr>
        <p:spPr bwMode="auto">
          <a:xfrm>
            <a:off x="3270982" y="5007762"/>
            <a:ext cx="1265238" cy="547688"/>
          </a:xfrm>
          <a:custGeom>
            <a:avLst/>
            <a:gdLst>
              <a:gd name="T0" fmla="*/ 13 w 885"/>
              <a:gd name="T1" fmla="*/ 384 h 384"/>
              <a:gd name="T2" fmla="*/ 3 w 885"/>
              <a:gd name="T3" fmla="*/ 378 h 384"/>
              <a:gd name="T4" fmla="*/ 7 w 885"/>
              <a:gd name="T5" fmla="*/ 361 h 384"/>
              <a:gd name="T6" fmla="*/ 869 w 885"/>
              <a:gd name="T7" fmla="*/ 2 h 384"/>
              <a:gd name="T8" fmla="*/ 883 w 885"/>
              <a:gd name="T9" fmla="*/ 10 h 384"/>
              <a:gd name="T10" fmla="*/ 875 w 885"/>
              <a:gd name="T11" fmla="*/ 25 h 384"/>
              <a:gd name="T12" fmla="*/ 19 w 885"/>
              <a:gd name="T13" fmla="*/ 382 h 384"/>
              <a:gd name="T14" fmla="*/ 13 w 885"/>
              <a:gd name="T15" fmla="*/ 384 h 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85" h="384">
                <a:moveTo>
                  <a:pt x="13" y="384"/>
                </a:moveTo>
                <a:cubicBezTo>
                  <a:pt x="9" y="384"/>
                  <a:pt x="5" y="382"/>
                  <a:pt x="3" y="378"/>
                </a:cubicBezTo>
                <a:cubicBezTo>
                  <a:pt x="0" y="372"/>
                  <a:pt x="1" y="365"/>
                  <a:pt x="7" y="361"/>
                </a:cubicBezTo>
                <a:cubicBezTo>
                  <a:pt x="277" y="204"/>
                  <a:pt x="567" y="83"/>
                  <a:pt x="869" y="2"/>
                </a:cubicBezTo>
                <a:cubicBezTo>
                  <a:pt x="875" y="0"/>
                  <a:pt x="882" y="4"/>
                  <a:pt x="883" y="10"/>
                </a:cubicBezTo>
                <a:cubicBezTo>
                  <a:pt x="885" y="17"/>
                  <a:pt x="881" y="23"/>
                  <a:pt x="875" y="25"/>
                </a:cubicBezTo>
                <a:cubicBezTo>
                  <a:pt x="576" y="106"/>
                  <a:pt x="288" y="226"/>
                  <a:pt x="19" y="382"/>
                </a:cubicBezTo>
                <a:cubicBezTo>
                  <a:pt x="17" y="383"/>
                  <a:pt x="15" y="384"/>
                  <a:pt x="13" y="384"/>
                </a:cubicBezTo>
                <a:close/>
              </a:path>
            </a:pathLst>
          </a:custGeom>
          <a:solidFill>
            <a:srgbClr val="FD797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58" name="Freeform 13">
            <a:extLst>
              <a:ext uri="{FF2B5EF4-FFF2-40B4-BE49-F238E27FC236}">
                <a16:creationId xmlns:a16="http://schemas.microsoft.com/office/drawing/2014/main" id="{CD047238-7191-4E83-92E5-905D8A6F4924}"/>
              </a:ext>
            </a:extLst>
          </p:cNvPr>
          <p:cNvSpPr>
            <a:spLocks/>
          </p:cNvSpPr>
          <p:nvPr/>
        </p:nvSpPr>
        <p:spPr bwMode="auto">
          <a:xfrm>
            <a:off x="3490057" y="3364700"/>
            <a:ext cx="1498600" cy="1393825"/>
          </a:xfrm>
          <a:custGeom>
            <a:avLst/>
            <a:gdLst>
              <a:gd name="T0" fmla="*/ 516 w 1049"/>
              <a:gd name="T1" fmla="*/ 945 h 980"/>
              <a:gd name="T2" fmla="*/ 296 w 1049"/>
              <a:gd name="T3" fmla="*/ 885 h 980"/>
              <a:gd name="T4" fmla="*/ 127 w 1049"/>
              <a:gd name="T5" fmla="*/ 256 h 980"/>
              <a:gd name="T6" fmla="*/ 418 w 1049"/>
              <a:gd name="T7" fmla="*/ 33 h 980"/>
              <a:gd name="T8" fmla="*/ 782 w 1049"/>
              <a:gd name="T9" fmla="*/ 81 h 980"/>
              <a:gd name="T10" fmla="*/ 1014 w 1049"/>
              <a:gd name="T11" fmla="*/ 384 h 980"/>
              <a:gd name="T12" fmla="*/ 964 w 1049"/>
              <a:gd name="T13" fmla="*/ 762 h 980"/>
              <a:gd name="T14" fmla="*/ 948 w 1049"/>
              <a:gd name="T15" fmla="*/ 767 h 980"/>
              <a:gd name="T16" fmla="*/ 944 w 1049"/>
              <a:gd name="T17" fmla="*/ 750 h 980"/>
              <a:gd name="T18" fmla="*/ 991 w 1049"/>
              <a:gd name="T19" fmla="*/ 390 h 980"/>
              <a:gd name="T20" fmla="*/ 770 w 1049"/>
              <a:gd name="T21" fmla="*/ 102 h 980"/>
              <a:gd name="T22" fmla="*/ 424 w 1049"/>
              <a:gd name="T23" fmla="*/ 56 h 980"/>
              <a:gd name="T24" fmla="*/ 148 w 1049"/>
              <a:gd name="T25" fmla="*/ 268 h 980"/>
              <a:gd name="T26" fmla="*/ 308 w 1049"/>
              <a:gd name="T27" fmla="*/ 865 h 980"/>
              <a:gd name="T28" fmla="*/ 880 w 1049"/>
              <a:gd name="T29" fmla="*/ 711 h 980"/>
              <a:gd name="T30" fmla="*/ 733 w 1049"/>
              <a:gd name="T31" fmla="*/ 163 h 980"/>
              <a:gd name="T32" fmla="*/ 441 w 1049"/>
              <a:gd name="T33" fmla="*/ 125 h 980"/>
              <a:gd name="T34" fmla="*/ 207 w 1049"/>
              <a:gd name="T35" fmla="*/ 304 h 980"/>
              <a:gd name="T36" fmla="*/ 170 w 1049"/>
              <a:gd name="T37" fmla="*/ 584 h 980"/>
              <a:gd name="T38" fmla="*/ 342 w 1049"/>
              <a:gd name="T39" fmla="*/ 808 h 980"/>
              <a:gd name="T40" fmla="*/ 346 w 1049"/>
              <a:gd name="T41" fmla="*/ 824 h 980"/>
              <a:gd name="T42" fmla="*/ 330 w 1049"/>
              <a:gd name="T43" fmla="*/ 829 h 980"/>
              <a:gd name="T44" fmla="*/ 147 w 1049"/>
              <a:gd name="T45" fmla="*/ 590 h 980"/>
              <a:gd name="T46" fmla="*/ 186 w 1049"/>
              <a:gd name="T47" fmla="*/ 292 h 980"/>
              <a:gd name="T48" fmla="*/ 434 w 1049"/>
              <a:gd name="T49" fmla="*/ 102 h 980"/>
              <a:gd name="T50" fmla="*/ 745 w 1049"/>
              <a:gd name="T51" fmla="*/ 142 h 980"/>
              <a:gd name="T52" fmla="*/ 900 w 1049"/>
              <a:gd name="T53" fmla="*/ 723 h 980"/>
              <a:gd name="T54" fmla="*/ 632 w 1049"/>
              <a:gd name="T55" fmla="*/ 930 h 980"/>
              <a:gd name="T56" fmla="*/ 516 w 1049"/>
              <a:gd name="T57" fmla="*/ 945 h 9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49" h="980">
                <a:moveTo>
                  <a:pt x="516" y="945"/>
                </a:moveTo>
                <a:cubicBezTo>
                  <a:pt x="440" y="945"/>
                  <a:pt x="364" y="925"/>
                  <a:pt x="296" y="885"/>
                </a:cubicBezTo>
                <a:cubicBezTo>
                  <a:pt x="76" y="758"/>
                  <a:pt x="0" y="476"/>
                  <a:pt x="127" y="256"/>
                </a:cubicBezTo>
                <a:cubicBezTo>
                  <a:pt x="191" y="146"/>
                  <a:pt x="295" y="66"/>
                  <a:pt x="418" y="33"/>
                </a:cubicBezTo>
                <a:cubicBezTo>
                  <a:pt x="542" y="0"/>
                  <a:pt x="671" y="17"/>
                  <a:pt x="782" y="81"/>
                </a:cubicBezTo>
                <a:cubicBezTo>
                  <a:pt x="897" y="148"/>
                  <a:pt x="980" y="255"/>
                  <a:pt x="1014" y="384"/>
                </a:cubicBezTo>
                <a:cubicBezTo>
                  <a:pt x="1049" y="512"/>
                  <a:pt x="1031" y="647"/>
                  <a:pt x="964" y="762"/>
                </a:cubicBezTo>
                <a:cubicBezTo>
                  <a:pt x="961" y="768"/>
                  <a:pt x="954" y="770"/>
                  <a:pt x="948" y="767"/>
                </a:cubicBezTo>
                <a:cubicBezTo>
                  <a:pt x="942" y="763"/>
                  <a:pt x="940" y="756"/>
                  <a:pt x="944" y="750"/>
                </a:cubicBezTo>
                <a:cubicBezTo>
                  <a:pt x="1007" y="640"/>
                  <a:pt x="1024" y="512"/>
                  <a:pt x="991" y="390"/>
                </a:cubicBezTo>
                <a:cubicBezTo>
                  <a:pt x="958" y="268"/>
                  <a:pt x="880" y="165"/>
                  <a:pt x="770" y="102"/>
                </a:cubicBezTo>
                <a:cubicBezTo>
                  <a:pt x="665" y="41"/>
                  <a:pt x="542" y="25"/>
                  <a:pt x="424" y="56"/>
                </a:cubicBezTo>
                <a:cubicBezTo>
                  <a:pt x="307" y="88"/>
                  <a:pt x="209" y="163"/>
                  <a:pt x="148" y="268"/>
                </a:cubicBezTo>
                <a:cubicBezTo>
                  <a:pt x="28" y="477"/>
                  <a:pt x="99" y="744"/>
                  <a:pt x="308" y="865"/>
                </a:cubicBezTo>
                <a:cubicBezTo>
                  <a:pt x="508" y="980"/>
                  <a:pt x="764" y="911"/>
                  <a:pt x="880" y="711"/>
                </a:cubicBezTo>
                <a:cubicBezTo>
                  <a:pt x="990" y="520"/>
                  <a:pt x="924" y="274"/>
                  <a:pt x="733" y="163"/>
                </a:cubicBezTo>
                <a:cubicBezTo>
                  <a:pt x="644" y="112"/>
                  <a:pt x="540" y="98"/>
                  <a:pt x="441" y="125"/>
                </a:cubicBezTo>
                <a:cubicBezTo>
                  <a:pt x="341" y="151"/>
                  <a:pt x="258" y="215"/>
                  <a:pt x="207" y="304"/>
                </a:cubicBezTo>
                <a:cubicBezTo>
                  <a:pt x="158" y="389"/>
                  <a:pt x="145" y="489"/>
                  <a:pt x="170" y="584"/>
                </a:cubicBezTo>
                <a:cubicBezTo>
                  <a:pt x="196" y="679"/>
                  <a:pt x="257" y="759"/>
                  <a:pt x="342" y="808"/>
                </a:cubicBezTo>
                <a:cubicBezTo>
                  <a:pt x="348" y="811"/>
                  <a:pt x="350" y="819"/>
                  <a:pt x="346" y="824"/>
                </a:cubicBezTo>
                <a:cubicBezTo>
                  <a:pt x="343" y="830"/>
                  <a:pt x="336" y="832"/>
                  <a:pt x="330" y="829"/>
                </a:cubicBezTo>
                <a:cubicBezTo>
                  <a:pt x="239" y="776"/>
                  <a:pt x="174" y="692"/>
                  <a:pt x="147" y="590"/>
                </a:cubicBezTo>
                <a:cubicBezTo>
                  <a:pt x="120" y="489"/>
                  <a:pt x="134" y="383"/>
                  <a:pt x="186" y="292"/>
                </a:cubicBezTo>
                <a:cubicBezTo>
                  <a:pt x="241" y="197"/>
                  <a:pt x="329" y="130"/>
                  <a:pt x="434" y="102"/>
                </a:cubicBezTo>
                <a:cubicBezTo>
                  <a:pt x="540" y="73"/>
                  <a:pt x="650" y="88"/>
                  <a:pt x="745" y="142"/>
                </a:cubicBezTo>
                <a:cubicBezTo>
                  <a:pt x="948" y="260"/>
                  <a:pt x="1018" y="520"/>
                  <a:pt x="900" y="723"/>
                </a:cubicBezTo>
                <a:cubicBezTo>
                  <a:pt x="841" y="826"/>
                  <a:pt x="746" y="899"/>
                  <a:pt x="632" y="930"/>
                </a:cubicBezTo>
                <a:cubicBezTo>
                  <a:pt x="594" y="940"/>
                  <a:pt x="555" y="945"/>
                  <a:pt x="516" y="945"/>
                </a:cubicBezTo>
                <a:close/>
              </a:path>
            </a:pathLst>
          </a:custGeom>
          <a:solidFill>
            <a:srgbClr val="1BAAB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59" name="Freeform 14">
            <a:extLst>
              <a:ext uri="{FF2B5EF4-FFF2-40B4-BE49-F238E27FC236}">
                <a16:creationId xmlns:a16="http://schemas.microsoft.com/office/drawing/2014/main" id="{83A35AA1-3842-4766-AF86-C0296C2ACE30}"/>
              </a:ext>
            </a:extLst>
          </p:cNvPr>
          <p:cNvSpPr>
            <a:spLocks/>
          </p:cNvSpPr>
          <p:nvPr/>
        </p:nvSpPr>
        <p:spPr bwMode="auto">
          <a:xfrm>
            <a:off x="4536219" y="4420387"/>
            <a:ext cx="336550" cy="550863"/>
          </a:xfrm>
          <a:custGeom>
            <a:avLst/>
            <a:gdLst>
              <a:gd name="T0" fmla="*/ 14 w 236"/>
              <a:gd name="T1" fmla="*/ 387 h 387"/>
              <a:gd name="T2" fmla="*/ 8 w 236"/>
              <a:gd name="T3" fmla="*/ 386 h 387"/>
              <a:gd name="T4" fmla="*/ 3 w 236"/>
              <a:gd name="T5" fmla="*/ 369 h 387"/>
              <a:gd name="T6" fmla="*/ 212 w 236"/>
              <a:gd name="T7" fmla="*/ 8 h 387"/>
              <a:gd name="T8" fmla="*/ 228 w 236"/>
              <a:gd name="T9" fmla="*/ 4 h 387"/>
              <a:gd name="T10" fmla="*/ 233 w 236"/>
              <a:gd name="T11" fmla="*/ 20 h 387"/>
              <a:gd name="T12" fmla="*/ 24 w 236"/>
              <a:gd name="T13" fmla="*/ 381 h 387"/>
              <a:gd name="T14" fmla="*/ 14 w 236"/>
              <a:gd name="T15" fmla="*/ 387 h 3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36" h="387">
                <a:moveTo>
                  <a:pt x="14" y="387"/>
                </a:moveTo>
                <a:cubicBezTo>
                  <a:pt x="12" y="387"/>
                  <a:pt x="9" y="387"/>
                  <a:pt x="8" y="386"/>
                </a:cubicBezTo>
                <a:cubicBezTo>
                  <a:pt x="2" y="382"/>
                  <a:pt x="0" y="375"/>
                  <a:pt x="3" y="369"/>
                </a:cubicBezTo>
                <a:cubicBezTo>
                  <a:pt x="212" y="8"/>
                  <a:pt x="212" y="8"/>
                  <a:pt x="212" y="8"/>
                </a:cubicBezTo>
                <a:cubicBezTo>
                  <a:pt x="215" y="2"/>
                  <a:pt x="223" y="0"/>
                  <a:pt x="228" y="4"/>
                </a:cubicBezTo>
                <a:cubicBezTo>
                  <a:pt x="234" y="7"/>
                  <a:pt x="236" y="14"/>
                  <a:pt x="233" y="20"/>
                </a:cubicBezTo>
                <a:cubicBezTo>
                  <a:pt x="24" y="381"/>
                  <a:pt x="24" y="381"/>
                  <a:pt x="24" y="381"/>
                </a:cubicBezTo>
                <a:cubicBezTo>
                  <a:pt x="22" y="385"/>
                  <a:pt x="18" y="387"/>
                  <a:pt x="14" y="387"/>
                </a:cubicBezTo>
                <a:close/>
              </a:path>
            </a:pathLst>
          </a:custGeom>
          <a:solidFill>
            <a:srgbClr val="1BAAB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60" name="Freeform 15">
            <a:extLst>
              <a:ext uri="{FF2B5EF4-FFF2-40B4-BE49-F238E27FC236}">
                <a16:creationId xmlns:a16="http://schemas.microsoft.com/office/drawing/2014/main" id="{424128C2-9B8C-44D3-8EC2-01B78B526926}"/>
              </a:ext>
            </a:extLst>
          </p:cNvPr>
          <p:cNvSpPr>
            <a:spLocks noEditPoints="1"/>
          </p:cNvSpPr>
          <p:nvPr/>
        </p:nvSpPr>
        <p:spPr bwMode="auto">
          <a:xfrm>
            <a:off x="4418744" y="4918862"/>
            <a:ext cx="209550" cy="206375"/>
          </a:xfrm>
          <a:custGeom>
            <a:avLst/>
            <a:gdLst>
              <a:gd name="T0" fmla="*/ 71 w 147"/>
              <a:gd name="T1" fmla="*/ 145 h 145"/>
              <a:gd name="T2" fmla="*/ 5 w 147"/>
              <a:gd name="T3" fmla="*/ 94 h 145"/>
              <a:gd name="T4" fmla="*/ 11 w 147"/>
              <a:gd name="T5" fmla="*/ 42 h 145"/>
              <a:gd name="T6" fmla="*/ 53 w 147"/>
              <a:gd name="T7" fmla="*/ 10 h 145"/>
              <a:gd name="T8" fmla="*/ 137 w 147"/>
              <a:gd name="T9" fmla="*/ 59 h 145"/>
              <a:gd name="T10" fmla="*/ 137 w 147"/>
              <a:gd name="T11" fmla="*/ 59 h 145"/>
              <a:gd name="T12" fmla="*/ 89 w 147"/>
              <a:gd name="T13" fmla="*/ 143 h 145"/>
              <a:gd name="T14" fmla="*/ 71 w 147"/>
              <a:gd name="T15" fmla="*/ 145 h 145"/>
              <a:gd name="T16" fmla="*/ 71 w 147"/>
              <a:gd name="T17" fmla="*/ 32 h 145"/>
              <a:gd name="T18" fmla="*/ 59 w 147"/>
              <a:gd name="T19" fmla="*/ 33 h 145"/>
              <a:gd name="T20" fmla="*/ 32 w 147"/>
              <a:gd name="T21" fmla="*/ 54 h 145"/>
              <a:gd name="T22" fmla="*/ 28 w 147"/>
              <a:gd name="T23" fmla="*/ 88 h 145"/>
              <a:gd name="T24" fmla="*/ 82 w 147"/>
              <a:gd name="T25" fmla="*/ 120 h 145"/>
              <a:gd name="T26" fmla="*/ 114 w 147"/>
              <a:gd name="T27" fmla="*/ 65 h 145"/>
              <a:gd name="T28" fmla="*/ 114 w 147"/>
              <a:gd name="T29" fmla="*/ 65 h 145"/>
              <a:gd name="T30" fmla="*/ 71 w 147"/>
              <a:gd name="T31" fmla="*/ 32 h 1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47" h="145">
                <a:moveTo>
                  <a:pt x="71" y="145"/>
                </a:moveTo>
                <a:cubicBezTo>
                  <a:pt x="41" y="145"/>
                  <a:pt x="13" y="125"/>
                  <a:pt x="5" y="94"/>
                </a:cubicBezTo>
                <a:cubicBezTo>
                  <a:pt x="0" y="77"/>
                  <a:pt x="2" y="58"/>
                  <a:pt x="11" y="42"/>
                </a:cubicBezTo>
                <a:cubicBezTo>
                  <a:pt x="21" y="26"/>
                  <a:pt x="35" y="15"/>
                  <a:pt x="53" y="10"/>
                </a:cubicBezTo>
                <a:cubicBezTo>
                  <a:pt x="90" y="0"/>
                  <a:pt x="127" y="22"/>
                  <a:pt x="137" y="59"/>
                </a:cubicBezTo>
                <a:cubicBezTo>
                  <a:pt x="137" y="59"/>
                  <a:pt x="137" y="59"/>
                  <a:pt x="137" y="59"/>
                </a:cubicBezTo>
                <a:cubicBezTo>
                  <a:pt x="147" y="95"/>
                  <a:pt x="125" y="133"/>
                  <a:pt x="89" y="143"/>
                </a:cubicBezTo>
                <a:cubicBezTo>
                  <a:pt x="83" y="144"/>
                  <a:pt x="77" y="145"/>
                  <a:pt x="71" y="145"/>
                </a:cubicBezTo>
                <a:close/>
                <a:moveTo>
                  <a:pt x="71" y="32"/>
                </a:moveTo>
                <a:cubicBezTo>
                  <a:pt x="67" y="32"/>
                  <a:pt x="63" y="32"/>
                  <a:pt x="59" y="33"/>
                </a:cubicBezTo>
                <a:cubicBezTo>
                  <a:pt x="48" y="36"/>
                  <a:pt x="38" y="44"/>
                  <a:pt x="32" y="54"/>
                </a:cubicBezTo>
                <a:cubicBezTo>
                  <a:pt x="26" y="64"/>
                  <a:pt x="25" y="77"/>
                  <a:pt x="28" y="88"/>
                </a:cubicBezTo>
                <a:cubicBezTo>
                  <a:pt x="34" y="112"/>
                  <a:pt x="59" y="126"/>
                  <a:pt x="82" y="120"/>
                </a:cubicBezTo>
                <a:cubicBezTo>
                  <a:pt x="106" y="113"/>
                  <a:pt x="120" y="89"/>
                  <a:pt x="114" y="65"/>
                </a:cubicBezTo>
                <a:cubicBezTo>
                  <a:pt x="114" y="65"/>
                  <a:pt x="114" y="65"/>
                  <a:pt x="114" y="65"/>
                </a:cubicBezTo>
                <a:cubicBezTo>
                  <a:pt x="109" y="45"/>
                  <a:pt x="91" y="32"/>
                  <a:pt x="71" y="32"/>
                </a:cubicBezTo>
                <a:close/>
              </a:path>
            </a:pathLst>
          </a:custGeom>
          <a:solidFill>
            <a:srgbClr val="1BAAB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61" name="Freeform 16">
            <a:extLst>
              <a:ext uri="{FF2B5EF4-FFF2-40B4-BE49-F238E27FC236}">
                <a16:creationId xmlns:a16="http://schemas.microsoft.com/office/drawing/2014/main" id="{8AAE7A82-6A94-4086-8EB1-03DEF2FC3CFC}"/>
              </a:ext>
            </a:extLst>
          </p:cNvPr>
          <p:cNvSpPr>
            <a:spLocks/>
          </p:cNvSpPr>
          <p:nvPr/>
        </p:nvSpPr>
        <p:spPr bwMode="auto">
          <a:xfrm>
            <a:off x="4496532" y="4836312"/>
            <a:ext cx="1360488" cy="207963"/>
          </a:xfrm>
          <a:custGeom>
            <a:avLst/>
            <a:gdLst>
              <a:gd name="T0" fmla="*/ 14 w 952"/>
              <a:gd name="T1" fmla="*/ 146 h 146"/>
              <a:gd name="T2" fmla="*/ 2 w 952"/>
              <a:gd name="T3" fmla="*/ 138 h 146"/>
              <a:gd name="T4" fmla="*/ 11 w 952"/>
              <a:gd name="T5" fmla="*/ 123 h 146"/>
              <a:gd name="T6" fmla="*/ 940 w 952"/>
              <a:gd name="T7" fmla="*/ 0 h 146"/>
              <a:gd name="T8" fmla="*/ 940 w 952"/>
              <a:gd name="T9" fmla="*/ 0 h 146"/>
              <a:gd name="T10" fmla="*/ 952 w 952"/>
              <a:gd name="T11" fmla="*/ 12 h 146"/>
              <a:gd name="T12" fmla="*/ 940 w 952"/>
              <a:gd name="T13" fmla="*/ 24 h 146"/>
              <a:gd name="T14" fmla="*/ 17 w 952"/>
              <a:gd name="T15" fmla="*/ 146 h 146"/>
              <a:gd name="T16" fmla="*/ 14 w 952"/>
              <a:gd name="T17" fmla="*/ 146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52" h="146">
                <a:moveTo>
                  <a:pt x="14" y="146"/>
                </a:moveTo>
                <a:cubicBezTo>
                  <a:pt x="8" y="146"/>
                  <a:pt x="4" y="143"/>
                  <a:pt x="2" y="138"/>
                </a:cubicBezTo>
                <a:cubicBezTo>
                  <a:pt x="0" y="131"/>
                  <a:pt x="4" y="125"/>
                  <a:pt x="11" y="123"/>
                </a:cubicBezTo>
                <a:cubicBezTo>
                  <a:pt x="312" y="42"/>
                  <a:pt x="624" y="0"/>
                  <a:pt x="940" y="0"/>
                </a:cubicBezTo>
                <a:cubicBezTo>
                  <a:pt x="940" y="0"/>
                  <a:pt x="940" y="0"/>
                  <a:pt x="940" y="0"/>
                </a:cubicBezTo>
                <a:cubicBezTo>
                  <a:pt x="946" y="0"/>
                  <a:pt x="952" y="5"/>
                  <a:pt x="952" y="12"/>
                </a:cubicBezTo>
                <a:cubicBezTo>
                  <a:pt x="952" y="18"/>
                  <a:pt x="946" y="24"/>
                  <a:pt x="940" y="24"/>
                </a:cubicBezTo>
                <a:cubicBezTo>
                  <a:pt x="626" y="24"/>
                  <a:pt x="316" y="65"/>
                  <a:pt x="17" y="146"/>
                </a:cubicBezTo>
                <a:cubicBezTo>
                  <a:pt x="16" y="146"/>
                  <a:pt x="15" y="146"/>
                  <a:pt x="14" y="146"/>
                </a:cubicBezTo>
                <a:close/>
              </a:path>
            </a:pathLst>
          </a:custGeom>
          <a:solidFill>
            <a:srgbClr val="FD797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62" name="Freeform 17">
            <a:extLst>
              <a:ext uri="{FF2B5EF4-FFF2-40B4-BE49-F238E27FC236}">
                <a16:creationId xmlns:a16="http://schemas.microsoft.com/office/drawing/2014/main" id="{01971BFA-ACEF-40AB-A37E-DAC56B168EAF}"/>
              </a:ext>
            </a:extLst>
          </p:cNvPr>
          <p:cNvSpPr>
            <a:spLocks/>
          </p:cNvSpPr>
          <p:nvPr/>
        </p:nvSpPr>
        <p:spPr bwMode="auto">
          <a:xfrm>
            <a:off x="5101369" y="3113875"/>
            <a:ext cx="1433513" cy="1376363"/>
          </a:xfrm>
          <a:custGeom>
            <a:avLst/>
            <a:gdLst>
              <a:gd name="T0" fmla="*/ 492 w 1003"/>
              <a:gd name="T1" fmla="*/ 967 h 967"/>
              <a:gd name="T2" fmla="*/ 179 w 1003"/>
              <a:gd name="T3" fmla="*/ 838 h 967"/>
              <a:gd name="T4" fmla="*/ 179 w 1003"/>
              <a:gd name="T5" fmla="*/ 186 h 967"/>
              <a:gd name="T6" fmla="*/ 857 w 1003"/>
              <a:gd name="T7" fmla="*/ 186 h 967"/>
              <a:gd name="T8" fmla="*/ 1003 w 1003"/>
              <a:gd name="T9" fmla="*/ 539 h 967"/>
              <a:gd name="T10" fmla="*/ 857 w 1003"/>
              <a:gd name="T11" fmla="*/ 892 h 967"/>
              <a:gd name="T12" fmla="*/ 840 w 1003"/>
              <a:gd name="T13" fmla="*/ 892 h 967"/>
              <a:gd name="T14" fmla="*/ 840 w 1003"/>
              <a:gd name="T15" fmla="*/ 875 h 967"/>
              <a:gd name="T16" fmla="*/ 979 w 1003"/>
              <a:gd name="T17" fmla="*/ 539 h 967"/>
              <a:gd name="T18" fmla="*/ 840 w 1003"/>
              <a:gd name="T19" fmla="*/ 203 h 967"/>
              <a:gd name="T20" fmla="*/ 196 w 1003"/>
              <a:gd name="T21" fmla="*/ 203 h 967"/>
              <a:gd name="T22" fmla="*/ 196 w 1003"/>
              <a:gd name="T23" fmla="*/ 821 h 967"/>
              <a:gd name="T24" fmla="*/ 492 w 1003"/>
              <a:gd name="T25" fmla="*/ 943 h 967"/>
              <a:gd name="T26" fmla="*/ 788 w 1003"/>
              <a:gd name="T27" fmla="*/ 821 h 967"/>
              <a:gd name="T28" fmla="*/ 906 w 1003"/>
              <a:gd name="T29" fmla="*/ 537 h 967"/>
              <a:gd name="T30" fmla="*/ 788 w 1003"/>
              <a:gd name="T31" fmla="*/ 253 h 967"/>
              <a:gd name="T32" fmla="*/ 244 w 1003"/>
              <a:gd name="T33" fmla="*/ 253 h 967"/>
              <a:gd name="T34" fmla="*/ 136 w 1003"/>
              <a:gd name="T35" fmla="*/ 514 h 967"/>
              <a:gd name="T36" fmla="*/ 244 w 1003"/>
              <a:gd name="T37" fmla="*/ 775 h 967"/>
              <a:gd name="T38" fmla="*/ 244 w 1003"/>
              <a:gd name="T39" fmla="*/ 792 h 967"/>
              <a:gd name="T40" fmla="*/ 227 w 1003"/>
              <a:gd name="T41" fmla="*/ 792 h 967"/>
              <a:gd name="T42" fmla="*/ 227 w 1003"/>
              <a:gd name="T43" fmla="*/ 236 h 967"/>
              <a:gd name="T44" fmla="*/ 805 w 1003"/>
              <a:gd name="T45" fmla="*/ 236 h 967"/>
              <a:gd name="T46" fmla="*/ 930 w 1003"/>
              <a:gd name="T47" fmla="*/ 537 h 967"/>
              <a:gd name="T48" fmla="*/ 805 w 1003"/>
              <a:gd name="T49" fmla="*/ 838 h 967"/>
              <a:gd name="T50" fmla="*/ 492 w 1003"/>
              <a:gd name="T51" fmla="*/ 967 h 9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003" h="967">
                <a:moveTo>
                  <a:pt x="492" y="967"/>
                </a:moveTo>
                <a:cubicBezTo>
                  <a:pt x="374" y="967"/>
                  <a:pt x="263" y="921"/>
                  <a:pt x="179" y="838"/>
                </a:cubicBezTo>
                <a:cubicBezTo>
                  <a:pt x="0" y="658"/>
                  <a:pt x="0" y="366"/>
                  <a:pt x="179" y="186"/>
                </a:cubicBezTo>
                <a:cubicBezTo>
                  <a:pt x="366" y="0"/>
                  <a:pt x="670" y="0"/>
                  <a:pt x="857" y="186"/>
                </a:cubicBezTo>
                <a:cubicBezTo>
                  <a:pt x="951" y="281"/>
                  <a:pt x="1003" y="406"/>
                  <a:pt x="1003" y="539"/>
                </a:cubicBezTo>
                <a:cubicBezTo>
                  <a:pt x="1003" y="672"/>
                  <a:pt x="951" y="797"/>
                  <a:pt x="857" y="892"/>
                </a:cubicBezTo>
                <a:cubicBezTo>
                  <a:pt x="852" y="896"/>
                  <a:pt x="845" y="896"/>
                  <a:pt x="840" y="892"/>
                </a:cubicBezTo>
                <a:cubicBezTo>
                  <a:pt x="835" y="887"/>
                  <a:pt x="835" y="879"/>
                  <a:pt x="840" y="875"/>
                </a:cubicBezTo>
                <a:cubicBezTo>
                  <a:pt x="930" y="785"/>
                  <a:pt x="979" y="666"/>
                  <a:pt x="979" y="539"/>
                </a:cubicBezTo>
                <a:cubicBezTo>
                  <a:pt x="979" y="412"/>
                  <a:pt x="930" y="293"/>
                  <a:pt x="840" y="203"/>
                </a:cubicBezTo>
                <a:cubicBezTo>
                  <a:pt x="662" y="26"/>
                  <a:pt x="374" y="26"/>
                  <a:pt x="196" y="203"/>
                </a:cubicBezTo>
                <a:cubicBezTo>
                  <a:pt x="26" y="374"/>
                  <a:pt x="26" y="651"/>
                  <a:pt x="196" y="821"/>
                </a:cubicBezTo>
                <a:cubicBezTo>
                  <a:pt x="275" y="900"/>
                  <a:pt x="380" y="943"/>
                  <a:pt x="492" y="943"/>
                </a:cubicBezTo>
                <a:cubicBezTo>
                  <a:pt x="604" y="943"/>
                  <a:pt x="709" y="900"/>
                  <a:pt x="788" y="821"/>
                </a:cubicBezTo>
                <a:cubicBezTo>
                  <a:pt x="864" y="745"/>
                  <a:pt x="906" y="644"/>
                  <a:pt x="906" y="537"/>
                </a:cubicBezTo>
                <a:cubicBezTo>
                  <a:pt x="906" y="430"/>
                  <a:pt x="864" y="329"/>
                  <a:pt x="788" y="253"/>
                </a:cubicBezTo>
                <a:cubicBezTo>
                  <a:pt x="638" y="103"/>
                  <a:pt x="394" y="103"/>
                  <a:pt x="244" y="253"/>
                </a:cubicBezTo>
                <a:cubicBezTo>
                  <a:pt x="174" y="323"/>
                  <a:pt x="136" y="415"/>
                  <a:pt x="136" y="514"/>
                </a:cubicBezTo>
                <a:cubicBezTo>
                  <a:pt x="136" y="613"/>
                  <a:pt x="174" y="705"/>
                  <a:pt x="244" y="775"/>
                </a:cubicBezTo>
                <a:cubicBezTo>
                  <a:pt x="249" y="780"/>
                  <a:pt x="249" y="787"/>
                  <a:pt x="244" y="792"/>
                </a:cubicBezTo>
                <a:cubicBezTo>
                  <a:pt x="239" y="797"/>
                  <a:pt x="232" y="797"/>
                  <a:pt x="227" y="792"/>
                </a:cubicBezTo>
                <a:cubicBezTo>
                  <a:pt x="74" y="639"/>
                  <a:pt x="74" y="389"/>
                  <a:pt x="227" y="236"/>
                </a:cubicBezTo>
                <a:cubicBezTo>
                  <a:pt x="386" y="77"/>
                  <a:pt x="646" y="77"/>
                  <a:pt x="805" y="236"/>
                </a:cubicBezTo>
                <a:cubicBezTo>
                  <a:pt x="885" y="316"/>
                  <a:pt x="930" y="423"/>
                  <a:pt x="930" y="537"/>
                </a:cubicBezTo>
                <a:cubicBezTo>
                  <a:pt x="930" y="651"/>
                  <a:pt x="885" y="757"/>
                  <a:pt x="805" y="838"/>
                </a:cubicBezTo>
                <a:cubicBezTo>
                  <a:pt x="721" y="921"/>
                  <a:pt x="610" y="967"/>
                  <a:pt x="492" y="967"/>
                </a:cubicBezTo>
                <a:close/>
              </a:path>
            </a:pathLst>
          </a:custGeom>
          <a:solidFill>
            <a:srgbClr val="42B2D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63" name="Freeform 18">
            <a:extLst>
              <a:ext uri="{FF2B5EF4-FFF2-40B4-BE49-F238E27FC236}">
                <a16:creationId xmlns:a16="http://schemas.microsoft.com/office/drawing/2014/main" id="{CE9346BA-01ED-48AD-8BB4-487F0D3FFE3F}"/>
              </a:ext>
            </a:extLst>
          </p:cNvPr>
          <p:cNvSpPr>
            <a:spLocks/>
          </p:cNvSpPr>
          <p:nvPr/>
        </p:nvSpPr>
        <p:spPr bwMode="auto">
          <a:xfrm>
            <a:off x="5872894" y="4352125"/>
            <a:ext cx="460375" cy="455613"/>
          </a:xfrm>
          <a:custGeom>
            <a:avLst/>
            <a:gdLst>
              <a:gd name="T0" fmla="*/ 14 w 322"/>
              <a:gd name="T1" fmla="*/ 320 h 320"/>
              <a:gd name="T2" fmla="*/ 5 w 322"/>
              <a:gd name="T3" fmla="*/ 317 h 320"/>
              <a:gd name="T4" fmla="*/ 5 w 322"/>
              <a:gd name="T5" fmla="*/ 300 h 320"/>
              <a:gd name="T6" fmla="*/ 300 w 322"/>
              <a:gd name="T7" fmla="*/ 4 h 320"/>
              <a:gd name="T8" fmla="*/ 317 w 322"/>
              <a:gd name="T9" fmla="*/ 4 h 320"/>
              <a:gd name="T10" fmla="*/ 317 w 322"/>
              <a:gd name="T11" fmla="*/ 21 h 320"/>
              <a:gd name="T12" fmla="*/ 22 w 322"/>
              <a:gd name="T13" fmla="*/ 317 h 320"/>
              <a:gd name="T14" fmla="*/ 14 w 322"/>
              <a:gd name="T15" fmla="*/ 320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22" h="320">
                <a:moveTo>
                  <a:pt x="14" y="320"/>
                </a:moveTo>
                <a:cubicBezTo>
                  <a:pt x="10" y="320"/>
                  <a:pt x="7" y="319"/>
                  <a:pt x="5" y="317"/>
                </a:cubicBezTo>
                <a:cubicBezTo>
                  <a:pt x="0" y="312"/>
                  <a:pt x="0" y="304"/>
                  <a:pt x="5" y="300"/>
                </a:cubicBezTo>
                <a:cubicBezTo>
                  <a:pt x="300" y="4"/>
                  <a:pt x="300" y="4"/>
                  <a:pt x="300" y="4"/>
                </a:cubicBezTo>
                <a:cubicBezTo>
                  <a:pt x="305" y="0"/>
                  <a:pt x="313" y="0"/>
                  <a:pt x="317" y="4"/>
                </a:cubicBezTo>
                <a:cubicBezTo>
                  <a:pt x="322" y="9"/>
                  <a:pt x="322" y="17"/>
                  <a:pt x="317" y="21"/>
                </a:cubicBezTo>
                <a:cubicBezTo>
                  <a:pt x="22" y="317"/>
                  <a:pt x="22" y="317"/>
                  <a:pt x="22" y="317"/>
                </a:cubicBezTo>
                <a:cubicBezTo>
                  <a:pt x="20" y="319"/>
                  <a:pt x="17" y="320"/>
                  <a:pt x="14" y="320"/>
                </a:cubicBezTo>
                <a:close/>
              </a:path>
            </a:pathLst>
          </a:custGeom>
          <a:solidFill>
            <a:srgbClr val="42B2D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64" name="Freeform 19">
            <a:extLst>
              <a:ext uri="{FF2B5EF4-FFF2-40B4-BE49-F238E27FC236}">
                <a16:creationId xmlns:a16="http://schemas.microsoft.com/office/drawing/2014/main" id="{C04FD67A-50FD-439C-9735-000B8B4879B6}"/>
              </a:ext>
            </a:extLst>
          </p:cNvPr>
          <p:cNvSpPr>
            <a:spLocks noEditPoints="1"/>
          </p:cNvSpPr>
          <p:nvPr/>
        </p:nvSpPr>
        <p:spPr bwMode="auto">
          <a:xfrm>
            <a:off x="5741132" y="4753762"/>
            <a:ext cx="196850" cy="195263"/>
          </a:xfrm>
          <a:custGeom>
            <a:avLst/>
            <a:gdLst>
              <a:gd name="T0" fmla="*/ 69 w 137"/>
              <a:gd name="T1" fmla="*/ 138 h 138"/>
              <a:gd name="T2" fmla="*/ 0 w 137"/>
              <a:gd name="T3" fmla="*/ 69 h 138"/>
              <a:gd name="T4" fmla="*/ 69 w 137"/>
              <a:gd name="T5" fmla="*/ 0 h 138"/>
              <a:gd name="T6" fmla="*/ 137 w 137"/>
              <a:gd name="T7" fmla="*/ 69 h 138"/>
              <a:gd name="T8" fmla="*/ 69 w 137"/>
              <a:gd name="T9" fmla="*/ 138 h 138"/>
              <a:gd name="T10" fmla="*/ 69 w 137"/>
              <a:gd name="T11" fmla="*/ 24 h 138"/>
              <a:gd name="T12" fmla="*/ 24 w 137"/>
              <a:gd name="T13" fmla="*/ 69 h 138"/>
              <a:gd name="T14" fmla="*/ 69 w 137"/>
              <a:gd name="T15" fmla="*/ 114 h 138"/>
              <a:gd name="T16" fmla="*/ 113 w 137"/>
              <a:gd name="T17" fmla="*/ 69 h 138"/>
              <a:gd name="T18" fmla="*/ 69 w 137"/>
              <a:gd name="T19" fmla="*/ 24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7" h="138">
                <a:moveTo>
                  <a:pt x="69" y="138"/>
                </a:moveTo>
                <a:cubicBezTo>
                  <a:pt x="31" y="138"/>
                  <a:pt x="0" y="107"/>
                  <a:pt x="0" y="69"/>
                </a:cubicBezTo>
                <a:cubicBezTo>
                  <a:pt x="0" y="31"/>
                  <a:pt x="31" y="0"/>
                  <a:pt x="69" y="0"/>
                </a:cubicBezTo>
                <a:cubicBezTo>
                  <a:pt x="106" y="0"/>
                  <a:pt x="137" y="31"/>
                  <a:pt x="137" y="69"/>
                </a:cubicBezTo>
                <a:cubicBezTo>
                  <a:pt x="137" y="107"/>
                  <a:pt x="106" y="138"/>
                  <a:pt x="69" y="138"/>
                </a:cubicBezTo>
                <a:close/>
                <a:moveTo>
                  <a:pt x="69" y="24"/>
                </a:moveTo>
                <a:cubicBezTo>
                  <a:pt x="44" y="24"/>
                  <a:pt x="24" y="44"/>
                  <a:pt x="24" y="69"/>
                </a:cubicBezTo>
                <a:cubicBezTo>
                  <a:pt x="24" y="94"/>
                  <a:pt x="44" y="114"/>
                  <a:pt x="69" y="114"/>
                </a:cubicBezTo>
                <a:cubicBezTo>
                  <a:pt x="93" y="114"/>
                  <a:pt x="113" y="94"/>
                  <a:pt x="113" y="69"/>
                </a:cubicBezTo>
                <a:cubicBezTo>
                  <a:pt x="113" y="44"/>
                  <a:pt x="93" y="24"/>
                  <a:pt x="69" y="24"/>
                </a:cubicBezTo>
                <a:close/>
              </a:path>
            </a:pathLst>
          </a:custGeom>
          <a:solidFill>
            <a:srgbClr val="42B2D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65" name="Freeform 20">
            <a:extLst>
              <a:ext uri="{FF2B5EF4-FFF2-40B4-BE49-F238E27FC236}">
                <a16:creationId xmlns:a16="http://schemas.microsoft.com/office/drawing/2014/main" id="{7553A9CA-35F8-4B20-8BED-836E6E3C05F8}"/>
              </a:ext>
            </a:extLst>
          </p:cNvPr>
          <p:cNvSpPr>
            <a:spLocks/>
          </p:cNvSpPr>
          <p:nvPr/>
        </p:nvSpPr>
        <p:spPr bwMode="auto">
          <a:xfrm>
            <a:off x="5823682" y="4836312"/>
            <a:ext cx="1355725" cy="201613"/>
          </a:xfrm>
          <a:custGeom>
            <a:avLst/>
            <a:gdLst>
              <a:gd name="T0" fmla="*/ 936 w 949"/>
              <a:gd name="T1" fmla="*/ 142 h 142"/>
              <a:gd name="T2" fmla="*/ 933 w 949"/>
              <a:gd name="T3" fmla="*/ 142 h 142"/>
              <a:gd name="T4" fmla="*/ 18 w 949"/>
              <a:gd name="T5" fmla="*/ 24 h 142"/>
              <a:gd name="T6" fmla="*/ 12 w 949"/>
              <a:gd name="T7" fmla="*/ 24 h 142"/>
              <a:gd name="T8" fmla="*/ 12 w 949"/>
              <a:gd name="T9" fmla="*/ 24 h 142"/>
              <a:gd name="T10" fmla="*/ 0 w 949"/>
              <a:gd name="T11" fmla="*/ 12 h 142"/>
              <a:gd name="T12" fmla="*/ 12 w 949"/>
              <a:gd name="T13" fmla="*/ 0 h 142"/>
              <a:gd name="T14" fmla="*/ 18 w 949"/>
              <a:gd name="T15" fmla="*/ 0 h 142"/>
              <a:gd name="T16" fmla="*/ 939 w 949"/>
              <a:gd name="T17" fmla="*/ 119 h 142"/>
              <a:gd name="T18" fmla="*/ 947 w 949"/>
              <a:gd name="T19" fmla="*/ 133 h 142"/>
              <a:gd name="T20" fmla="*/ 936 w 949"/>
              <a:gd name="T21" fmla="*/ 14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49" h="142">
                <a:moveTo>
                  <a:pt x="936" y="142"/>
                </a:moveTo>
                <a:cubicBezTo>
                  <a:pt x="935" y="142"/>
                  <a:pt x="934" y="142"/>
                  <a:pt x="933" y="142"/>
                </a:cubicBezTo>
                <a:cubicBezTo>
                  <a:pt x="636" y="63"/>
                  <a:pt x="328" y="24"/>
                  <a:pt x="18" y="24"/>
                </a:cubicBezTo>
                <a:cubicBezTo>
                  <a:pt x="12" y="24"/>
                  <a:pt x="12" y="24"/>
                  <a:pt x="12" y="24"/>
                </a:cubicBezTo>
                <a:cubicBezTo>
                  <a:pt x="12" y="24"/>
                  <a:pt x="12" y="24"/>
                  <a:pt x="12" y="24"/>
                </a:cubicBezTo>
                <a:cubicBezTo>
                  <a:pt x="5" y="24"/>
                  <a:pt x="0" y="18"/>
                  <a:pt x="0" y="12"/>
                </a:cubicBezTo>
                <a:cubicBezTo>
                  <a:pt x="0" y="5"/>
                  <a:pt x="5" y="0"/>
                  <a:pt x="12" y="0"/>
                </a:cubicBezTo>
                <a:cubicBezTo>
                  <a:pt x="18" y="0"/>
                  <a:pt x="18" y="0"/>
                  <a:pt x="18" y="0"/>
                </a:cubicBezTo>
                <a:cubicBezTo>
                  <a:pt x="331" y="0"/>
                  <a:pt x="640" y="40"/>
                  <a:pt x="939" y="119"/>
                </a:cubicBezTo>
                <a:cubicBezTo>
                  <a:pt x="945" y="120"/>
                  <a:pt x="949" y="127"/>
                  <a:pt x="947" y="133"/>
                </a:cubicBezTo>
                <a:cubicBezTo>
                  <a:pt x="946" y="139"/>
                  <a:pt x="941" y="142"/>
                  <a:pt x="936" y="142"/>
                </a:cubicBezTo>
                <a:close/>
              </a:path>
            </a:pathLst>
          </a:custGeom>
          <a:solidFill>
            <a:srgbClr val="FD797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66" name="Freeform 21">
            <a:extLst>
              <a:ext uri="{FF2B5EF4-FFF2-40B4-BE49-F238E27FC236}">
                <a16:creationId xmlns:a16="http://schemas.microsoft.com/office/drawing/2014/main" id="{7E6B8CFA-7C27-44CF-844F-D5ABF336209E}"/>
              </a:ext>
            </a:extLst>
          </p:cNvPr>
          <p:cNvSpPr>
            <a:spLocks/>
          </p:cNvSpPr>
          <p:nvPr/>
        </p:nvSpPr>
        <p:spPr bwMode="auto">
          <a:xfrm>
            <a:off x="6653944" y="3286912"/>
            <a:ext cx="1555750" cy="1487488"/>
          </a:xfrm>
          <a:custGeom>
            <a:avLst/>
            <a:gdLst>
              <a:gd name="T0" fmla="*/ 762 w 1088"/>
              <a:gd name="T1" fmla="*/ 990 h 1045"/>
              <a:gd name="T2" fmla="*/ 751 w 1088"/>
              <a:gd name="T3" fmla="*/ 984 h 1045"/>
              <a:gd name="T4" fmla="*/ 756 w 1088"/>
              <a:gd name="T5" fmla="*/ 968 h 1045"/>
              <a:gd name="T6" fmla="*/ 929 w 1088"/>
              <a:gd name="T7" fmla="*/ 320 h 1045"/>
              <a:gd name="T8" fmla="*/ 308 w 1088"/>
              <a:gd name="T9" fmla="*/ 153 h 1045"/>
              <a:gd name="T10" fmla="*/ 148 w 1088"/>
              <a:gd name="T11" fmla="*/ 749 h 1045"/>
              <a:gd name="T12" fmla="*/ 720 w 1088"/>
              <a:gd name="T13" fmla="*/ 903 h 1045"/>
              <a:gd name="T14" fmla="*/ 866 w 1088"/>
              <a:gd name="T15" fmla="*/ 354 h 1045"/>
              <a:gd name="T16" fmla="*/ 341 w 1088"/>
              <a:gd name="T17" fmla="*/ 213 h 1045"/>
              <a:gd name="T18" fmla="*/ 206 w 1088"/>
              <a:gd name="T19" fmla="*/ 717 h 1045"/>
              <a:gd name="T20" fmla="*/ 201 w 1088"/>
              <a:gd name="T21" fmla="*/ 734 h 1045"/>
              <a:gd name="T22" fmla="*/ 185 w 1088"/>
              <a:gd name="T23" fmla="*/ 729 h 1045"/>
              <a:gd name="T24" fmla="*/ 329 w 1088"/>
              <a:gd name="T25" fmla="*/ 193 h 1045"/>
              <a:gd name="T26" fmla="*/ 887 w 1088"/>
              <a:gd name="T27" fmla="*/ 342 h 1045"/>
              <a:gd name="T28" fmla="*/ 732 w 1088"/>
              <a:gd name="T29" fmla="*/ 923 h 1045"/>
              <a:gd name="T30" fmla="*/ 127 w 1088"/>
              <a:gd name="T31" fmla="*/ 761 h 1045"/>
              <a:gd name="T32" fmla="*/ 296 w 1088"/>
              <a:gd name="T33" fmla="*/ 132 h 1045"/>
              <a:gd name="T34" fmla="*/ 950 w 1088"/>
              <a:gd name="T35" fmla="*/ 308 h 1045"/>
              <a:gd name="T36" fmla="*/ 768 w 1088"/>
              <a:gd name="T37" fmla="*/ 989 h 1045"/>
              <a:gd name="T38" fmla="*/ 762 w 1088"/>
              <a:gd name="T39" fmla="*/ 990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088" h="1045">
                <a:moveTo>
                  <a:pt x="762" y="990"/>
                </a:moveTo>
                <a:cubicBezTo>
                  <a:pt x="758" y="990"/>
                  <a:pt x="753" y="988"/>
                  <a:pt x="751" y="984"/>
                </a:cubicBezTo>
                <a:cubicBezTo>
                  <a:pt x="748" y="979"/>
                  <a:pt x="750" y="971"/>
                  <a:pt x="756" y="968"/>
                </a:cubicBezTo>
                <a:cubicBezTo>
                  <a:pt x="982" y="837"/>
                  <a:pt x="1060" y="546"/>
                  <a:pt x="929" y="320"/>
                </a:cubicBezTo>
                <a:cubicBezTo>
                  <a:pt x="804" y="102"/>
                  <a:pt x="525" y="28"/>
                  <a:pt x="308" y="153"/>
                </a:cubicBezTo>
                <a:cubicBezTo>
                  <a:pt x="99" y="273"/>
                  <a:pt x="27" y="541"/>
                  <a:pt x="148" y="749"/>
                </a:cubicBezTo>
                <a:cubicBezTo>
                  <a:pt x="263" y="949"/>
                  <a:pt x="520" y="1018"/>
                  <a:pt x="720" y="903"/>
                </a:cubicBezTo>
                <a:cubicBezTo>
                  <a:pt x="911" y="792"/>
                  <a:pt x="977" y="546"/>
                  <a:pt x="866" y="354"/>
                </a:cubicBezTo>
                <a:cubicBezTo>
                  <a:pt x="760" y="171"/>
                  <a:pt x="525" y="107"/>
                  <a:pt x="341" y="213"/>
                </a:cubicBezTo>
                <a:cubicBezTo>
                  <a:pt x="165" y="315"/>
                  <a:pt x="104" y="541"/>
                  <a:pt x="206" y="717"/>
                </a:cubicBezTo>
                <a:cubicBezTo>
                  <a:pt x="209" y="723"/>
                  <a:pt x="207" y="730"/>
                  <a:pt x="201" y="734"/>
                </a:cubicBezTo>
                <a:cubicBezTo>
                  <a:pt x="196" y="737"/>
                  <a:pt x="188" y="735"/>
                  <a:pt x="185" y="729"/>
                </a:cubicBezTo>
                <a:cubicBezTo>
                  <a:pt x="77" y="542"/>
                  <a:pt x="141" y="301"/>
                  <a:pt x="329" y="193"/>
                </a:cubicBezTo>
                <a:cubicBezTo>
                  <a:pt x="524" y="80"/>
                  <a:pt x="775" y="147"/>
                  <a:pt x="887" y="342"/>
                </a:cubicBezTo>
                <a:cubicBezTo>
                  <a:pt x="1005" y="545"/>
                  <a:pt x="935" y="806"/>
                  <a:pt x="732" y="923"/>
                </a:cubicBezTo>
                <a:cubicBezTo>
                  <a:pt x="520" y="1045"/>
                  <a:pt x="249" y="973"/>
                  <a:pt x="127" y="761"/>
                </a:cubicBezTo>
                <a:cubicBezTo>
                  <a:pt x="0" y="541"/>
                  <a:pt x="76" y="259"/>
                  <a:pt x="296" y="132"/>
                </a:cubicBezTo>
                <a:cubicBezTo>
                  <a:pt x="524" y="0"/>
                  <a:pt x="818" y="79"/>
                  <a:pt x="950" y="308"/>
                </a:cubicBezTo>
                <a:cubicBezTo>
                  <a:pt x="1088" y="546"/>
                  <a:pt x="1006" y="851"/>
                  <a:pt x="768" y="989"/>
                </a:cubicBezTo>
                <a:cubicBezTo>
                  <a:pt x="766" y="990"/>
                  <a:pt x="764" y="990"/>
                  <a:pt x="762" y="990"/>
                </a:cubicBezTo>
                <a:close/>
              </a:path>
            </a:pathLst>
          </a:custGeom>
          <a:solidFill>
            <a:srgbClr val="A0D8E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67" name="Freeform 22">
            <a:extLst>
              <a:ext uri="{FF2B5EF4-FFF2-40B4-BE49-F238E27FC236}">
                <a16:creationId xmlns:a16="http://schemas.microsoft.com/office/drawing/2014/main" id="{FAD7DD8D-C044-43C8-9156-6E1BFA7B6201}"/>
              </a:ext>
            </a:extLst>
          </p:cNvPr>
          <p:cNvSpPr>
            <a:spLocks/>
          </p:cNvSpPr>
          <p:nvPr/>
        </p:nvSpPr>
        <p:spPr bwMode="auto">
          <a:xfrm>
            <a:off x="7207982" y="4660100"/>
            <a:ext cx="555625" cy="333375"/>
          </a:xfrm>
          <a:custGeom>
            <a:avLst/>
            <a:gdLst>
              <a:gd name="T0" fmla="*/ 14 w 389"/>
              <a:gd name="T1" fmla="*/ 234 h 234"/>
              <a:gd name="T2" fmla="*/ 3 w 389"/>
              <a:gd name="T3" fmla="*/ 228 h 234"/>
              <a:gd name="T4" fmla="*/ 8 w 389"/>
              <a:gd name="T5" fmla="*/ 212 h 234"/>
              <a:gd name="T6" fmla="*/ 369 w 389"/>
              <a:gd name="T7" fmla="*/ 3 h 234"/>
              <a:gd name="T8" fmla="*/ 385 w 389"/>
              <a:gd name="T9" fmla="*/ 7 h 234"/>
              <a:gd name="T10" fmla="*/ 381 w 389"/>
              <a:gd name="T11" fmla="*/ 24 h 234"/>
              <a:gd name="T12" fmla="*/ 20 w 389"/>
              <a:gd name="T13" fmla="*/ 232 h 234"/>
              <a:gd name="T14" fmla="*/ 14 w 389"/>
              <a:gd name="T15" fmla="*/ 234 h 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89" h="234">
                <a:moveTo>
                  <a:pt x="14" y="234"/>
                </a:moveTo>
                <a:cubicBezTo>
                  <a:pt x="9" y="234"/>
                  <a:pt x="5" y="232"/>
                  <a:pt x="3" y="228"/>
                </a:cubicBezTo>
                <a:cubicBezTo>
                  <a:pt x="0" y="222"/>
                  <a:pt x="2" y="215"/>
                  <a:pt x="8" y="212"/>
                </a:cubicBezTo>
                <a:cubicBezTo>
                  <a:pt x="369" y="3"/>
                  <a:pt x="369" y="3"/>
                  <a:pt x="369" y="3"/>
                </a:cubicBezTo>
                <a:cubicBezTo>
                  <a:pt x="375" y="0"/>
                  <a:pt x="382" y="2"/>
                  <a:pt x="385" y="7"/>
                </a:cubicBezTo>
                <a:cubicBezTo>
                  <a:pt x="389" y="13"/>
                  <a:pt x="387" y="20"/>
                  <a:pt x="381" y="24"/>
                </a:cubicBezTo>
                <a:cubicBezTo>
                  <a:pt x="20" y="232"/>
                  <a:pt x="20" y="232"/>
                  <a:pt x="20" y="232"/>
                </a:cubicBezTo>
                <a:cubicBezTo>
                  <a:pt x="18" y="234"/>
                  <a:pt x="16" y="234"/>
                  <a:pt x="14" y="234"/>
                </a:cubicBezTo>
                <a:close/>
              </a:path>
            </a:pathLst>
          </a:custGeom>
          <a:solidFill>
            <a:srgbClr val="A0D8E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68" name="Freeform 23">
            <a:extLst>
              <a:ext uri="{FF2B5EF4-FFF2-40B4-BE49-F238E27FC236}">
                <a16:creationId xmlns:a16="http://schemas.microsoft.com/office/drawing/2014/main" id="{A011A03D-5AE6-4907-AD3D-E8698933A6F7}"/>
              </a:ext>
            </a:extLst>
          </p:cNvPr>
          <p:cNvSpPr>
            <a:spLocks noEditPoints="1"/>
          </p:cNvSpPr>
          <p:nvPr/>
        </p:nvSpPr>
        <p:spPr bwMode="auto">
          <a:xfrm>
            <a:off x="7050819" y="4922037"/>
            <a:ext cx="217488" cy="198438"/>
          </a:xfrm>
          <a:custGeom>
            <a:avLst/>
            <a:gdLst>
              <a:gd name="T0" fmla="*/ 77 w 153"/>
              <a:gd name="T1" fmla="*/ 140 h 140"/>
              <a:gd name="T2" fmla="*/ 59 w 153"/>
              <a:gd name="T3" fmla="*/ 137 h 140"/>
              <a:gd name="T4" fmla="*/ 10 w 153"/>
              <a:gd name="T5" fmla="*/ 53 h 140"/>
              <a:gd name="T6" fmla="*/ 42 w 153"/>
              <a:gd name="T7" fmla="*/ 11 h 140"/>
              <a:gd name="T8" fmla="*/ 94 w 153"/>
              <a:gd name="T9" fmla="*/ 5 h 140"/>
              <a:gd name="T10" fmla="*/ 143 w 153"/>
              <a:gd name="T11" fmla="*/ 89 h 140"/>
              <a:gd name="T12" fmla="*/ 143 w 153"/>
              <a:gd name="T13" fmla="*/ 89 h 140"/>
              <a:gd name="T14" fmla="*/ 77 w 153"/>
              <a:gd name="T15" fmla="*/ 140 h 140"/>
              <a:gd name="T16" fmla="*/ 77 w 153"/>
              <a:gd name="T17" fmla="*/ 26 h 140"/>
              <a:gd name="T18" fmla="*/ 54 w 153"/>
              <a:gd name="T19" fmla="*/ 32 h 140"/>
              <a:gd name="T20" fmla="*/ 33 w 153"/>
              <a:gd name="T21" fmla="*/ 59 h 140"/>
              <a:gd name="T22" fmla="*/ 65 w 153"/>
              <a:gd name="T23" fmla="*/ 114 h 140"/>
              <a:gd name="T24" fmla="*/ 120 w 153"/>
              <a:gd name="T25" fmla="*/ 83 h 140"/>
              <a:gd name="T26" fmla="*/ 88 w 153"/>
              <a:gd name="T27" fmla="*/ 28 h 140"/>
              <a:gd name="T28" fmla="*/ 77 w 153"/>
              <a:gd name="T29" fmla="*/ 26 h 140"/>
              <a:gd name="T30" fmla="*/ 131 w 153"/>
              <a:gd name="T31" fmla="*/ 86 h 140"/>
              <a:gd name="T32" fmla="*/ 131 w 153"/>
              <a:gd name="T33" fmla="*/ 86 h 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53" h="140">
                <a:moveTo>
                  <a:pt x="77" y="140"/>
                </a:moveTo>
                <a:cubicBezTo>
                  <a:pt x="71" y="140"/>
                  <a:pt x="65" y="139"/>
                  <a:pt x="59" y="137"/>
                </a:cubicBezTo>
                <a:cubicBezTo>
                  <a:pt x="22" y="128"/>
                  <a:pt x="0" y="90"/>
                  <a:pt x="10" y="53"/>
                </a:cubicBezTo>
                <a:cubicBezTo>
                  <a:pt x="15" y="35"/>
                  <a:pt x="26" y="21"/>
                  <a:pt x="42" y="11"/>
                </a:cubicBezTo>
                <a:cubicBezTo>
                  <a:pt x="58" y="2"/>
                  <a:pt x="77" y="0"/>
                  <a:pt x="94" y="5"/>
                </a:cubicBezTo>
                <a:cubicBezTo>
                  <a:pt x="131" y="14"/>
                  <a:pt x="153" y="52"/>
                  <a:pt x="143" y="89"/>
                </a:cubicBezTo>
                <a:cubicBezTo>
                  <a:pt x="143" y="89"/>
                  <a:pt x="143" y="89"/>
                  <a:pt x="143" y="89"/>
                </a:cubicBezTo>
                <a:cubicBezTo>
                  <a:pt x="135" y="119"/>
                  <a:pt x="107" y="140"/>
                  <a:pt x="77" y="140"/>
                </a:cubicBezTo>
                <a:close/>
                <a:moveTo>
                  <a:pt x="77" y="26"/>
                </a:moveTo>
                <a:cubicBezTo>
                  <a:pt x="69" y="26"/>
                  <a:pt x="61" y="28"/>
                  <a:pt x="54" y="32"/>
                </a:cubicBezTo>
                <a:cubicBezTo>
                  <a:pt x="44" y="38"/>
                  <a:pt x="37" y="48"/>
                  <a:pt x="33" y="59"/>
                </a:cubicBezTo>
                <a:cubicBezTo>
                  <a:pt x="27" y="83"/>
                  <a:pt x="41" y="108"/>
                  <a:pt x="65" y="114"/>
                </a:cubicBezTo>
                <a:cubicBezTo>
                  <a:pt x="89" y="121"/>
                  <a:pt x="113" y="106"/>
                  <a:pt x="120" y="83"/>
                </a:cubicBezTo>
                <a:cubicBezTo>
                  <a:pt x="126" y="59"/>
                  <a:pt x="112" y="34"/>
                  <a:pt x="88" y="28"/>
                </a:cubicBezTo>
                <a:cubicBezTo>
                  <a:pt x="84" y="27"/>
                  <a:pt x="80" y="26"/>
                  <a:pt x="77" y="26"/>
                </a:cubicBezTo>
                <a:close/>
                <a:moveTo>
                  <a:pt x="131" y="86"/>
                </a:moveTo>
                <a:cubicBezTo>
                  <a:pt x="131" y="86"/>
                  <a:pt x="131" y="86"/>
                  <a:pt x="131" y="86"/>
                </a:cubicBezTo>
                <a:close/>
              </a:path>
            </a:pathLst>
          </a:custGeom>
          <a:solidFill>
            <a:srgbClr val="A0D8E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69" name="Freeform 24">
            <a:extLst>
              <a:ext uri="{FF2B5EF4-FFF2-40B4-BE49-F238E27FC236}">
                <a16:creationId xmlns:a16="http://schemas.microsoft.com/office/drawing/2014/main" id="{ACF28FE1-E7CA-48FA-B78A-B7CD21A8527C}"/>
              </a:ext>
            </a:extLst>
          </p:cNvPr>
          <p:cNvSpPr>
            <a:spLocks/>
          </p:cNvSpPr>
          <p:nvPr/>
        </p:nvSpPr>
        <p:spPr bwMode="auto">
          <a:xfrm>
            <a:off x="7139719" y="5003000"/>
            <a:ext cx="1271588" cy="541338"/>
          </a:xfrm>
          <a:custGeom>
            <a:avLst/>
            <a:gdLst>
              <a:gd name="T0" fmla="*/ 875 w 889"/>
              <a:gd name="T1" fmla="*/ 381 h 381"/>
              <a:gd name="T2" fmla="*/ 869 w 889"/>
              <a:gd name="T3" fmla="*/ 379 h 381"/>
              <a:gd name="T4" fmla="*/ 11 w 889"/>
              <a:gd name="T5" fmla="*/ 25 h 381"/>
              <a:gd name="T6" fmla="*/ 2 w 889"/>
              <a:gd name="T7" fmla="*/ 10 h 381"/>
              <a:gd name="T8" fmla="*/ 17 w 889"/>
              <a:gd name="T9" fmla="*/ 2 h 381"/>
              <a:gd name="T10" fmla="*/ 881 w 889"/>
              <a:gd name="T11" fmla="*/ 358 h 381"/>
              <a:gd name="T12" fmla="*/ 886 w 889"/>
              <a:gd name="T13" fmla="*/ 375 h 381"/>
              <a:gd name="T14" fmla="*/ 875 w 889"/>
              <a:gd name="T15" fmla="*/ 381 h 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89" h="381">
                <a:moveTo>
                  <a:pt x="875" y="381"/>
                </a:moveTo>
                <a:cubicBezTo>
                  <a:pt x="873" y="381"/>
                  <a:pt x="871" y="380"/>
                  <a:pt x="869" y="379"/>
                </a:cubicBezTo>
                <a:cubicBezTo>
                  <a:pt x="600" y="224"/>
                  <a:pt x="311" y="105"/>
                  <a:pt x="11" y="25"/>
                </a:cubicBezTo>
                <a:cubicBezTo>
                  <a:pt x="4" y="23"/>
                  <a:pt x="0" y="17"/>
                  <a:pt x="2" y="10"/>
                </a:cubicBezTo>
                <a:cubicBezTo>
                  <a:pt x="4" y="4"/>
                  <a:pt x="10" y="0"/>
                  <a:pt x="17" y="2"/>
                </a:cubicBezTo>
                <a:cubicBezTo>
                  <a:pt x="319" y="82"/>
                  <a:pt x="610" y="202"/>
                  <a:pt x="881" y="358"/>
                </a:cubicBezTo>
                <a:cubicBezTo>
                  <a:pt x="887" y="362"/>
                  <a:pt x="889" y="369"/>
                  <a:pt x="886" y="375"/>
                </a:cubicBezTo>
                <a:cubicBezTo>
                  <a:pt x="883" y="378"/>
                  <a:pt x="879" y="381"/>
                  <a:pt x="875" y="381"/>
                </a:cubicBezTo>
                <a:close/>
              </a:path>
            </a:pathLst>
          </a:custGeom>
          <a:solidFill>
            <a:srgbClr val="FD797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70" name="Freeform 25">
            <a:extLst>
              <a:ext uri="{FF2B5EF4-FFF2-40B4-BE49-F238E27FC236}">
                <a16:creationId xmlns:a16="http://schemas.microsoft.com/office/drawing/2014/main" id="{D891EB96-31F3-460C-85F6-F1CC38ED242A}"/>
              </a:ext>
            </a:extLst>
          </p:cNvPr>
          <p:cNvSpPr>
            <a:spLocks/>
          </p:cNvSpPr>
          <p:nvPr/>
        </p:nvSpPr>
        <p:spPr bwMode="auto">
          <a:xfrm>
            <a:off x="8201757" y="3964775"/>
            <a:ext cx="1400175" cy="1398588"/>
          </a:xfrm>
          <a:custGeom>
            <a:avLst/>
            <a:gdLst>
              <a:gd name="T0" fmla="*/ 589 w 979"/>
              <a:gd name="T1" fmla="*/ 983 h 983"/>
              <a:gd name="T2" fmla="*/ 577 w 979"/>
              <a:gd name="T3" fmla="*/ 974 h 983"/>
              <a:gd name="T4" fmla="*/ 585 w 979"/>
              <a:gd name="T5" fmla="*/ 960 h 983"/>
              <a:gd name="T6" fmla="*/ 874 w 979"/>
              <a:gd name="T7" fmla="*/ 738 h 983"/>
              <a:gd name="T8" fmla="*/ 921 w 979"/>
              <a:gd name="T9" fmla="*/ 378 h 983"/>
              <a:gd name="T10" fmla="*/ 709 w 979"/>
              <a:gd name="T11" fmla="*/ 102 h 983"/>
              <a:gd name="T12" fmla="*/ 364 w 979"/>
              <a:gd name="T13" fmla="*/ 56 h 983"/>
              <a:gd name="T14" fmla="*/ 99 w 979"/>
              <a:gd name="T15" fmla="*/ 260 h 983"/>
              <a:gd name="T16" fmla="*/ 55 w 979"/>
              <a:gd name="T17" fmla="*/ 591 h 983"/>
              <a:gd name="T18" fmla="*/ 250 w 979"/>
              <a:gd name="T19" fmla="*/ 845 h 983"/>
              <a:gd name="T20" fmla="*/ 568 w 979"/>
              <a:gd name="T21" fmla="*/ 887 h 983"/>
              <a:gd name="T22" fmla="*/ 811 w 979"/>
              <a:gd name="T23" fmla="*/ 700 h 983"/>
              <a:gd name="T24" fmla="*/ 851 w 979"/>
              <a:gd name="T25" fmla="*/ 395 h 983"/>
              <a:gd name="T26" fmla="*/ 672 w 979"/>
              <a:gd name="T27" fmla="*/ 162 h 983"/>
              <a:gd name="T28" fmla="*/ 380 w 979"/>
              <a:gd name="T29" fmla="*/ 123 h 983"/>
              <a:gd name="T30" fmla="*/ 119 w 979"/>
              <a:gd name="T31" fmla="*/ 575 h 983"/>
              <a:gd name="T32" fmla="*/ 111 w 979"/>
              <a:gd name="T33" fmla="*/ 590 h 983"/>
              <a:gd name="T34" fmla="*/ 96 w 979"/>
              <a:gd name="T35" fmla="*/ 581 h 983"/>
              <a:gd name="T36" fmla="*/ 374 w 979"/>
              <a:gd name="T37" fmla="*/ 100 h 983"/>
              <a:gd name="T38" fmla="*/ 684 w 979"/>
              <a:gd name="T39" fmla="*/ 141 h 983"/>
              <a:gd name="T40" fmla="*/ 875 w 979"/>
              <a:gd name="T41" fmla="*/ 389 h 983"/>
              <a:gd name="T42" fmla="*/ 832 w 979"/>
              <a:gd name="T43" fmla="*/ 712 h 983"/>
              <a:gd name="T44" fmla="*/ 574 w 979"/>
              <a:gd name="T45" fmla="*/ 910 h 983"/>
              <a:gd name="T46" fmla="*/ 238 w 979"/>
              <a:gd name="T47" fmla="*/ 866 h 983"/>
              <a:gd name="T48" fmla="*/ 32 w 979"/>
              <a:gd name="T49" fmla="*/ 597 h 983"/>
              <a:gd name="T50" fmla="*/ 78 w 979"/>
              <a:gd name="T51" fmla="*/ 248 h 983"/>
              <a:gd name="T52" fmla="*/ 357 w 979"/>
              <a:gd name="T53" fmla="*/ 33 h 983"/>
              <a:gd name="T54" fmla="*/ 721 w 979"/>
              <a:gd name="T55" fmla="*/ 81 h 983"/>
              <a:gd name="T56" fmla="*/ 944 w 979"/>
              <a:gd name="T57" fmla="*/ 372 h 983"/>
              <a:gd name="T58" fmla="*/ 894 w 979"/>
              <a:gd name="T59" fmla="*/ 750 h 983"/>
              <a:gd name="T60" fmla="*/ 592 w 979"/>
              <a:gd name="T61" fmla="*/ 983 h 983"/>
              <a:gd name="T62" fmla="*/ 589 w 979"/>
              <a:gd name="T63" fmla="*/ 983 h 9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979" h="983">
                <a:moveTo>
                  <a:pt x="589" y="983"/>
                </a:moveTo>
                <a:cubicBezTo>
                  <a:pt x="583" y="983"/>
                  <a:pt x="578" y="980"/>
                  <a:pt x="577" y="974"/>
                </a:cubicBezTo>
                <a:cubicBezTo>
                  <a:pt x="575" y="968"/>
                  <a:pt x="579" y="961"/>
                  <a:pt x="585" y="960"/>
                </a:cubicBezTo>
                <a:cubicBezTo>
                  <a:pt x="708" y="927"/>
                  <a:pt x="810" y="848"/>
                  <a:pt x="874" y="738"/>
                </a:cubicBezTo>
                <a:cubicBezTo>
                  <a:pt x="937" y="629"/>
                  <a:pt x="954" y="501"/>
                  <a:pt x="921" y="378"/>
                </a:cubicBezTo>
                <a:cubicBezTo>
                  <a:pt x="890" y="261"/>
                  <a:pt x="814" y="163"/>
                  <a:pt x="709" y="102"/>
                </a:cubicBezTo>
                <a:cubicBezTo>
                  <a:pt x="604" y="41"/>
                  <a:pt x="481" y="25"/>
                  <a:pt x="364" y="56"/>
                </a:cubicBezTo>
                <a:cubicBezTo>
                  <a:pt x="251" y="87"/>
                  <a:pt x="157" y="159"/>
                  <a:pt x="99" y="260"/>
                </a:cubicBezTo>
                <a:cubicBezTo>
                  <a:pt x="40" y="361"/>
                  <a:pt x="25" y="478"/>
                  <a:pt x="55" y="591"/>
                </a:cubicBezTo>
                <a:cubicBezTo>
                  <a:pt x="84" y="699"/>
                  <a:pt x="153" y="789"/>
                  <a:pt x="250" y="845"/>
                </a:cubicBezTo>
                <a:cubicBezTo>
                  <a:pt x="347" y="901"/>
                  <a:pt x="460" y="916"/>
                  <a:pt x="568" y="887"/>
                </a:cubicBezTo>
                <a:cubicBezTo>
                  <a:pt x="671" y="859"/>
                  <a:pt x="758" y="793"/>
                  <a:pt x="811" y="700"/>
                </a:cubicBezTo>
                <a:cubicBezTo>
                  <a:pt x="865" y="607"/>
                  <a:pt x="879" y="499"/>
                  <a:pt x="851" y="395"/>
                </a:cubicBezTo>
                <a:cubicBezTo>
                  <a:pt x="825" y="296"/>
                  <a:pt x="761" y="213"/>
                  <a:pt x="672" y="162"/>
                </a:cubicBezTo>
                <a:cubicBezTo>
                  <a:pt x="583" y="110"/>
                  <a:pt x="479" y="97"/>
                  <a:pt x="380" y="123"/>
                </a:cubicBezTo>
                <a:cubicBezTo>
                  <a:pt x="184" y="176"/>
                  <a:pt x="67" y="379"/>
                  <a:pt x="119" y="575"/>
                </a:cubicBezTo>
                <a:cubicBezTo>
                  <a:pt x="121" y="582"/>
                  <a:pt x="117" y="588"/>
                  <a:pt x="111" y="590"/>
                </a:cubicBezTo>
                <a:cubicBezTo>
                  <a:pt x="104" y="592"/>
                  <a:pt x="98" y="588"/>
                  <a:pt x="96" y="581"/>
                </a:cubicBezTo>
                <a:cubicBezTo>
                  <a:pt x="40" y="372"/>
                  <a:pt x="165" y="156"/>
                  <a:pt x="374" y="100"/>
                </a:cubicBezTo>
                <a:cubicBezTo>
                  <a:pt x="479" y="72"/>
                  <a:pt x="590" y="86"/>
                  <a:pt x="684" y="141"/>
                </a:cubicBezTo>
                <a:cubicBezTo>
                  <a:pt x="779" y="196"/>
                  <a:pt x="846" y="284"/>
                  <a:pt x="875" y="389"/>
                </a:cubicBezTo>
                <a:cubicBezTo>
                  <a:pt x="904" y="499"/>
                  <a:pt x="889" y="614"/>
                  <a:pt x="832" y="712"/>
                </a:cubicBezTo>
                <a:cubicBezTo>
                  <a:pt x="775" y="810"/>
                  <a:pt x="684" y="881"/>
                  <a:pt x="574" y="910"/>
                </a:cubicBezTo>
                <a:cubicBezTo>
                  <a:pt x="460" y="941"/>
                  <a:pt x="340" y="925"/>
                  <a:pt x="238" y="866"/>
                </a:cubicBezTo>
                <a:cubicBezTo>
                  <a:pt x="136" y="807"/>
                  <a:pt x="62" y="711"/>
                  <a:pt x="32" y="597"/>
                </a:cubicBezTo>
                <a:cubicBezTo>
                  <a:pt x="0" y="478"/>
                  <a:pt x="16" y="354"/>
                  <a:pt x="78" y="248"/>
                </a:cubicBezTo>
                <a:cubicBezTo>
                  <a:pt x="139" y="141"/>
                  <a:pt x="239" y="65"/>
                  <a:pt x="357" y="33"/>
                </a:cubicBezTo>
                <a:cubicBezTo>
                  <a:pt x="481" y="0"/>
                  <a:pt x="610" y="17"/>
                  <a:pt x="721" y="81"/>
                </a:cubicBezTo>
                <a:cubicBezTo>
                  <a:pt x="832" y="145"/>
                  <a:pt x="911" y="248"/>
                  <a:pt x="944" y="372"/>
                </a:cubicBezTo>
                <a:cubicBezTo>
                  <a:pt x="979" y="501"/>
                  <a:pt x="961" y="635"/>
                  <a:pt x="894" y="750"/>
                </a:cubicBezTo>
                <a:cubicBezTo>
                  <a:pt x="828" y="866"/>
                  <a:pt x="720" y="948"/>
                  <a:pt x="592" y="983"/>
                </a:cubicBezTo>
                <a:cubicBezTo>
                  <a:pt x="591" y="983"/>
                  <a:pt x="590" y="983"/>
                  <a:pt x="589" y="983"/>
                </a:cubicBezTo>
                <a:close/>
              </a:path>
            </a:pathLst>
          </a:custGeom>
          <a:solidFill>
            <a:srgbClr val="D3ED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71" name="Freeform 26">
            <a:extLst>
              <a:ext uri="{FF2B5EF4-FFF2-40B4-BE49-F238E27FC236}">
                <a16:creationId xmlns:a16="http://schemas.microsoft.com/office/drawing/2014/main" id="{35003358-6D26-45B4-AD8C-5902674A08EF}"/>
              </a:ext>
            </a:extLst>
          </p:cNvPr>
          <p:cNvSpPr>
            <a:spLocks/>
          </p:cNvSpPr>
          <p:nvPr/>
        </p:nvSpPr>
        <p:spPr bwMode="auto">
          <a:xfrm>
            <a:off x="8447819" y="5328437"/>
            <a:ext cx="614363" cy="188913"/>
          </a:xfrm>
          <a:custGeom>
            <a:avLst/>
            <a:gdLst>
              <a:gd name="T0" fmla="*/ 14 w 430"/>
              <a:gd name="T1" fmla="*/ 133 h 133"/>
              <a:gd name="T2" fmla="*/ 2 w 430"/>
              <a:gd name="T3" fmla="*/ 124 h 133"/>
              <a:gd name="T4" fmla="*/ 11 w 430"/>
              <a:gd name="T5" fmla="*/ 110 h 133"/>
              <a:gd name="T6" fmla="*/ 414 w 430"/>
              <a:gd name="T7" fmla="*/ 2 h 133"/>
              <a:gd name="T8" fmla="*/ 429 w 430"/>
              <a:gd name="T9" fmla="*/ 10 h 133"/>
              <a:gd name="T10" fmla="*/ 420 w 430"/>
              <a:gd name="T11" fmla="*/ 25 h 133"/>
              <a:gd name="T12" fmla="*/ 17 w 430"/>
              <a:gd name="T13" fmla="*/ 133 h 133"/>
              <a:gd name="T14" fmla="*/ 14 w 430"/>
              <a:gd name="T15" fmla="*/ 133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30" h="133">
                <a:moveTo>
                  <a:pt x="14" y="133"/>
                </a:moveTo>
                <a:cubicBezTo>
                  <a:pt x="8" y="133"/>
                  <a:pt x="4" y="130"/>
                  <a:pt x="2" y="124"/>
                </a:cubicBezTo>
                <a:cubicBezTo>
                  <a:pt x="0" y="118"/>
                  <a:pt x="4" y="111"/>
                  <a:pt x="11" y="110"/>
                </a:cubicBezTo>
                <a:cubicBezTo>
                  <a:pt x="414" y="2"/>
                  <a:pt x="414" y="2"/>
                  <a:pt x="414" y="2"/>
                </a:cubicBezTo>
                <a:cubicBezTo>
                  <a:pt x="420" y="0"/>
                  <a:pt x="427" y="4"/>
                  <a:pt x="429" y="10"/>
                </a:cubicBezTo>
                <a:cubicBezTo>
                  <a:pt x="430" y="16"/>
                  <a:pt x="426" y="23"/>
                  <a:pt x="420" y="25"/>
                </a:cubicBezTo>
                <a:cubicBezTo>
                  <a:pt x="17" y="133"/>
                  <a:pt x="17" y="133"/>
                  <a:pt x="17" y="133"/>
                </a:cubicBezTo>
                <a:cubicBezTo>
                  <a:pt x="16" y="133"/>
                  <a:pt x="15" y="133"/>
                  <a:pt x="14" y="133"/>
                </a:cubicBezTo>
                <a:close/>
              </a:path>
            </a:pathLst>
          </a:custGeom>
          <a:solidFill>
            <a:srgbClr val="D3ED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72" name="Freeform 27">
            <a:extLst>
              <a:ext uri="{FF2B5EF4-FFF2-40B4-BE49-F238E27FC236}">
                <a16:creationId xmlns:a16="http://schemas.microsoft.com/office/drawing/2014/main" id="{096BF68A-6D84-44C4-8FB7-40F96A22EA8A}"/>
              </a:ext>
            </a:extLst>
          </p:cNvPr>
          <p:cNvSpPr>
            <a:spLocks noEditPoints="1"/>
          </p:cNvSpPr>
          <p:nvPr/>
        </p:nvSpPr>
        <p:spPr bwMode="auto">
          <a:xfrm>
            <a:off x="8289069" y="5415750"/>
            <a:ext cx="214313" cy="209550"/>
          </a:xfrm>
          <a:custGeom>
            <a:avLst/>
            <a:gdLst>
              <a:gd name="T0" fmla="*/ 71 w 150"/>
              <a:gd name="T1" fmla="*/ 148 h 148"/>
              <a:gd name="T2" fmla="*/ 37 w 150"/>
              <a:gd name="T3" fmla="*/ 138 h 148"/>
              <a:gd name="T4" fmla="*/ 5 w 150"/>
              <a:gd name="T5" fmla="*/ 97 h 148"/>
              <a:gd name="T6" fmla="*/ 12 w 150"/>
              <a:gd name="T7" fmla="*/ 45 h 148"/>
              <a:gd name="T8" fmla="*/ 106 w 150"/>
              <a:gd name="T9" fmla="*/ 19 h 148"/>
              <a:gd name="T10" fmla="*/ 131 w 150"/>
              <a:gd name="T11" fmla="*/ 113 h 148"/>
              <a:gd name="T12" fmla="*/ 131 w 150"/>
              <a:gd name="T13" fmla="*/ 113 h 148"/>
              <a:gd name="T14" fmla="*/ 89 w 150"/>
              <a:gd name="T15" fmla="*/ 145 h 148"/>
              <a:gd name="T16" fmla="*/ 71 w 150"/>
              <a:gd name="T17" fmla="*/ 148 h 148"/>
              <a:gd name="T18" fmla="*/ 71 w 150"/>
              <a:gd name="T19" fmla="*/ 34 h 148"/>
              <a:gd name="T20" fmla="*/ 33 w 150"/>
              <a:gd name="T21" fmla="*/ 57 h 148"/>
              <a:gd name="T22" fmla="*/ 28 w 150"/>
              <a:gd name="T23" fmla="*/ 90 h 148"/>
              <a:gd name="T24" fmla="*/ 49 w 150"/>
              <a:gd name="T25" fmla="*/ 118 h 148"/>
              <a:gd name="T26" fmla="*/ 110 w 150"/>
              <a:gd name="T27" fmla="*/ 101 h 148"/>
              <a:gd name="T28" fmla="*/ 110 w 150"/>
              <a:gd name="T29" fmla="*/ 101 h 148"/>
              <a:gd name="T30" fmla="*/ 94 w 150"/>
              <a:gd name="T31" fmla="*/ 40 h 148"/>
              <a:gd name="T32" fmla="*/ 71 w 150"/>
              <a:gd name="T33" fmla="*/ 34 h 148"/>
              <a:gd name="T34" fmla="*/ 120 w 150"/>
              <a:gd name="T35" fmla="*/ 107 h 148"/>
              <a:gd name="T36" fmla="*/ 120 w 150"/>
              <a:gd name="T37" fmla="*/ 107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50" h="148">
                <a:moveTo>
                  <a:pt x="71" y="148"/>
                </a:moveTo>
                <a:cubicBezTo>
                  <a:pt x="59" y="148"/>
                  <a:pt x="47" y="145"/>
                  <a:pt x="37" y="138"/>
                </a:cubicBezTo>
                <a:cubicBezTo>
                  <a:pt x="21" y="129"/>
                  <a:pt x="10" y="114"/>
                  <a:pt x="5" y="97"/>
                </a:cubicBezTo>
                <a:cubicBezTo>
                  <a:pt x="0" y="79"/>
                  <a:pt x="3" y="60"/>
                  <a:pt x="12" y="45"/>
                </a:cubicBezTo>
                <a:cubicBezTo>
                  <a:pt x="31" y="12"/>
                  <a:pt x="73" y="0"/>
                  <a:pt x="106" y="19"/>
                </a:cubicBezTo>
                <a:cubicBezTo>
                  <a:pt x="138" y="38"/>
                  <a:pt x="150" y="80"/>
                  <a:pt x="131" y="113"/>
                </a:cubicBezTo>
                <a:cubicBezTo>
                  <a:pt x="131" y="113"/>
                  <a:pt x="131" y="113"/>
                  <a:pt x="131" y="113"/>
                </a:cubicBezTo>
                <a:cubicBezTo>
                  <a:pt x="122" y="129"/>
                  <a:pt x="107" y="141"/>
                  <a:pt x="89" y="145"/>
                </a:cubicBezTo>
                <a:cubicBezTo>
                  <a:pt x="83" y="147"/>
                  <a:pt x="77" y="148"/>
                  <a:pt x="71" y="148"/>
                </a:cubicBezTo>
                <a:close/>
                <a:moveTo>
                  <a:pt x="71" y="34"/>
                </a:moveTo>
                <a:cubicBezTo>
                  <a:pt x="56" y="34"/>
                  <a:pt x="41" y="42"/>
                  <a:pt x="33" y="57"/>
                </a:cubicBezTo>
                <a:cubicBezTo>
                  <a:pt x="27" y="67"/>
                  <a:pt x="25" y="79"/>
                  <a:pt x="28" y="90"/>
                </a:cubicBezTo>
                <a:cubicBezTo>
                  <a:pt x="31" y="102"/>
                  <a:pt x="39" y="112"/>
                  <a:pt x="49" y="118"/>
                </a:cubicBezTo>
                <a:cubicBezTo>
                  <a:pt x="70" y="130"/>
                  <a:pt x="98" y="123"/>
                  <a:pt x="110" y="101"/>
                </a:cubicBezTo>
                <a:cubicBezTo>
                  <a:pt x="110" y="101"/>
                  <a:pt x="110" y="101"/>
                  <a:pt x="110" y="101"/>
                </a:cubicBezTo>
                <a:cubicBezTo>
                  <a:pt x="122" y="80"/>
                  <a:pt x="115" y="52"/>
                  <a:pt x="94" y="40"/>
                </a:cubicBezTo>
                <a:cubicBezTo>
                  <a:pt x="87" y="36"/>
                  <a:pt x="79" y="34"/>
                  <a:pt x="71" y="34"/>
                </a:cubicBezTo>
                <a:close/>
                <a:moveTo>
                  <a:pt x="120" y="107"/>
                </a:moveTo>
                <a:cubicBezTo>
                  <a:pt x="120" y="107"/>
                  <a:pt x="120" y="107"/>
                  <a:pt x="120" y="107"/>
                </a:cubicBezTo>
                <a:close/>
              </a:path>
            </a:pathLst>
          </a:custGeom>
          <a:solidFill>
            <a:srgbClr val="D3ED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73" name="Freeform 28">
            <a:extLst>
              <a:ext uri="{FF2B5EF4-FFF2-40B4-BE49-F238E27FC236}">
                <a16:creationId xmlns:a16="http://schemas.microsoft.com/office/drawing/2014/main" id="{1ECA5428-1607-46B3-A723-1473B9C3547D}"/>
              </a:ext>
            </a:extLst>
          </p:cNvPr>
          <p:cNvSpPr>
            <a:spLocks/>
          </p:cNvSpPr>
          <p:nvPr/>
        </p:nvSpPr>
        <p:spPr bwMode="auto">
          <a:xfrm>
            <a:off x="8371619" y="5507825"/>
            <a:ext cx="379413" cy="250825"/>
          </a:xfrm>
          <a:custGeom>
            <a:avLst/>
            <a:gdLst>
              <a:gd name="T0" fmla="*/ 252 w 265"/>
              <a:gd name="T1" fmla="*/ 176 h 176"/>
              <a:gd name="T2" fmla="*/ 245 w 265"/>
              <a:gd name="T3" fmla="*/ 174 h 176"/>
              <a:gd name="T4" fmla="*/ 7 w 265"/>
              <a:gd name="T5" fmla="*/ 24 h 176"/>
              <a:gd name="T6" fmla="*/ 3 w 265"/>
              <a:gd name="T7" fmla="*/ 8 h 176"/>
              <a:gd name="T8" fmla="*/ 19 w 265"/>
              <a:gd name="T9" fmla="*/ 3 h 176"/>
              <a:gd name="T10" fmla="*/ 258 w 265"/>
              <a:gd name="T11" fmla="*/ 154 h 176"/>
              <a:gd name="T12" fmla="*/ 261 w 265"/>
              <a:gd name="T13" fmla="*/ 171 h 176"/>
              <a:gd name="T14" fmla="*/ 252 w 265"/>
              <a:gd name="T15" fmla="*/ 176 h 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65" h="176">
                <a:moveTo>
                  <a:pt x="252" y="176"/>
                </a:moveTo>
                <a:cubicBezTo>
                  <a:pt x="249" y="176"/>
                  <a:pt x="247" y="175"/>
                  <a:pt x="245" y="174"/>
                </a:cubicBezTo>
                <a:cubicBezTo>
                  <a:pt x="168" y="121"/>
                  <a:pt x="88" y="71"/>
                  <a:pt x="7" y="24"/>
                </a:cubicBezTo>
                <a:cubicBezTo>
                  <a:pt x="1" y="21"/>
                  <a:pt x="0" y="13"/>
                  <a:pt x="3" y="8"/>
                </a:cubicBezTo>
                <a:cubicBezTo>
                  <a:pt x="6" y="2"/>
                  <a:pt x="13" y="0"/>
                  <a:pt x="19" y="3"/>
                </a:cubicBezTo>
                <a:cubicBezTo>
                  <a:pt x="101" y="50"/>
                  <a:pt x="181" y="101"/>
                  <a:pt x="258" y="154"/>
                </a:cubicBezTo>
                <a:cubicBezTo>
                  <a:pt x="264" y="158"/>
                  <a:pt x="265" y="165"/>
                  <a:pt x="261" y="171"/>
                </a:cubicBezTo>
                <a:cubicBezTo>
                  <a:pt x="259" y="174"/>
                  <a:pt x="255" y="176"/>
                  <a:pt x="252" y="176"/>
                </a:cubicBezTo>
                <a:close/>
              </a:path>
            </a:pathLst>
          </a:custGeom>
          <a:solidFill>
            <a:srgbClr val="FD797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74" name="Freeform 5">
            <a:extLst>
              <a:ext uri="{FF2B5EF4-FFF2-40B4-BE49-F238E27FC236}">
                <a16:creationId xmlns:a16="http://schemas.microsoft.com/office/drawing/2014/main" id="{F188DD7D-F2A2-4E14-AE96-A47F2A17FB40}"/>
              </a:ext>
            </a:extLst>
          </p:cNvPr>
          <p:cNvSpPr>
            <a:spLocks noEditPoints="1"/>
          </p:cNvSpPr>
          <p:nvPr/>
        </p:nvSpPr>
        <p:spPr bwMode="auto">
          <a:xfrm>
            <a:off x="7126774" y="3831420"/>
            <a:ext cx="609764" cy="449604"/>
          </a:xfrm>
          <a:custGeom>
            <a:avLst/>
            <a:gdLst>
              <a:gd name="T0" fmla="*/ 37 w 248"/>
              <a:gd name="T1" fmla="*/ 16 h 183"/>
              <a:gd name="T2" fmla="*/ 20 w 248"/>
              <a:gd name="T3" fmla="*/ 97 h 183"/>
              <a:gd name="T4" fmla="*/ 0 w 248"/>
              <a:gd name="T5" fmla="*/ 167 h 183"/>
              <a:gd name="T6" fmla="*/ 9 w 248"/>
              <a:gd name="T7" fmla="*/ 144 h 183"/>
              <a:gd name="T8" fmla="*/ 35 w 248"/>
              <a:gd name="T9" fmla="*/ 96 h 183"/>
              <a:gd name="T10" fmla="*/ 37 w 248"/>
              <a:gd name="T11" fmla="*/ 127 h 183"/>
              <a:gd name="T12" fmla="*/ 63 w 248"/>
              <a:gd name="T13" fmla="*/ 110 h 183"/>
              <a:gd name="T14" fmla="*/ 67 w 248"/>
              <a:gd name="T15" fmla="*/ 113 h 183"/>
              <a:gd name="T16" fmla="*/ 50 w 248"/>
              <a:gd name="T17" fmla="*/ 138 h 183"/>
              <a:gd name="T18" fmla="*/ 32 w 248"/>
              <a:gd name="T19" fmla="*/ 156 h 183"/>
              <a:gd name="T20" fmla="*/ 33 w 248"/>
              <a:gd name="T21" fmla="*/ 167 h 183"/>
              <a:gd name="T22" fmla="*/ 47 w 248"/>
              <a:gd name="T23" fmla="*/ 153 h 183"/>
              <a:gd name="T24" fmla="*/ 170 w 248"/>
              <a:gd name="T25" fmla="*/ 135 h 183"/>
              <a:gd name="T26" fmla="*/ 170 w 248"/>
              <a:gd name="T27" fmla="*/ 148 h 183"/>
              <a:gd name="T28" fmla="*/ 205 w 248"/>
              <a:gd name="T29" fmla="*/ 183 h 183"/>
              <a:gd name="T30" fmla="*/ 210 w 248"/>
              <a:gd name="T31" fmla="*/ 181 h 183"/>
              <a:gd name="T32" fmla="*/ 204 w 248"/>
              <a:gd name="T33" fmla="*/ 172 h 183"/>
              <a:gd name="T34" fmla="*/ 175 w 248"/>
              <a:gd name="T35" fmla="*/ 139 h 183"/>
              <a:gd name="T36" fmla="*/ 186 w 248"/>
              <a:gd name="T37" fmla="*/ 143 h 183"/>
              <a:gd name="T38" fmla="*/ 169 w 248"/>
              <a:gd name="T39" fmla="*/ 94 h 183"/>
              <a:gd name="T40" fmla="*/ 191 w 248"/>
              <a:gd name="T41" fmla="*/ 123 h 183"/>
              <a:gd name="T42" fmla="*/ 193 w 248"/>
              <a:gd name="T43" fmla="*/ 113 h 183"/>
              <a:gd name="T44" fmla="*/ 200 w 248"/>
              <a:gd name="T45" fmla="*/ 120 h 183"/>
              <a:gd name="T46" fmla="*/ 204 w 248"/>
              <a:gd name="T47" fmla="*/ 106 h 183"/>
              <a:gd name="T48" fmla="*/ 216 w 248"/>
              <a:gd name="T49" fmla="*/ 116 h 183"/>
              <a:gd name="T50" fmla="*/ 215 w 248"/>
              <a:gd name="T51" fmla="*/ 107 h 183"/>
              <a:gd name="T52" fmla="*/ 233 w 248"/>
              <a:gd name="T53" fmla="*/ 155 h 183"/>
              <a:gd name="T54" fmla="*/ 236 w 248"/>
              <a:gd name="T55" fmla="*/ 167 h 183"/>
              <a:gd name="T56" fmla="*/ 239 w 248"/>
              <a:gd name="T57" fmla="*/ 156 h 183"/>
              <a:gd name="T58" fmla="*/ 248 w 248"/>
              <a:gd name="T59" fmla="*/ 118 h 183"/>
              <a:gd name="T60" fmla="*/ 231 w 248"/>
              <a:gd name="T61" fmla="*/ 0 h 183"/>
              <a:gd name="T62" fmla="*/ 149 w 248"/>
              <a:gd name="T63" fmla="*/ 92 h 183"/>
              <a:gd name="T64" fmla="*/ 119 w 248"/>
              <a:gd name="T65" fmla="*/ 76 h 183"/>
              <a:gd name="T66" fmla="*/ 135 w 248"/>
              <a:gd name="T67" fmla="*/ 47 h 183"/>
              <a:gd name="T68" fmla="*/ 165 w 248"/>
              <a:gd name="T69" fmla="*/ 62 h 183"/>
              <a:gd name="T70" fmla="*/ 183 w 248"/>
              <a:gd name="T71" fmla="*/ 103 h 183"/>
              <a:gd name="T72" fmla="*/ 197 w 248"/>
              <a:gd name="T73" fmla="*/ 103 h 183"/>
              <a:gd name="T74" fmla="*/ 221 w 248"/>
              <a:gd name="T75" fmla="*/ 104 h 183"/>
              <a:gd name="T76" fmla="*/ 208 w 248"/>
              <a:gd name="T77" fmla="*/ 101 h 183"/>
              <a:gd name="T78" fmla="*/ 123 w 248"/>
              <a:gd name="T79" fmla="*/ 33 h 183"/>
              <a:gd name="T80" fmla="*/ 84 w 248"/>
              <a:gd name="T81" fmla="*/ 33 h 183"/>
              <a:gd name="T82" fmla="*/ 161 w 248"/>
              <a:gd name="T83" fmla="*/ 105 h 183"/>
              <a:gd name="T84" fmla="*/ 67 w 248"/>
              <a:gd name="T85" fmla="*/ 123 h 183"/>
              <a:gd name="T86" fmla="*/ 73 w 248"/>
              <a:gd name="T87" fmla="*/ 113 h 183"/>
              <a:gd name="T88" fmla="*/ 63 w 248"/>
              <a:gd name="T89" fmla="*/ 104 h 183"/>
              <a:gd name="T90" fmla="*/ 228 w 248"/>
              <a:gd name="T91" fmla="*/ 10 h 183"/>
              <a:gd name="T92" fmla="*/ 235 w 248"/>
              <a:gd name="T93" fmla="*/ 69 h 183"/>
              <a:gd name="T94" fmla="*/ 239 w 248"/>
              <a:gd name="T95" fmla="*/ 73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48" h="183">
                <a:moveTo>
                  <a:pt x="231" y="0"/>
                </a:moveTo>
                <a:cubicBezTo>
                  <a:pt x="53" y="0"/>
                  <a:pt x="53" y="0"/>
                  <a:pt x="53" y="0"/>
                </a:cubicBezTo>
                <a:cubicBezTo>
                  <a:pt x="44" y="0"/>
                  <a:pt x="37" y="7"/>
                  <a:pt x="37" y="16"/>
                </a:cubicBezTo>
                <a:cubicBezTo>
                  <a:pt x="37" y="17"/>
                  <a:pt x="37" y="17"/>
                  <a:pt x="37" y="17"/>
                </a:cubicBezTo>
                <a:cubicBezTo>
                  <a:pt x="37" y="88"/>
                  <a:pt x="37" y="88"/>
                  <a:pt x="37" y="88"/>
                </a:cubicBezTo>
                <a:cubicBezTo>
                  <a:pt x="33" y="90"/>
                  <a:pt x="25" y="94"/>
                  <a:pt x="20" y="97"/>
                </a:cubicBezTo>
                <a:cubicBezTo>
                  <a:pt x="19" y="97"/>
                  <a:pt x="17" y="99"/>
                  <a:pt x="16" y="100"/>
                </a:cubicBezTo>
                <a:cubicBezTo>
                  <a:pt x="13" y="105"/>
                  <a:pt x="5" y="126"/>
                  <a:pt x="3" y="143"/>
                </a:cubicBezTo>
                <a:cubicBezTo>
                  <a:pt x="2" y="146"/>
                  <a:pt x="0" y="162"/>
                  <a:pt x="0" y="167"/>
                </a:cubicBezTo>
                <a:cubicBezTo>
                  <a:pt x="6" y="167"/>
                  <a:pt x="6" y="167"/>
                  <a:pt x="6" y="167"/>
                </a:cubicBezTo>
                <a:cubicBezTo>
                  <a:pt x="6" y="165"/>
                  <a:pt x="7" y="163"/>
                  <a:pt x="7" y="160"/>
                </a:cubicBezTo>
                <a:cubicBezTo>
                  <a:pt x="8" y="153"/>
                  <a:pt x="8" y="146"/>
                  <a:pt x="9" y="144"/>
                </a:cubicBezTo>
                <a:cubicBezTo>
                  <a:pt x="11" y="128"/>
                  <a:pt x="19" y="107"/>
                  <a:pt x="21" y="104"/>
                </a:cubicBezTo>
                <a:cubicBezTo>
                  <a:pt x="22" y="103"/>
                  <a:pt x="23" y="102"/>
                  <a:pt x="23" y="102"/>
                </a:cubicBezTo>
                <a:cubicBezTo>
                  <a:pt x="27" y="100"/>
                  <a:pt x="32" y="98"/>
                  <a:pt x="35" y="96"/>
                </a:cubicBezTo>
                <a:cubicBezTo>
                  <a:pt x="36" y="96"/>
                  <a:pt x="36" y="96"/>
                  <a:pt x="37" y="95"/>
                </a:cubicBezTo>
                <a:cubicBezTo>
                  <a:pt x="37" y="119"/>
                  <a:pt x="37" y="119"/>
                  <a:pt x="37" y="119"/>
                </a:cubicBezTo>
                <a:cubicBezTo>
                  <a:pt x="37" y="120"/>
                  <a:pt x="37" y="127"/>
                  <a:pt x="37" y="127"/>
                </a:cubicBezTo>
                <a:cubicBezTo>
                  <a:pt x="37" y="127"/>
                  <a:pt x="41" y="126"/>
                  <a:pt x="45" y="123"/>
                </a:cubicBezTo>
                <a:cubicBezTo>
                  <a:pt x="50" y="120"/>
                  <a:pt x="54" y="115"/>
                  <a:pt x="56" y="112"/>
                </a:cubicBezTo>
                <a:cubicBezTo>
                  <a:pt x="58" y="110"/>
                  <a:pt x="60" y="109"/>
                  <a:pt x="63" y="110"/>
                </a:cubicBezTo>
                <a:cubicBezTo>
                  <a:pt x="64" y="110"/>
                  <a:pt x="66" y="111"/>
                  <a:pt x="67" y="112"/>
                </a:cubicBezTo>
                <a:cubicBezTo>
                  <a:pt x="67" y="112"/>
                  <a:pt x="67" y="113"/>
                  <a:pt x="67" y="113"/>
                </a:cubicBezTo>
                <a:cubicBezTo>
                  <a:pt x="67" y="113"/>
                  <a:pt x="67" y="113"/>
                  <a:pt x="67" y="113"/>
                </a:cubicBezTo>
                <a:cubicBezTo>
                  <a:pt x="67" y="114"/>
                  <a:pt x="66" y="115"/>
                  <a:pt x="64" y="116"/>
                </a:cubicBezTo>
                <a:cubicBezTo>
                  <a:pt x="64" y="117"/>
                  <a:pt x="63" y="118"/>
                  <a:pt x="62" y="119"/>
                </a:cubicBezTo>
                <a:cubicBezTo>
                  <a:pt x="56" y="127"/>
                  <a:pt x="52" y="133"/>
                  <a:pt x="50" y="138"/>
                </a:cubicBezTo>
                <a:cubicBezTo>
                  <a:pt x="48" y="143"/>
                  <a:pt x="46" y="145"/>
                  <a:pt x="43" y="149"/>
                </a:cubicBezTo>
                <a:cubicBezTo>
                  <a:pt x="39" y="152"/>
                  <a:pt x="37" y="154"/>
                  <a:pt x="34" y="155"/>
                </a:cubicBezTo>
                <a:cubicBezTo>
                  <a:pt x="34" y="155"/>
                  <a:pt x="33" y="156"/>
                  <a:pt x="32" y="156"/>
                </a:cubicBezTo>
                <a:cubicBezTo>
                  <a:pt x="31" y="157"/>
                  <a:pt x="30" y="158"/>
                  <a:pt x="30" y="159"/>
                </a:cubicBezTo>
                <a:cubicBezTo>
                  <a:pt x="30" y="167"/>
                  <a:pt x="30" y="167"/>
                  <a:pt x="30" y="167"/>
                </a:cubicBezTo>
                <a:cubicBezTo>
                  <a:pt x="33" y="167"/>
                  <a:pt x="33" y="167"/>
                  <a:pt x="33" y="167"/>
                </a:cubicBezTo>
                <a:cubicBezTo>
                  <a:pt x="37" y="167"/>
                  <a:pt x="37" y="167"/>
                  <a:pt x="37" y="167"/>
                </a:cubicBezTo>
                <a:cubicBezTo>
                  <a:pt x="37" y="161"/>
                  <a:pt x="37" y="161"/>
                  <a:pt x="37" y="161"/>
                </a:cubicBezTo>
                <a:cubicBezTo>
                  <a:pt x="40" y="159"/>
                  <a:pt x="43" y="157"/>
                  <a:pt x="47" y="153"/>
                </a:cubicBezTo>
                <a:cubicBezTo>
                  <a:pt x="51" y="149"/>
                  <a:pt x="53" y="146"/>
                  <a:pt x="55" y="141"/>
                </a:cubicBezTo>
                <a:cubicBezTo>
                  <a:pt x="56" y="139"/>
                  <a:pt x="57" y="137"/>
                  <a:pt x="58" y="135"/>
                </a:cubicBezTo>
                <a:cubicBezTo>
                  <a:pt x="170" y="135"/>
                  <a:pt x="170" y="135"/>
                  <a:pt x="170" y="135"/>
                </a:cubicBezTo>
                <a:cubicBezTo>
                  <a:pt x="169" y="136"/>
                  <a:pt x="169" y="137"/>
                  <a:pt x="169" y="138"/>
                </a:cubicBezTo>
                <a:cubicBezTo>
                  <a:pt x="167" y="142"/>
                  <a:pt x="169" y="146"/>
                  <a:pt x="170" y="148"/>
                </a:cubicBezTo>
                <a:cubicBezTo>
                  <a:pt x="170" y="148"/>
                  <a:pt x="170" y="148"/>
                  <a:pt x="170" y="148"/>
                </a:cubicBezTo>
                <a:cubicBezTo>
                  <a:pt x="175" y="156"/>
                  <a:pt x="175" y="156"/>
                  <a:pt x="175" y="156"/>
                </a:cubicBezTo>
                <a:cubicBezTo>
                  <a:pt x="183" y="168"/>
                  <a:pt x="192" y="175"/>
                  <a:pt x="202" y="178"/>
                </a:cubicBezTo>
                <a:cubicBezTo>
                  <a:pt x="205" y="183"/>
                  <a:pt x="205" y="183"/>
                  <a:pt x="205" y="183"/>
                </a:cubicBezTo>
                <a:cubicBezTo>
                  <a:pt x="208" y="182"/>
                  <a:pt x="208" y="182"/>
                  <a:pt x="208" y="182"/>
                </a:cubicBezTo>
                <a:cubicBezTo>
                  <a:pt x="208" y="182"/>
                  <a:pt x="208" y="182"/>
                  <a:pt x="208" y="182"/>
                </a:cubicBezTo>
                <a:cubicBezTo>
                  <a:pt x="210" y="181"/>
                  <a:pt x="210" y="181"/>
                  <a:pt x="210" y="181"/>
                </a:cubicBezTo>
                <a:cubicBezTo>
                  <a:pt x="207" y="174"/>
                  <a:pt x="207" y="174"/>
                  <a:pt x="207" y="174"/>
                </a:cubicBezTo>
                <a:cubicBezTo>
                  <a:pt x="206" y="173"/>
                  <a:pt x="205" y="172"/>
                  <a:pt x="204" y="172"/>
                </a:cubicBezTo>
                <a:cubicBezTo>
                  <a:pt x="204" y="172"/>
                  <a:pt x="204" y="172"/>
                  <a:pt x="204" y="172"/>
                </a:cubicBezTo>
                <a:cubicBezTo>
                  <a:pt x="196" y="170"/>
                  <a:pt x="188" y="164"/>
                  <a:pt x="181" y="153"/>
                </a:cubicBezTo>
                <a:cubicBezTo>
                  <a:pt x="175" y="145"/>
                  <a:pt x="175" y="145"/>
                  <a:pt x="175" y="145"/>
                </a:cubicBezTo>
                <a:cubicBezTo>
                  <a:pt x="175" y="143"/>
                  <a:pt x="174" y="141"/>
                  <a:pt x="175" y="139"/>
                </a:cubicBezTo>
                <a:cubicBezTo>
                  <a:pt x="175" y="138"/>
                  <a:pt x="175" y="138"/>
                  <a:pt x="176" y="137"/>
                </a:cubicBezTo>
                <a:cubicBezTo>
                  <a:pt x="183" y="144"/>
                  <a:pt x="183" y="144"/>
                  <a:pt x="183" y="144"/>
                </a:cubicBezTo>
                <a:cubicBezTo>
                  <a:pt x="186" y="143"/>
                  <a:pt x="186" y="143"/>
                  <a:pt x="186" y="143"/>
                </a:cubicBezTo>
                <a:cubicBezTo>
                  <a:pt x="164" y="96"/>
                  <a:pt x="164" y="96"/>
                  <a:pt x="164" y="96"/>
                </a:cubicBezTo>
                <a:cubicBezTo>
                  <a:pt x="164" y="96"/>
                  <a:pt x="164" y="96"/>
                  <a:pt x="164" y="96"/>
                </a:cubicBezTo>
                <a:cubicBezTo>
                  <a:pt x="163" y="94"/>
                  <a:pt x="167" y="91"/>
                  <a:pt x="169" y="94"/>
                </a:cubicBezTo>
                <a:cubicBezTo>
                  <a:pt x="185" y="126"/>
                  <a:pt x="185" y="126"/>
                  <a:pt x="185" y="126"/>
                </a:cubicBezTo>
                <a:cubicBezTo>
                  <a:pt x="188" y="124"/>
                  <a:pt x="188" y="124"/>
                  <a:pt x="188" y="124"/>
                </a:cubicBezTo>
                <a:cubicBezTo>
                  <a:pt x="191" y="123"/>
                  <a:pt x="191" y="123"/>
                  <a:pt x="191" y="123"/>
                </a:cubicBezTo>
                <a:cubicBezTo>
                  <a:pt x="182" y="105"/>
                  <a:pt x="182" y="105"/>
                  <a:pt x="182" y="105"/>
                </a:cubicBezTo>
                <a:cubicBezTo>
                  <a:pt x="185" y="104"/>
                  <a:pt x="188" y="103"/>
                  <a:pt x="190" y="106"/>
                </a:cubicBezTo>
                <a:cubicBezTo>
                  <a:pt x="193" y="113"/>
                  <a:pt x="193" y="113"/>
                  <a:pt x="193" y="113"/>
                </a:cubicBezTo>
                <a:cubicBezTo>
                  <a:pt x="197" y="121"/>
                  <a:pt x="197" y="121"/>
                  <a:pt x="197" y="121"/>
                </a:cubicBezTo>
                <a:cubicBezTo>
                  <a:pt x="200" y="120"/>
                  <a:pt x="200" y="120"/>
                  <a:pt x="200" y="120"/>
                </a:cubicBezTo>
                <a:cubicBezTo>
                  <a:pt x="200" y="120"/>
                  <a:pt x="200" y="120"/>
                  <a:pt x="200" y="120"/>
                </a:cubicBezTo>
                <a:cubicBezTo>
                  <a:pt x="203" y="118"/>
                  <a:pt x="203" y="118"/>
                  <a:pt x="203" y="118"/>
                </a:cubicBezTo>
                <a:cubicBezTo>
                  <a:pt x="196" y="105"/>
                  <a:pt x="196" y="105"/>
                  <a:pt x="196" y="105"/>
                </a:cubicBezTo>
                <a:cubicBezTo>
                  <a:pt x="199" y="104"/>
                  <a:pt x="202" y="102"/>
                  <a:pt x="204" y="106"/>
                </a:cubicBezTo>
                <a:cubicBezTo>
                  <a:pt x="207" y="111"/>
                  <a:pt x="207" y="111"/>
                  <a:pt x="207" y="111"/>
                </a:cubicBezTo>
                <a:cubicBezTo>
                  <a:pt x="210" y="118"/>
                  <a:pt x="210" y="118"/>
                  <a:pt x="210" y="118"/>
                </a:cubicBezTo>
                <a:cubicBezTo>
                  <a:pt x="216" y="116"/>
                  <a:pt x="216" y="116"/>
                  <a:pt x="216" y="116"/>
                </a:cubicBezTo>
                <a:cubicBezTo>
                  <a:pt x="211" y="107"/>
                  <a:pt x="211" y="107"/>
                  <a:pt x="211" y="107"/>
                </a:cubicBezTo>
                <a:cubicBezTo>
                  <a:pt x="213" y="106"/>
                  <a:pt x="213" y="106"/>
                  <a:pt x="213" y="106"/>
                </a:cubicBezTo>
                <a:cubicBezTo>
                  <a:pt x="213" y="105"/>
                  <a:pt x="215" y="106"/>
                  <a:pt x="215" y="107"/>
                </a:cubicBezTo>
                <a:cubicBezTo>
                  <a:pt x="227" y="130"/>
                  <a:pt x="227" y="130"/>
                  <a:pt x="227" y="130"/>
                </a:cubicBezTo>
                <a:cubicBezTo>
                  <a:pt x="233" y="142"/>
                  <a:pt x="234" y="148"/>
                  <a:pt x="233" y="152"/>
                </a:cubicBezTo>
                <a:cubicBezTo>
                  <a:pt x="233" y="153"/>
                  <a:pt x="233" y="154"/>
                  <a:pt x="233" y="155"/>
                </a:cubicBezTo>
                <a:cubicBezTo>
                  <a:pt x="232" y="156"/>
                  <a:pt x="232" y="157"/>
                  <a:pt x="232" y="158"/>
                </a:cubicBezTo>
                <a:cubicBezTo>
                  <a:pt x="232" y="158"/>
                  <a:pt x="232" y="159"/>
                  <a:pt x="232" y="160"/>
                </a:cubicBezTo>
                <a:cubicBezTo>
                  <a:pt x="236" y="167"/>
                  <a:pt x="236" y="167"/>
                  <a:pt x="236" y="167"/>
                </a:cubicBezTo>
                <a:cubicBezTo>
                  <a:pt x="242" y="164"/>
                  <a:pt x="242" y="164"/>
                  <a:pt x="242" y="164"/>
                </a:cubicBezTo>
                <a:cubicBezTo>
                  <a:pt x="238" y="158"/>
                  <a:pt x="238" y="158"/>
                  <a:pt x="238" y="158"/>
                </a:cubicBezTo>
                <a:cubicBezTo>
                  <a:pt x="238" y="157"/>
                  <a:pt x="239" y="157"/>
                  <a:pt x="239" y="156"/>
                </a:cubicBezTo>
                <a:cubicBezTo>
                  <a:pt x="240" y="152"/>
                  <a:pt x="241" y="146"/>
                  <a:pt x="236" y="135"/>
                </a:cubicBezTo>
                <a:cubicBezTo>
                  <a:pt x="243" y="133"/>
                  <a:pt x="248" y="126"/>
                  <a:pt x="248" y="119"/>
                </a:cubicBezTo>
                <a:cubicBezTo>
                  <a:pt x="248" y="118"/>
                  <a:pt x="248" y="118"/>
                  <a:pt x="248" y="118"/>
                </a:cubicBezTo>
                <a:cubicBezTo>
                  <a:pt x="248" y="17"/>
                  <a:pt x="248" y="17"/>
                  <a:pt x="248" y="17"/>
                </a:cubicBezTo>
                <a:cubicBezTo>
                  <a:pt x="248" y="16"/>
                  <a:pt x="248" y="16"/>
                  <a:pt x="248" y="16"/>
                </a:cubicBezTo>
                <a:cubicBezTo>
                  <a:pt x="248" y="7"/>
                  <a:pt x="240" y="0"/>
                  <a:pt x="231" y="0"/>
                </a:cubicBezTo>
                <a:close/>
                <a:moveTo>
                  <a:pt x="165" y="76"/>
                </a:moveTo>
                <a:cubicBezTo>
                  <a:pt x="149" y="76"/>
                  <a:pt x="149" y="76"/>
                  <a:pt x="149" y="76"/>
                </a:cubicBezTo>
                <a:cubicBezTo>
                  <a:pt x="149" y="92"/>
                  <a:pt x="149" y="92"/>
                  <a:pt x="149" y="92"/>
                </a:cubicBezTo>
                <a:cubicBezTo>
                  <a:pt x="135" y="92"/>
                  <a:pt x="135" y="92"/>
                  <a:pt x="135" y="92"/>
                </a:cubicBezTo>
                <a:cubicBezTo>
                  <a:pt x="135" y="76"/>
                  <a:pt x="135" y="76"/>
                  <a:pt x="135" y="76"/>
                </a:cubicBezTo>
                <a:cubicBezTo>
                  <a:pt x="119" y="76"/>
                  <a:pt x="119" y="76"/>
                  <a:pt x="119" y="76"/>
                </a:cubicBezTo>
                <a:cubicBezTo>
                  <a:pt x="119" y="62"/>
                  <a:pt x="119" y="62"/>
                  <a:pt x="119" y="62"/>
                </a:cubicBezTo>
                <a:cubicBezTo>
                  <a:pt x="135" y="62"/>
                  <a:pt x="135" y="62"/>
                  <a:pt x="135" y="62"/>
                </a:cubicBezTo>
                <a:cubicBezTo>
                  <a:pt x="135" y="47"/>
                  <a:pt x="135" y="47"/>
                  <a:pt x="135" y="47"/>
                </a:cubicBezTo>
                <a:cubicBezTo>
                  <a:pt x="149" y="47"/>
                  <a:pt x="149" y="47"/>
                  <a:pt x="149" y="47"/>
                </a:cubicBezTo>
                <a:cubicBezTo>
                  <a:pt x="149" y="62"/>
                  <a:pt x="149" y="62"/>
                  <a:pt x="149" y="62"/>
                </a:cubicBezTo>
                <a:cubicBezTo>
                  <a:pt x="165" y="62"/>
                  <a:pt x="165" y="62"/>
                  <a:pt x="165" y="62"/>
                </a:cubicBezTo>
                <a:lnTo>
                  <a:pt x="165" y="76"/>
                </a:lnTo>
                <a:close/>
                <a:moveTo>
                  <a:pt x="183" y="103"/>
                </a:moveTo>
                <a:cubicBezTo>
                  <a:pt x="183" y="103"/>
                  <a:pt x="183" y="103"/>
                  <a:pt x="183" y="103"/>
                </a:cubicBezTo>
                <a:cubicBezTo>
                  <a:pt x="183" y="103"/>
                  <a:pt x="183" y="103"/>
                  <a:pt x="183" y="103"/>
                </a:cubicBezTo>
                <a:close/>
                <a:moveTo>
                  <a:pt x="197" y="103"/>
                </a:moveTo>
                <a:cubicBezTo>
                  <a:pt x="197" y="103"/>
                  <a:pt x="197" y="103"/>
                  <a:pt x="197" y="103"/>
                </a:cubicBezTo>
                <a:cubicBezTo>
                  <a:pt x="197" y="103"/>
                  <a:pt x="197" y="103"/>
                  <a:pt x="197" y="103"/>
                </a:cubicBezTo>
                <a:close/>
                <a:moveTo>
                  <a:pt x="228" y="118"/>
                </a:moveTo>
                <a:cubicBezTo>
                  <a:pt x="221" y="104"/>
                  <a:pt x="221" y="104"/>
                  <a:pt x="221" y="104"/>
                </a:cubicBezTo>
                <a:cubicBezTo>
                  <a:pt x="219" y="100"/>
                  <a:pt x="214" y="98"/>
                  <a:pt x="210" y="100"/>
                </a:cubicBezTo>
                <a:cubicBezTo>
                  <a:pt x="210" y="100"/>
                  <a:pt x="210" y="100"/>
                  <a:pt x="210" y="100"/>
                </a:cubicBezTo>
                <a:cubicBezTo>
                  <a:pt x="208" y="101"/>
                  <a:pt x="208" y="101"/>
                  <a:pt x="208" y="101"/>
                </a:cubicBezTo>
                <a:cubicBezTo>
                  <a:pt x="206" y="99"/>
                  <a:pt x="203" y="98"/>
                  <a:pt x="200" y="98"/>
                </a:cubicBezTo>
                <a:cubicBezTo>
                  <a:pt x="200" y="33"/>
                  <a:pt x="200" y="33"/>
                  <a:pt x="200" y="33"/>
                </a:cubicBezTo>
                <a:cubicBezTo>
                  <a:pt x="123" y="33"/>
                  <a:pt x="123" y="33"/>
                  <a:pt x="123" y="33"/>
                </a:cubicBezTo>
                <a:cubicBezTo>
                  <a:pt x="118" y="25"/>
                  <a:pt x="118" y="25"/>
                  <a:pt x="118" y="25"/>
                </a:cubicBezTo>
                <a:cubicBezTo>
                  <a:pt x="84" y="25"/>
                  <a:pt x="84" y="25"/>
                  <a:pt x="84" y="25"/>
                </a:cubicBezTo>
                <a:cubicBezTo>
                  <a:pt x="84" y="33"/>
                  <a:pt x="84" y="33"/>
                  <a:pt x="84" y="33"/>
                </a:cubicBezTo>
                <a:cubicBezTo>
                  <a:pt x="84" y="37"/>
                  <a:pt x="84" y="37"/>
                  <a:pt x="84" y="37"/>
                </a:cubicBezTo>
                <a:cubicBezTo>
                  <a:pt x="84" y="105"/>
                  <a:pt x="84" y="105"/>
                  <a:pt x="84" y="105"/>
                </a:cubicBezTo>
                <a:cubicBezTo>
                  <a:pt x="161" y="105"/>
                  <a:pt x="161" y="105"/>
                  <a:pt x="161" y="105"/>
                </a:cubicBezTo>
                <a:cubicBezTo>
                  <a:pt x="171" y="125"/>
                  <a:pt x="171" y="125"/>
                  <a:pt x="171" y="125"/>
                </a:cubicBezTo>
                <a:cubicBezTo>
                  <a:pt x="65" y="125"/>
                  <a:pt x="65" y="125"/>
                  <a:pt x="65" y="125"/>
                </a:cubicBezTo>
                <a:cubicBezTo>
                  <a:pt x="66" y="124"/>
                  <a:pt x="66" y="123"/>
                  <a:pt x="67" y="123"/>
                </a:cubicBezTo>
                <a:cubicBezTo>
                  <a:pt x="68" y="122"/>
                  <a:pt x="68" y="121"/>
                  <a:pt x="69" y="121"/>
                </a:cubicBezTo>
                <a:cubicBezTo>
                  <a:pt x="71" y="119"/>
                  <a:pt x="73" y="117"/>
                  <a:pt x="73" y="114"/>
                </a:cubicBezTo>
                <a:cubicBezTo>
                  <a:pt x="73" y="113"/>
                  <a:pt x="73" y="113"/>
                  <a:pt x="73" y="113"/>
                </a:cubicBezTo>
                <a:cubicBezTo>
                  <a:pt x="73" y="113"/>
                  <a:pt x="73" y="112"/>
                  <a:pt x="73" y="112"/>
                </a:cubicBezTo>
                <a:cubicBezTo>
                  <a:pt x="73" y="111"/>
                  <a:pt x="73" y="109"/>
                  <a:pt x="72" y="108"/>
                </a:cubicBezTo>
                <a:cubicBezTo>
                  <a:pt x="70" y="105"/>
                  <a:pt x="67" y="104"/>
                  <a:pt x="63" y="104"/>
                </a:cubicBezTo>
                <a:cubicBezTo>
                  <a:pt x="61" y="103"/>
                  <a:pt x="58" y="104"/>
                  <a:pt x="56" y="105"/>
                </a:cubicBezTo>
                <a:cubicBezTo>
                  <a:pt x="56" y="10"/>
                  <a:pt x="56" y="10"/>
                  <a:pt x="56" y="10"/>
                </a:cubicBezTo>
                <a:cubicBezTo>
                  <a:pt x="228" y="10"/>
                  <a:pt x="228" y="10"/>
                  <a:pt x="228" y="10"/>
                </a:cubicBezTo>
                <a:lnTo>
                  <a:pt x="228" y="118"/>
                </a:lnTo>
                <a:close/>
                <a:moveTo>
                  <a:pt x="239" y="73"/>
                </a:moveTo>
                <a:cubicBezTo>
                  <a:pt x="237" y="73"/>
                  <a:pt x="235" y="71"/>
                  <a:pt x="235" y="69"/>
                </a:cubicBezTo>
                <a:cubicBezTo>
                  <a:pt x="235" y="67"/>
                  <a:pt x="237" y="65"/>
                  <a:pt x="239" y="65"/>
                </a:cubicBezTo>
                <a:cubicBezTo>
                  <a:pt x="241" y="65"/>
                  <a:pt x="242" y="67"/>
                  <a:pt x="242" y="69"/>
                </a:cubicBezTo>
                <a:cubicBezTo>
                  <a:pt x="242" y="71"/>
                  <a:pt x="241" y="73"/>
                  <a:pt x="239" y="73"/>
                </a:cubicBezTo>
                <a:close/>
              </a:path>
            </a:pathLst>
          </a:custGeom>
          <a:solidFill>
            <a:srgbClr val="00376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grpSp>
        <p:nvGrpSpPr>
          <p:cNvPr id="175" name="Group 174">
            <a:extLst>
              <a:ext uri="{FF2B5EF4-FFF2-40B4-BE49-F238E27FC236}">
                <a16:creationId xmlns:a16="http://schemas.microsoft.com/office/drawing/2014/main" id="{0B5DB72F-5CC5-4F40-A40E-C2C7FF5514E6}"/>
              </a:ext>
            </a:extLst>
          </p:cNvPr>
          <p:cNvGrpSpPr/>
          <p:nvPr/>
        </p:nvGrpSpPr>
        <p:grpSpPr>
          <a:xfrm>
            <a:off x="4025496" y="3793671"/>
            <a:ext cx="515033" cy="579736"/>
            <a:chOff x="7038976" y="3975100"/>
            <a:chExt cx="315912" cy="355600"/>
          </a:xfrm>
        </p:grpSpPr>
        <p:sp>
          <p:nvSpPr>
            <p:cNvPr id="176" name="Freeform 336">
              <a:extLst>
                <a:ext uri="{FF2B5EF4-FFF2-40B4-BE49-F238E27FC236}">
                  <a16:creationId xmlns:a16="http://schemas.microsoft.com/office/drawing/2014/main" id="{EB13B013-95E8-4447-B562-113FFAB2F9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38976" y="4208463"/>
              <a:ext cx="165100" cy="119063"/>
            </a:xfrm>
            <a:custGeom>
              <a:avLst/>
              <a:gdLst>
                <a:gd name="T0" fmla="*/ 52 w 58"/>
                <a:gd name="T1" fmla="*/ 0 h 42"/>
                <a:gd name="T2" fmla="*/ 6 w 58"/>
                <a:gd name="T3" fmla="*/ 0 h 42"/>
                <a:gd name="T4" fmla="*/ 0 w 58"/>
                <a:gd name="T5" fmla="*/ 5 h 42"/>
                <a:gd name="T6" fmla="*/ 0 w 58"/>
                <a:gd name="T7" fmla="*/ 28 h 42"/>
                <a:gd name="T8" fmla="*/ 0 w 58"/>
                <a:gd name="T9" fmla="*/ 31 h 42"/>
                <a:gd name="T10" fmla="*/ 0 w 58"/>
                <a:gd name="T11" fmla="*/ 32 h 42"/>
                <a:gd name="T12" fmla="*/ 11 w 58"/>
                <a:gd name="T13" fmla="*/ 42 h 42"/>
                <a:gd name="T14" fmla="*/ 47 w 58"/>
                <a:gd name="T15" fmla="*/ 42 h 42"/>
                <a:gd name="T16" fmla="*/ 58 w 58"/>
                <a:gd name="T17" fmla="*/ 32 h 42"/>
                <a:gd name="T18" fmla="*/ 58 w 58"/>
                <a:gd name="T19" fmla="*/ 31 h 42"/>
                <a:gd name="T20" fmla="*/ 58 w 58"/>
                <a:gd name="T21" fmla="*/ 24 h 42"/>
                <a:gd name="T22" fmla="*/ 58 w 58"/>
                <a:gd name="T23" fmla="*/ 5 h 42"/>
                <a:gd name="T24" fmla="*/ 52 w 58"/>
                <a:gd name="T25" fmla="*/ 0 h 42"/>
                <a:gd name="T26" fmla="*/ 31 w 58"/>
                <a:gd name="T27" fmla="*/ 24 h 42"/>
                <a:gd name="T28" fmla="*/ 31 w 58"/>
                <a:gd name="T29" fmla="*/ 30 h 42"/>
                <a:gd name="T30" fmla="*/ 29 w 58"/>
                <a:gd name="T31" fmla="*/ 32 h 42"/>
                <a:gd name="T32" fmla="*/ 27 w 58"/>
                <a:gd name="T33" fmla="*/ 30 h 42"/>
                <a:gd name="T34" fmla="*/ 27 w 58"/>
                <a:gd name="T35" fmla="*/ 24 h 42"/>
                <a:gd name="T36" fmla="*/ 24 w 58"/>
                <a:gd name="T37" fmla="*/ 21 h 42"/>
                <a:gd name="T38" fmla="*/ 29 w 58"/>
                <a:gd name="T39" fmla="*/ 16 h 42"/>
                <a:gd name="T40" fmla="*/ 33 w 58"/>
                <a:gd name="T41" fmla="*/ 21 h 42"/>
                <a:gd name="T42" fmla="*/ 31 w 58"/>
                <a:gd name="T43" fmla="*/ 2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" h="42">
                  <a:moveTo>
                    <a:pt x="52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5"/>
                    <a:pt x="0" y="23"/>
                    <a:pt x="0" y="28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7"/>
                    <a:pt x="5" y="42"/>
                    <a:pt x="11" y="42"/>
                  </a:cubicBezTo>
                  <a:cubicBezTo>
                    <a:pt x="47" y="42"/>
                    <a:pt x="47" y="42"/>
                    <a:pt x="47" y="42"/>
                  </a:cubicBezTo>
                  <a:cubicBezTo>
                    <a:pt x="53" y="42"/>
                    <a:pt x="58" y="37"/>
                    <a:pt x="58" y="32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58" y="2"/>
                    <a:pt x="56" y="0"/>
                    <a:pt x="52" y="0"/>
                  </a:cubicBezTo>
                  <a:close/>
                  <a:moveTo>
                    <a:pt x="31" y="24"/>
                  </a:moveTo>
                  <a:cubicBezTo>
                    <a:pt x="31" y="30"/>
                    <a:pt x="31" y="30"/>
                    <a:pt x="31" y="30"/>
                  </a:cubicBezTo>
                  <a:cubicBezTo>
                    <a:pt x="31" y="31"/>
                    <a:pt x="30" y="32"/>
                    <a:pt x="29" y="32"/>
                  </a:cubicBezTo>
                  <a:cubicBezTo>
                    <a:pt x="28" y="32"/>
                    <a:pt x="27" y="31"/>
                    <a:pt x="27" y="30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6" y="24"/>
                    <a:pt x="24" y="22"/>
                    <a:pt x="24" y="21"/>
                  </a:cubicBezTo>
                  <a:cubicBezTo>
                    <a:pt x="24" y="18"/>
                    <a:pt x="26" y="16"/>
                    <a:pt x="29" y="16"/>
                  </a:cubicBezTo>
                  <a:cubicBezTo>
                    <a:pt x="31" y="16"/>
                    <a:pt x="33" y="18"/>
                    <a:pt x="33" y="21"/>
                  </a:cubicBezTo>
                  <a:cubicBezTo>
                    <a:pt x="33" y="22"/>
                    <a:pt x="32" y="24"/>
                    <a:pt x="31" y="24"/>
                  </a:cubicBezTo>
                  <a:close/>
                </a:path>
              </a:pathLst>
            </a:custGeom>
            <a:solidFill>
              <a:srgbClr val="003763"/>
            </a:solidFill>
            <a:ln>
              <a:solidFill>
                <a:srgbClr val="003763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77" name="Freeform 337">
              <a:extLst>
                <a:ext uri="{FF2B5EF4-FFF2-40B4-BE49-F238E27FC236}">
                  <a16:creationId xmlns:a16="http://schemas.microsoft.com/office/drawing/2014/main" id="{F8A39260-E62A-45C8-8552-7A87D04244F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2951" y="4116388"/>
              <a:ext cx="82550" cy="74613"/>
            </a:xfrm>
            <a:custGeom>
              <a:avLst/>
              <a:gdLst>
                <a:gd name="T0" fmla="*/ 7 w 29"/>
                <a:gd name="T1" fmla="*/ 0 h 26"/>
                <a:gd name="T2" fmla="*/ 29 w 29"/>
                <a:gd name="T3" fmla="*/ 18 h 26"/>
                <a:gd name="T4" fmla="*/ 29 w 29"/>
                <a:gd name="T5" fmla="*/ 26 h 26"/>
                <a:gd name="T6" fmla="*/ 22 w 29"/>
                <a:gd name="T7" fmla="*/ 26 h 26"/>
                <a:gd name="T8" fmla="*/ 22 w 29"/>
                <a:gd name="T9" fmla="*/ 26 h 26"/>
                <a:gd name="T10" fmla="*/ 22 w 29"/>
                <a:gd name="T11" fmla="*/ 20 h 26"/>
                <a:gd name="T12" fmla="*/ 8 w 29"/>
                <a:gd name="T13" fmla="*/ 7 h 26"/>
                <a:gd name="T14" fmla="*/ 7 w 29"/>
                <a:gd name="T15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26">
                  <a:moveTo>
                    <a:pt x="7" y="0"/>
                  </a:moveTo>
                  <a:cubicBezTo>
                    <a:pt x="19" y="0"/>
                    <a:pt x="29" y="6"/>
                    <a:pt x="29" y="18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12"/>
                    <a:pt x="15" y="7"/>
                    <a:pt x="8" y="7"/>
                  </a:cubicBezTo>
                  <a:cubicBezTo>
                    <a:pt x="1" y="7"/>
                    <a:pt x="0" y="0"/>
                    <a:pt x="7" y="0"/>
                  </a:cubicBezTo>
                  <a:close/>
                </a:path>
              </a:pathLst>
            </a:custGeom>
            <a:solidFill>
              <a:srgbClr val="003763"/>
            </a:solidFill>
            <a:ln>
              <a:solidFill>
                <a:srgbClr val="003763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78" name="Freeform 408">
              <a:extLst>
                <a:ext uri="{FF2B5EF4-FFF2-40B4-BE49-F238E27FC236}">
                  <a16:creationId xmlns:a16="http://schemas.microsoft.com/office/drawing/2014/main" id="{618B7FCF-4912-4F3E-BFDF-91352849B6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438" y="3975100"/>
              <a:ext cx="298450" cy="355600"/>
            </a:xfrm>
            <a:custGeom>
              <a:avLst/>
              <a:gdLst>
                <a:gd name="T0" fmla="*/ 6 w 105"/>
                <a:gd name="T1" fmla="*/ 32 h 125"/>
                <a:gd name="T2" fmla="*/ 6 w 105"/>
                <a:gd name="T3" fmla="*/ 15 h 125"/>
                <a:gd name="T4" fmla="*/ 15 w 105"/>
                <a:gd name="T5" fmla="*/ 6 h 125"/>
                <a:gd name="T6" fmla="*/ 56 w 105"/>
                <a:gd name="T7" fmla="*/ 6 h 125"/>
                <a:gd name="T8" fmla="*/ 56 w 105"/>
                <a:gd name="T9" fmla="*/ 34 h 125"/>
                <a:gd name="T10" fmla="*/ 71 w 105"/>
                <a:gd name="T11" fmla="*/ 49 h 125"/>
                <a:gd name="T12" fmla="*/ 99 w 105"/>
                <a:gd name="T13" fmla="*/ 49 h 125"/>
                <a:gd name="T14" fmla="*/ 99 w 105"/>
                <a:gd name="T15" fmla="*/ 93 h 125"/>
                <a:gd name="T16" fmla="*/ 99 w 105"/>
                <a:gd name="T17" fmla="*/ 94 h 125"/>
                <a:gd name="T18" fmla="*/ 99 w 105"/>
                <a:gd name="T19" fmla="*/ 109 h 125"/>
                <a:gd name="T20" fmla="*/ 90 w 105"/>
                <a:gd name="T21" fmla="*/ 119 h 125"/>
                <a:gd name="T22" fmla="*/ 64 w 105"/>
                <a:gd name="T23" fmla="*/ 119 h 125"/>
                <a:gd name="T24" fmla="*/ 64 w 105"/>
                <a:gd name="T25" fmla="*/ 125 h 125"/>
                <a:gd name="T26" fmla="*/ 90 w 105"/>
                <a:gd name="T27" fmla="*/ 125 h 125"/>
                <a:gd name="T28" fmla="*/ 105 w 105"/>
                <a:gd name="T29" fmla="*/ 109 h 125"/>
                <a:gd name="T30" fmla="*/ 105 w 105"/>
                <a:gd name="T31" fmla="*/ 94 h 125"/>
                <a:gd name="T32" fmla="*/ 105 w 105"/>
                <a:gd name="T33" fmla="*/ 94 h 125"/>
                <a:gd name="T34" fmla="*/ 105 w 105"/>
                <a:gd name="T35" fmla="*/ 45 h 125"/>
                <a:gd name="T36" fmla="*/ 60 w 105"/>
                <a:gd name="T37" fmla="*/ 0 h 125"/>
                <a:gd name="T38" fmla="*/ 15 w 105"/>
                <a:gd name="T39" fmla="*/ 0 h 125"/>
                <a:gd name="T40" fmla="*/ 0 w 105"/>
                <a:gd name="T41" fmla="*/ 15 h 125"/>
                <a:gd name="T42" fmla="*/ 0 w 105"/>
                <a:gd name="T43" fmla="*/ 32 h 125"/>
                <a:gd name="T44" fmla="*/ 6 w 105"/>
                <a:gd name="T45" fmla="*/ 32 h 125"/>
                <a:gd name="T46" fmla="*/ 63 w 105"/>
                <a:gd name="T47" fmla="*/ 13 h 125"/>
                <a:gd name="T48" fmla="*/ 91 w 105"/>
                <a:gd name="T49" fmla="*/ 41 h 125"/>
                <a:gd name="T50" fmla="*/ 71 w 105"/>
                <a:gd name="T51" fmla="*/ 41 h 125"/>
                <a:gd name="T52" fmla="*/ 63 w 105"/>
                <a:gd name="T53" fmla="*/ 33 h 125"/>
                <a:gd name="T54" fmla="*/ 63 w 105"/>
                <a:gd name="T55" fmla="*/ 13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5" h="125">
                  <a:moveTo>
                    <a:pt x="6" y="32"/>
                  </a:moveTo>
                  <a:cubicBezTo>
                    <a:pt x="6" y="30"/>
                    <a:pt x="6" y="15"/>
                    <a:pt x="6" y="15"/>
                  </a:cubicBezTo>
                  <a:cubicBezTo>
                    <a:pt x="6" y="10"/>
                    <a:pt x="10" y="6"/>
                    <a:pt x="15" y="6"/>
                  </a:cubicBezTo>
                  <a:cubicBezTo>
                    <a:pt x="56" y="6"/>
                    <a:pt x="56" y="6"/>
                    <a:pt x="56" y="6"/>
                  </a:cubicBezTo>
                  <a:cubicBezTo>
                    <a:pt x="56" y="34"/>
                    <a:pt x="56" y="34"/>
                    <a:pt x="56" y="34"/>
                  </a:cubicBezTo>
                  <a:cubicBezTo>
                    <a:pt x="56" y="42"/>
                    <a:pt x="62" y="49"/>
                    <a:pt x="71" y="49"/>
                  </a:cubicBezTo>
                  <a:cubicBezTo>
                    <a:pt x="99" y="49"/>
                    <a:pt x="99" y="49"/>
                    <a:pt x="99" y="49"/>
                  </a:cubicBezTo>
                  <a:cubicBezTo>
                    <a:pt x="99" y="93"/>
                    <a:pt x="99" y="93"/>
                    <a:pt x="99" y="93"/>
                  </a:cubicBezTo>
                  <a:cubicBezTo>
                    <a:pt x="99" y="94"/>
                    <a:pt x="99" y="94"/>
                    <a:pt x="99" y="94"/>
                  </a:cubicBezTo>
                  <a:cubicBezTo>
                    <a:pt x="99" y="109"/>
                    <a:pt x="99" y="109"/>
                    <a:pt x="99" y="109"/>
                  </a:cubicBezTo>
                  <a:cubicBezTo>
                    <a:pt x="99" y="114"/>
                    <a:pt x="95" y="119"/>
                    <a:pt x="90" y="119"/>
                  </a:cubicBezTo>
                  <a:cubicBezTo>
                    <a:pt x="90" y="119"/>
                    <a:pt x="67" y="119"/>
                    <a:pt x="64" y="119"/>
                  </a:cubicBezTo>
                  <a:cubicBezTo>
                    <a:pt x="61" y="119"/>
                    <a:pt x="61" y="125"/>
                    <a:pt x="64" y="125"/>
                  </a:cubicBezTo>
                  <a:cubicBezTo>
                    <a:pt x="67" y="125"/>
                    <a:pt x="90" y="125"/>
                    <a:pt x="90" y="125"/>
                  </a:cubicBezTo>
                  <a:cubicBezTo>
                    <a:pt x="98" y="125"/>
                    <a:pt x="105" y="118"/>
                    <a:pt x="105" y="109"/>
                  </a:cubicBezTo>
                  <a:cubicBezTo>
                    <a:pt x="105" y="94"/>
                    <a:pt x="105" y="94"/>
                    <a:pt x="105" y="94"/>
                  </a:cubicBezTo>
                  <a:cubicBezTo>
                    <a:pt x="105" y="94"/>
                    <a:pt x="105" y="94"/>
                    <a:pt x="105" y="94"/>
                  </a:cubicBezTo>
                  <a:cubicBezTo>
                    <a:pt x="105" y="45"/>
                    <a:pt x="105" y="45"/>
                    <a:pt x="105" y="45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30"/>
                    <a:pt x="0" y="32"/>
                  </a:cubicBezTo>
                  <a:cubicBezTo>
                    <a:pt x="0" y="34"/>
                    <a:pt x="6" y="35"/>
                    <a:pt x="6" y="32"/>
                  </a:cubicBezTo>
                  <a:close/>
                  <a:moveTo>
                    <a:pt x="63" y="13"/>
                  </a:moveTo>
                  <a:cubicBezTo>
                    <a:pt x="91" y="41"/>
                    <a:pt x="91" y="41"/>
                    <a:pt x="91" y="41"/>
                  </a:cubicBezTo>
                  <a:cubicBezTo>
                    <a:pt x="71" y="41"/>
                    <a:pt x="71" y="41"/>
                    <a:pt x="71" y="41"/>
                  </a:cubicBezTo>
                  <a:cubicBezTo>
                    <a:pt x="67" y="41"/>
                    <a:pt x="63" y="37"/>
                    <a:pt x="63" y="33"/>
                  </a:cubicBezTo>
                  <a:lnTo>
                    <a:pt x="63" y="13"/>
                  </a:lnTo>
                  <a:close/>
                </a:path>
              </a:pathLst>
            </a:custGeom>
            <a:solidFill>
              <a:srgbClr val="003763"/>
            </a:solidFill>
            <a:ln>
              <a:solidFill>
                <a:srgbClr val="003763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C8B673EB-AF02-48DA-953B-D7D42FFDAB05}"/>
              </a:ext>
            </a:extLst>
          </p:cNvPr>
          <p:cNvGrpSpPr/>
          <p:nvPr/>
        </p:nvGrpSpPr>
        <p:grpSpPr>
          <a:xfrm>
            <a:off x="2452610" y="4363862"/>
            <a:ext cx="643936" cy="574299"/>
            <a:chOff x="2352456" y="5071111"/>
            <a:chExt cx="1189037" cy="1060451"/>
          </a:xfrm>
        </p:grpSpPr>
        <p:sp>
          <p:nvSpPr>
            <p:cNvPr id="180" name="Oval 84">
              <a:extLst>
                <a:ext uri="{FF2B5EF4-FFF2-40B4-BE49-F238E27FC236}">
                  <a16:creationId xmlns:a16="http://schemas.microsoft.com/office/drawing/2014/main" id="{53041DE1-83A4-44C3-B3CE-BCCCA39E36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47706" y="5231449"/>
              <a:ext cx="163512" cy="165100"/>
            </a:xfrm>
            <a:prstGeom prst="ellipse">
              <a:avLst/>
            </a:prstGeom>
            <a:solidFill>
              <a:srgbClr val="0037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81" name="Freeform 85">
              <a:extLst>
                <a:ext uri="{FF2B5EF4-FFF2-40B4-BE49-F238E27FC236}">
                  <a16:creationId xmlns:a16="http://schemas.microsoft.com/office/drawing/2014/main" id="{CA92600C-D330-4779-95F7-1AD1D917F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2456" y="5344161"/>
              <a:ext cx="558800" cy="787400"/>
            </a:xfrm>
            <a:custGeom>
              <a:avLst/>
              <a:gdLst>
                <a:gd name="T0" fmla="*/ 146 w 149"/>
                <a:gd name="T1" fmla="*/ 5 h 210"/>
                <a:gd name="T2" fmla="*/ 133 w 149"/>
                <a:gd name="T3" fmla="*/ 3 h 210"/>
                <a:gd name="T4" fmla="*/ 103 w 149"/>
                <a:gd name="T5" fmla="*/ 26 h 210"/>
                <a:gd name="T6" fmla="*/ 76 w 149"/>
                <a:gd name="T7" fmla="*/ 20 h 210"/>
                <a:gd name="T8" fmla="*/ 69 w 149"/>
                <a:gd name="T9" fmla="*/ 19 h 210"/>
                <a:gd name="T10" fmla="*/ 69 w 149"/>
                <a:gd name="T11" fmla="*/ 19 h 210"/>
                <a:gd name="T12" fmla="*/ 69 w 149"/>
                <a:gd name="T13" fmla="*/ 19 h 210"/>
                <a:gd name="T14" fmla="*/ 66 w 149"/>
                <a:gd name="T15" fmla="*/ 19 h 210"/>
                <a:gd name="T16" fmla="*/ 66 w 149"/>
                <a:gd name="T17" fmla="*/ 19 h 210"/>
                <a:gd name="T18" fmla="*/ 65 w 149"/>
                <a:gd name="T19" fmla="*/ 19 h 210"/>
                <a:gd name="T20" fmla="*/ 61 w 149"/>
                <a:gd name="T21" fmla="*/ 19 h 210"/>
                <a:gd name="T22" fmla="*/ 52 w 149"/>
                <a:gd name="T23" fmla="*/ 19 h 210"/>
                <a:gd name="T24" fmla="*/ 50 w 149"/>
                <a:gd name="T25" fmla="*/ 26 h 210"/>
                <a:gd name="T26" fmla="*/ 53 w 149"/>
                <a:gd name="T27" fmla="*/ 57 h 210"/>
                <a:gd name="T28" fmla="*/ 48 w 149"/>
                <a:gd name="T29" fmla="*/ 68 h 210"/>
                <a:gd name="T30" fmla="*/ 41 w 149"/>
                <a:gd name="T31" fmla="*/ 57 h 210"/>
                <a:gd name="T32" fmla="*/ 44 w 149"/>
                <a:gd name="T33" fmla="*/ 26 h 210"/>
                <a:gd name="T34" fmla="*/ 41 w 149"/>
                <a:gd name="T35" fmla="*/ 19 h 210"/>
                <a:gd name="T36" fmla="*/ 32 w 149"/>
                <a:gd name="T37" fmla="*/ 19 h 210"/>
                <a:gd name="T38" fmla="*/ 28 w 149"/>
                <a:gd name="T39" fmla="*/ 19 h 210"/>
                <a:gd name="T40" fmla="*/ 28 w 149"/>
                <a:gd name="T41" fmla="*/ 19 h 210"/>
                <a:gd name="T42" fmla="*/ 28 w 149"/>
                <a:gd name="T43" fmla="*/ 19 h 210"/>
                <a:gd name="T44" fmla="*/ 0 w 149"/>
                <a:gd name="T45" fmla="*/ 47 h 210"/>
                <a:gd name="T46" fmla="*/ 0 w 149"/>
                <a:gd name="T47" fmla="*/ 49 h 210"/>
                <a:gd name="T48" fmla="*/ 0 w 149"/>
                <a:gd name="T49" fmla="*/ 51 h 210"/>
                <a:gd name="T50" fmla="*/ 0 w 149"/>
                <a:gd name="T51" fmla="*/ 111 h 210"/>
                <a:gd name="T52" fmla="*/ 9 w 149"/>
                <a:gd name="T53" fmla="*/ 120 h 210"/>
                <a:gd name="T54" fmla="*/ 18 w 149"/>
                <a:gd name="T55" fmla="*/ 111 h 210"/>
                <a:gd name="T56" fmla="*/ 18 w 149"/>
                <a:gd name="T57" fmla="*/ 53 h 210"/>
                <a:gd name="T58" fmla="*/ 21 w 149"/>
                <a:gd name="T59" fmla="*/ 53 h 210"/>
                <a:gd name="T60" fmla="*/ 21 w 149"/>
                <a:gd name="T61" fmla="*/ 110 h 210"/>
                <a:gd name="T62" fmla="*/ 21 w 149"/>
                <a:gd name="T63" fmla="*/ 110 h 210"/>
                <a:gd name="T64" fmla="*/ 21 w 149"/>
                <a:gd name="T65" fmla="*/ 198 h 210"/>
                <a:gd name="T66" fmla="*/ 33 w 149"/>
                <a:gd name="T67" fmla="*/ 210 h 210"/>
                <a:gd name="T68" fmla="*/ 33 w 149"/>
                <a:gd name="T69" fmla="*/ 210 h 210"/>
                <a:gd name="T70" fmla="*/ 33 w 149"/>
                <a:gd name="T71" fmla="*/ 210 h 210"/>
                <a:gd name="T72" fmla="*/ 45 w 149"/>
                <a:gd name="T73" fmla="*/ 198 h 210"/>
                <a:gd name="T74" fmla="*/ 45 w 149"/>
                <a:gd name="T75" fmla="*/ 122 h 210"/>
                <a:gd name="T76" fmla="*/ 49 w 149"/>
                <a:gd name="T77" fmla="*/ 122 h 210"/>
                <a:gd name="T78" fmla="*/ 49 w 149"/>
                <a:gd name="T79" fmla="*/ 198 h 210"/>
                <a:gd name="T80" fmla="*/ 61 w 149"/>
                <a:gd name="T81" fmla="*/ 210 h 210"/>
                <a:gd name="T82" fmla="*/ 61 w 149"/>
                <a:gd name="T83" fmla="*/ 210 h 210"/>
                <a:gd name="T84" fmla="*/ 61 w 149"/>
                <a:gd name="T85" fmla="*/ 210 h 210"/>
                <a:gd name="T86" fmla="*/ 73 w 149"/>
                <a:gd name="T87" fmla="*/ 198 h 210"/>
                <a:gd name="T88" fmla="*/ 73 w 149"/>
                <a:gd name="T89" fmla="*/ 110 h 210"/>
                <a:gd name="T90" fmla="*/ 73 w 149"/>
                <a:gd name="T91" fmla="*/ 105 h 210"/>
                <a:gd name="T92" fmla="*/ 73 w 149"/>
                <a:gd name="T93" fmla="*/ 53 h 210"/>
                <a:gd name="T94" fmla="*/ 82 w 149"/>
                <a:gd name="T95" fmla="*/ 40 h 210"/>
                <a:gd name="T96" fmla="*/ 109 w 149"/>
                <a:gd name="T97" fmla="*/ 45 h 210"/>
                <a:gd name="T98" fmla="*/ 122 w 149"/>
                <a:gd name="T99" fmla="*/ 35 h 210"/>
                <a:gd name="T100" fmla="*/ 144 w 149"/>
                <a:gd name="T101" fmla="*/ 18 h 210"/>
                <a:gd name="T102" fmla="*/ 146 w 149"/>
                <a:gd name="T103" fmla="*/ 5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9" h="210">
                  <a:moveTo>
                    <a:pt x="146" y="5"/>
                  </a:moveTo>
                  <a:cubicBezTo>
                    <a:pt x="143" y="1"/>
                    <a:pt x="137" y="0"/>
                    <a:pt x="133" y="3"/>
                  </a:cubicBezTo>
                  <a:cubicBezTo>
                    <a:pt x="103" y="26"/>
                    <a:pt x="103" y="26"/>
                    <a:pt x="103" y="26"/>
                  </a:cubicBezTo>
                  <a:cubicBezTo>
                    <a:pt x="76" y="20"/>
                    <a:pt x="76" y="20"/>
                    <a:pt x="76" y="20"/>
                  </a:cubicBezTo>
                  <a:cubicBezTo>
                    <a:pt x="74" y="20"/>
                    <a:pt x="72" y="19"/>
                    <a:pt x="69" y="19"/>
                  </a:cubicBezTo>
                  <a:cubicBezTo>
                    <a:pt x="69" y="19"/>
                    <a:pt x="69" y="19"/>
                    <a:pt x="69" y="19"/>
                  </a:cubicBezTo>
                  <a:cubicBezTo>
                    <a:pt x="69" y="19"/>
                    <a:pt x="69" y="19"/>
                    <a:pt x="69" y="19"/>
                  </a:cubicBezTo>
                  <a:cubicBezTo>
                    <a:pt x="68" y="19"/>
                    <a:pt x="67" y="19"/>
                    <a:pt x="66" y="19"/>
                  </a:cubicBezTo>
                  <a:cubicBezTo>
                    <a:pt x="66" y="19"/>
                    <a:pt x="66" y="19"/>
                    <a:pt x="66" y="19"/>
                  </a:cubicBezTo>
                  <a:cubicBezTo>
                    <a:pt x="65" y="19"/>
                    <a:pt x="65" y="19"/>
                    <a:pt x="65" y="19"/>
                  </a:cubicBezTo>
                  <a:cubicBezTo>
                    <a:pt x="61" y="19"/>
                    <a:pt x="61" y="19"/>
                    <a:pt x="61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25"/>
                    <a:pt x="51" y="26"/>
                    <a:pt x="50" y="26"/>
                  </a:cubicBezTo>
                  <a:cubicBezTo>
                    <a:pt x="50" y="26"/>
                    <a:pt x="55" y="50"/>
                    <a:pt x="53" y="57"/>
                  </a:cubicBezTo>
                  <a:cubicBezTo>
                    <a:pt x="53" y="60"/>
                    <a:pt x="51" y="68"/>
                    <a:pt x="48" y="68"/>
                  </a:cubicBezTo>
                  <a:cubicBezTo>
                    <a:pt x="45" y="68"/>
                    <a:pt x="42" y="60"/>
                    <a:pt x="41" y="57"/>
                  </a:cubicBezTo>
                  <a:cubicBezTo>
                    <a:pt x="40" y="50"/>
                    <a:pt x="44" y="26"/>
                    <a:pt x="44" y="26"/>
                  </a:cubicBezTo>
                  <a:cubicBezTo>
                    <a:pt x="41" y="24"/>
                    <a:pt x="41" y="20"/>
                    <a:pt x="41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13" y="19"/>
                    <a:pt x="0" y="31"/>
                    <a:pt x="0" y="47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0"/>
                    <a:pt x="0" y="50"/>
                    <a:pt x="0" y="51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4" y="120"/>
                    <a:pt x="18" y="116"/>
                    <a:pt x="18" y="111"/>
                  </a:cubicBezTo>
                  <a:cubicBezTo>
                    <a:pt x="18" y="53"/>
                    <a:pt x="18" y="53"/>
                    <a:pt x="18" y="53"/>
                  </a:cubicBezTo>
                  <a:cubicBezTo>
                    <a:pt x="21" y="53"/>
                    <a:pt x="21" y="53"/>
                    <a:pt x="21" y="53"/>
                  </a:cubicBezTo>
                  <a:cubicBezTo>
                    <a:pt x="21" y="110"/>
                    <a:pt x="21" y="110"/>
                    <a:pt x="21" y="110"/>
                  </a:cubicBezTo>
                  <a:cubicBezTo>
                    <a:pt x="21" y="110"/>
                    <a:pt x="21" y="110"/>
                    <a:pt x="21" y="110"/>
                  </a:cubicBezTo>
                  <a:cubicBezTo>
                    <a:pt x="21" y="198"/>
                    <a:pt x="21" y="198"/>
                    <a:pt x="21" y="198"/>
                  </a:cubicBezTo>
                  <a:cubicBezTo>
                    <a:pt x="21" y="205"/>
                    <a:pt x="26" y="210"/>
                    <a:pt x="33" y="210"/>
                  </a:cubicBezTo>
                  <a:cubicBezTo>
                    <a:pt x="33" y="210"/>
                    <a:pt x="33" y="210"/>
                    <a:pt x="33" y="210"/>
                  </a:cubicBezTo>
                  <a:cubicBezTo>
                    <a:pt x="33" y="210"/>
                    <a:pt x="33" y="210"/>
                    <a:pt x="33" y="210"/>
                  </a:cubicBezTo>
                  <a:cubicBezTo>
                    <a:pt x="39" y="210"/>
                    <a:pt x="45" y="205"/>
                    <a:pt x="45" y="198"/>
                  </a:cubicBezTo>
                  <a:cubicBezTo>
                    <a:pt x="45" y="122"/>
                    <a:pt x="45" y="122"/>
                    <a:pt x="45" y="122"/>
                  </a:cubicBezTo>
                  <a:cubicBezTo>
                    <a:pt x="49" y="122"/>
                    <a:pt x="49" y="122"/>
                    <a:pt x="49" y="122"/>
                  </a:cubicBezTo>
                  <a:cubicBezTo>
                    <a:pt x="49" y="198"/>
                    <a:pt x="49" y="198"/>
                    <a:pt x="49" y="198"/>
                  </a:cubicBezTo>
                  <a:cubicBezTo>
                    <a:pt x="49" y="205"/>
                    <a:pt x="54" y="210"/>
                    <a:pt x="61" y="210"/>
                  </a:cubicBezTo>
                  <a:cubicBezTo>
                    <a:pt x="61" y="210"/>
                    <a:pt x="61" y="210"/>
                    <a:pt x="61" y="210"/>
                  </a:cubicBezTo>
                  <a:cubicBezTo>
                    <a:pt x="61" y="210"/>
                    <a:pt x="61" y="210"/>
                    <a:pt x="61" y="210"/>
                  </a:cubicBezTo>
                  <a:cubicBezTo>
                    <a:pt x="68" y="210"/>
                    <a:pt x="73" y="205"/>
                    <a:pt x="73" y="198"/>
                  </a:cubicBezTo>
                  <a:cubicBezTo>
                    <a:pt x="73" y="110"/>
                    <a:pt x="73" y="110"/>
                    <a:pt x="73" y="110"/>
                  </a:cubicBezTo>
                  <a:cubicBezTo>
                    <a:pt x="73" y="105"/>
                    <a:pt x="73" y="105"/>
                    <a:pt x="73" y="105"/>
                  </a:cubicBezTo>
                  <a:cubicBezTo>
                    <a:pt x="73" y="53"/>
                    <a:pt x="73" y="53"/>
                    <a:pt x="73" y="53"/>
                  </a:cubicBezTo>
                  <a:cubicBezTo>
                    <a:pt x="73" y="53"/>
                    <a:pt x="72" y="38"/>
                    <a:pt x="82" y="40"/>
                  </a:cubicBezTo>
                  <a:cubicBezTo>
                    <a:pt x="89" y="41"/>
                    <a:pt x="109" y="45"/>
                    <a:pt x="109" y="45"/>
                  </a:cubicBezTo>
                  <a:cubicBezTo>
                    <a:pt x="122" y="35"/>
                    <a:pt x="122" y="35"/>
                    <a:pt x="122" y="35"/>
                  </a:cubicBezTo>
                  <a:cubicBezTo>
                    <a:pt x="144" y="18"/>
                    <a:pt x="144" y="18"/>
                    <a:pt x="144" y="18"/>
                  </a:cubicBezTo>
                  <a:cubicBezTo>
                    <a:pt x="148" y="15"/>
                    <a:pt x="149" y="10"/>
                    <a:pt x="146" y="5"/>
                  </a:cubicBezTo>
                  <a:close/>
                </a:path>
              </a:pathLst>
            </a:custGeom>
            <a:solidFill>
              <a:srgbClr val="0037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82" name="Freeform 93">
              <a:extLst>
                <a:ext uri="{FF2B5EF4-FFF2-40B4-BE49-F238E27FC236}">
                  <a16:creationId xmlns:a16="http://schemas.microsoft.com/office/drawing/2014/main" id="{9220AA02-063F-4803-9599-3DFA13F1E1E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9356" y="5726749"/>
              <a:ext cx="393700" cy="404813"/>
            </a:xfrm>
            <a:custGeom>
              <a:avLst/>
              <a:gdLst>
                <a:gd name="T0" fmla="*/ 105 w 105"/>
                <a:gd name="T1" fmla="*/ 99 h 108"/>
                <a:gd name="T2" fmla="*/ 61 w 105"/>
                <a:gd name="T3" fmla="*/ 55 h 108"/>
                <a:gd name="T4" fmla="*/ 60 w 105"/>
                <a:gd name="T5" fmla="*/ 52 h 108"/>
                <a:gd name="T6" fmla="*/ 60 w 105"/>
                <a:gd name="T7" fmla="*/ 0 h 108"/>
                <a:gd name="T8" fmla="*/ 46 w 105"/>
                <a:gd name="T9" fmla="*/ 0 h 108"/>
                <a:gd name="T10" fmla="*/ 46 w 105"/>
                <a:gd name="T11" fmla="*/ 52 h 108"/>
                <a:gd name="T12" fmla="*/ 44 w 105"/>
                <a:gd name="T13" fmla="*/ 55 h 108"/>
                <a:gd name="T14" fmla="*/ 0 w 105"/>
                <a:gd name="T15" fmla="*/ 99 h 108"/>
                <a:gd name="T16" fmla="*/ 12 w 105"/>
                <a:gd name="T17" fmla="*/ 99 h 108"/>
                <a:gd name="T18" fmla="*/ 43 w 105"/>
                <a:gd name="T19" fmla="*/ 68 h 108"/>
                <a:gd name="T20" fmla="*/ 45 w 105"/>
                <a:gd name="T21" fmla="*/ 67 h 108"/>
                <a:gd name="T22" fmla="*/ 47 w 105"/>
                <a:gd name="T23" fmla="*/ 67 h 108"/>
                <a:gd name="T24" fmla="*/ 49 w 105"/>
                <a:gd name="T25" fmla="*/ 70 h 108"/>
                <a:gd name="T26" fmla="*/ 49 w 105"/>
                <a:gd name="T27" fmla="*/ 108 h 108"/>
                <a:gd name="T28" fmla="*/ 57 w 105"/>
                <a:gd name="T29" fmla="*/ 108 h 108"/>
                <a:gd name="T30" fmla="*/ 57 w 105"/>
                <a:gd name="T31" fmla="*/ 70 h 108"/>
                <a:gd name="T32" fmla="*/ 59 w 105"/>
                <a:gd name="T33" fmla="*/ 67 h 108"/>
                <a:gd name="T34" fmla="*/ 60 w 105"/>
                <a:gd name="T35" fmla="*/ 67 h 108"/>
                <a:gd name="T36" fmla="*/ 62 w 105"/>
                <a:gd name="T37" fmla="*/ 68 h 108"/>
                <a:gd name="T38" fmla="*/ 94 w 105"/>
                <a:gd name="T39" fmla="*/ 99 h 108"/>
                <a:gd name="T40" fmla="*/ 105 w 105"/>
                <a:gd name="T41" fmla="*/ 99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5" h="108">
                  <a:moveTo>
                    <a:pt x="105" y="99"/>
                  </a:moveTo>
                  <a:cubicBezTo>
                    <a:pt x="61" y="55"/>
                    <a:pt x="61" y="55"/>
                    <a:pt x="61" y="55"/>
                  </a:cubicBezTo>
                  <a:cubicBezTo>
                    <a:pt x="60" y="54"/>
                    <a:pt x="60" y="53"/>
                    <a:pt x="60" y="52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52"/>
                    <a:pt x="46" y="52"/>
                    <a:pt x="46" y="52"/>
                  </a:cubicBezTo>
                  <a:cubicBezTo>
                    <a:pt x="46" y="53"/>
                    <a:pt x="45" y="54"/>
                    <a:pt x="44" y="55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12" y="99"/>
                    <a:pt x="12" y="99"/>
                    <a:pt x="12" y="99"/>
                  </a:cubicBezTo>
                  <a:cubicBezTo>
                    <a:pt x="43" y="68"/>
                    <a:pt x="43" y="68"/>
                    <a:pt x="43" y="68"/>
                  </a:cubicBezTo>
                  <a:cubicBezTo>
                    <a:pt x="44" y="67"/>
                    <a:pt x="44" y="67"/>
                    <a:pt x="45" y="67"/>
                  </a:cubicBezTo>
                  <a:cubicBezTo>
                    <a:pt x="46" y="67"/>
                    <a:pt x="46" y="67"/>
                    <a:pt x="47" y="67"/>
                  </a:cubicBezTo>
                  <a:cubicBezTo>
                    <a:pt x="48" y="67"/>
                    <a:pt x="49" y="69"/>
                    <a:pt x="49" y="70"/>
                  </a:cubicBezTo>
                  <a:cubicBezTo>
                    <a:pt x="49" y="108"/>
                    <a:pt x="49" y="108"/>
                    <a:pt x="49" y="108"/>
                  </a:cubicBezTo>
                  <a:cubicBezTo>
                    <a:pt x="57" y="108"/>
                    <a:pt x="57" y="108"/>
                    <a:pt x="57" y="108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7" y="69"/>
                    <a:pt x="58" y="67"/>
                    <a:pt x="59" y="67"/>
                  </a:cubicBezTo>
                  <a:cubicBezTo>
                    <a:pt x="59" y="67"/>
                    <a:pt x="60" y="67"/>
                    <a:pt x="60" y="67"/>
                  </a:cubicBezTo>
                  <a:cubicBezTo>
                    <a:pt x="61" y="67"/>
                    <a:pt x="62" y="67"/>
                    <a:pt x="62" y="68"/>
                  </a:cubicBezTo>
                  <a:cubicBezTo>
                    <a:pt x="94" y="99"/>
                    <a:pt x="94" y="99"/>
                    <a:pt x="94" y="99"/>
                  </a:cubicBezTo>
                  <a:lnTo>
                    <a:pt x="105" y="99"/>
                  </a:lnTo>
                  <a:close/>
                </a:path>
              </a:pathLst>
            </a:custGeom>
            <a:solidFill>
              <a:srgbClr val="0037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83" name="Freeform 94">
              <a:extLst>
                <a:ext uri="{FF2B5EF4-FFF2-40B4-BE49-F238E27FC236}">
                  <a16:creationId xmlns:a16="http://schemas.microsoft.com/office/drawing/2014/main" id="{36705240-B50D-4E12-ACEC-901A4941D2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0918" y="5071111"/>
              <a:ext cx="790575" cy="96838"/>
            </a:xfrm>
            <a:custGeom>
              <a:avLst/>
              <a:gdLst>
                <a:gd name="T0" fmla="*/ 199 w 211"/>
                <a:gd name="T1" fmla="*/ 0 h 26"/>
                <a:gd name="T2" fmla="*/ 12 w 211"/>
                <a:gd name="T3" fmla="*/ 0 h 26"/>
                <a:gd name="T4" fmla="*/ 0 w 211"/>
                <a:gd name="T5" fmla="*/ 12 h 26"/>
                <a:gd name="T6" fmla="*/ 0 w 211"/>
                <a:gd name="T7" fmla="*/ 26 h 26"/>
                <a:gd name="T8" fmla="*/ 211 w 211"/>
                <a:gd name="T9" fmla="*/ 26 h 26"/>
                <a:gd name="T10" fmla="*/ 211 w 211"/>
                <a:gd name="T11" fmla="*/ 12 h 26"/>
                <a:gd name="T12" fmla="*/ 199 w 211"/>
                <a:gd name="T13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1" h="26">
                  <a:moveTo>
                    <a:pt x="199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6" y="0"/>
                    <a:pt x="0" y="5"/>
                    <a:pt x="0" y="12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211" y="26"/>
                    <a:pt x="211" y="26"/>
                    <a:pt x="211" y="26"/>
                  </a:cubicBezTo>
                  <a:cubicBezTo>
                    <a:pt x="211" y="12"/>
                    <a:pt x="211" y="12"/>
                    <a:pt x="211" y="12"/>
                  </a:cubicBezTo>
                  <a:cubicBezTo>
                    <a:pt x="211" y="5"/>
                    <a:pt x="206" y="0"/>
                    <a:pt x="199" y="0"/>
                  </a:cubicBezTo>
                  <a:close/>
                </a:path>
              </a:pathLst>
            </a:custGeom>
            <a:solidFill>
              <a:srgbClr val="0037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84" name="Freeform 95">
              <a:extLst>
                <a:ext uri="{FF2B5EF4-FFF2-40B4-BE49-F238E27FC236}">
                  <a16:creationId xmlns:a16="http://schemas.microsoft.com/office/drawing/2014/main" id="{BDC1ADE5-87A1-45A4-B992-738ED1DA672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9968" y="5101274"/>
              <a:ext cx="752475" cy="576263"/>
            </a:xfrm>
            <a:custGeom>
              <a:avLst/>
              <a:gdLst>
                <a:gd name="T0" fmla="*/ 184 w 201"/>
                <a:gd name="T1" fmla="*/ 0 h 154"/>
                <a:gd name="T2" fmla="*/ 18 w 201"/>
                <a:gd name="T3" fmla="*/ 0 h 154"/>
                <a:gd name="T4" fmla="*/ 0 w 201"/>
                <a:gd name="T5" fmla="*/ 18 h 154"/>
                <a:gd name="T6" fmla="*/ 0 w 201"/>
                <a:gd name="T7" fmla="*/ 78 h 154"/>
                <a:gd name="T8" fmla="*/ 11 w 201"/>
                <a:gd name="T9" fmla="*/ 70 h 154"/>
                <a:gd name="T10" fmla="*/ 11 w 201"/>
                <a:gd name="T11" fmla="*/ 18 h 154"/>
                <a:gd name="T12" fmla="*/ 18 w 201"/>
                <a:gd name="T13" fmla="*/ 11 h 154"/>
                <a:gd name="T14" fmla="*/ 184 w 201"/>
                <a:gd name="T15" fmla="*/ 11 h 154"/>
                <a:gd name="T16" fmla="*/ 190 w 201"/>
                <a:gd name="T17" fmla="*/ 18 h 154"/>
                <a:gd name="T18" fmla="*/ 190 w 201"/>
                <a:gd name="T19" fmla="*/ 136 h 154"/>
                <a:gd name="T20" fmla="*/ 184 w 201"/>
                <a:gd name="T21" fmla="*/ 143 h 154"/>
                <a:gd name="T22" fmla="*/ 18 w 201"/>
                <a:gd name="T23" fmla="*/ 143 h 154"/>
                <a:gd name="T24" fmla="*/ 11 w 201"/>
                <a:gd name="T25" fmla="*/ 136 h 154"/>
                <a:gd name="T26" fmla="*/ 11 w 201"/>
                <a:gd name="T27" fmla="*/ 107 h 154"/>
                <a:gd name="T28" fmla="*/ 0 w 201"/>
                <a:gd name="T29" fmla="*/ 115 h 154"/>
                <a:gd name="T30" fmla="*/ 0 w 201"/>
                <a:gd name="T31" fmla="*/ 136 h 154"/>
                <a:gd name="T32" fmla="*/ 18 w 201"/>
                <a:gd name="T33" fmla="*/ 154 h 154"/>
                <a:gd name="T34" fmla="*/ 184 w 201"/>
                <a:gd name="T35" fmla="*/ 154 h 154"/>
                <a:gd name="T36" fmla="*/ 201 w 201"/>
                <a:gd name="T37" fmla="*/ 136 h 154"/>
                <a:gd name="T38" fmla="*/ 201 w 201"/>
                <a:gd name="T39" fmla="*/ 18 h 154"/>
                <a:gd name="T40" fmla="*/ 184 w 201"/>
                <a:gd name="T41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01" h="154">
                  <a:moveTo>
                    <a:pt x="184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11" y="70"/>
                    <a:pt x="11" y="70"/>
                    <a:pt x="11" y="70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1" y="14"/>
                    <a:pt x="14" y="11"/>
                    <a:pt x="18" y="11"/>
                  </a:cubicBezTo>
                  <a:cubicBezTo>
                    <a:pt x="184" y="11"/>
                    <a:pt x="184" y="11"/>
                    <a:pt x="184" y="11"/>
                  </a:cubicBezTo>
                  <a:cubicBezTo>
                    <a:pt x="187" y="11"/>
                    <a:pt x="190" y="14"/>
                    <a:pt x="190" y="18"/>
                  </a:cubicBezTo>
                  <a:cubicBezTo>
                    <a:pt x="190" y="136"/>
                    <a:pt x="190" y="136"/>
                    <a:pt x="190" y="136"/>
                  </a:cubicBezTo>
                  <a:cubicBezTo>
                    <a:pt x="190" y="140"/>
                    <a:pt x="187" y="143"/>
                    <a:pt x="184" y="143"/>
                  </a:cubicBezTo>
                  <a:cubicBezTo>
                    <a:pt x="18" y="143"/>
                    <a:pt x="18" y="143"/>
                    <a:pt x="18" y="143"/>
                  </a:cubicBezTo>
                  <a:cubicBezTo>
                    <a:pt x="14" y="143"/>
                    <a:pt x="11" y="140"/>
                    <a:pt x="11" y="136"/>
                  </a:cubicBezTo>
                  <a:cubicBezTo>
                    <a:pt x="11" y="107"/>
                    <a:pt x="11" y="107"/>
                    <a:pt x="11" y="107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46"/>
                    <a:pt x="8" y="154"/>
                    <a:pt x="18" y="154"/>
                  </a:cubicBezTo>
                  <a:cubicBezTo>
                    <a:pt x="184" y="154"/>
                    <a:pt x="184" y="154"/>
                    <a:pt x="184" y="154"/>
                  </a:cubicBezTo>
                  <a:cubicBezTo>
                    <a:pt x="193" y="154"/>
                    <a:pt x="201" y="146"/>
                    <a:pt x="201" y="136"/>
                  </a:cubicBezTo>
                  <a:cubicBezTo>
                    <a:pt x="201" y="18"/>
                    <a:pt x="201" y="18"/>
                    <a:pt x="201" y="18"/>
                  </a:cubicBezTo>
                  <a:cubicBezTo>
                    <a:pt x="201" y="8"/>
                    <a:pt x="193" y="0"/>
                    <a:pt x="184" y="0"/>
                  </a:cubicBezTo>
                  <a:close/>
                </a:path>
              </a:pathLst>
            </a:custGeom>
            <a:solidFill>
              <a:srgbClr val="0037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85" name="Arrow: Down 184">
              <a:extLst>
                <a:ext uri="{FF2B5EF4-FFF2-40B4-BE49-F238E27FC236}">
                  <a16:creationId xmlns:a16="http://schemas.microsoft.com/office/drawing/2014/main" id="{FA939900-5D46-41FD-8E39-9158D8E0BDBA}"/>
                </a:ext>
              </a:extLst>
            </p:cNvPr>
            <p:cNvSpPr/>
            <p:nvPr/>
          </p:nvSpPr>
          <p:spPr>
            <a:xfrm rot="18153502">
              <a:off x="3030807" y="5274027"/>
              <a:ext cx="235421" cy="286494"/>
            </a:xfrm>
            <a:prstGeom prst="downArrow">
              <a:avLst/>
            </a:prstGeom>
            <a:solidFill>
              <a:srgbClr val="00376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828C1323-8E2C-43C8-ABDC-6DB9FE7F3EFA}"/>
              </a:ext>
            </a:extLst>
          </p:cNvPr>
          <p:cNvGrpSpPr/>
          <p:nvPr/>
        </p:nvGrpSpPr>
        <p:grpSpPr>
          <a:xfrm>
            <a:off x="5503787" y="3513424"/>
            <a:ext cx="584199" cy="577263"/>
            <a:chOff x="2043113" y="4130675"/>
            <a:chExt cx="1203324" cy="1189038"/>
          </a:xfrm>
        </p:grpSpPr>
        <p:sp>
          <p:nvSpPr>
            <p:cNvPr id="187" name="Freeform 41">
              <a:extLst>
                <a:ext uri="{FF2B5EF4-FFF2-40B4-BE49-F238E27FC236}">
                  <a16:creationId xmlns:a16="http://schemas.microsoft.com/office/drawing/2014/main" id="{B220D4CF-9514-45EE-8239-1926937D22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2375" y="4765675"/>
              <a:ext cx="322262" cy="258763"/>
            </a:xfrm>
            <a:custGeom>
              <a:avLst/>
              <a:gdLst>
                <a:gd name="T0" fmla="*/ 3 w 86"/>
                <a:gd name="T1" fmla="*/ 57 h 69"/>
                <a:gd name="T2" fmla="*/ 1 w 86"/>
                <a:gd name="T3" fmla="*/ 62 h 69"/>
                <a:gd name="T4" fmla="*/ 3 w 86"/>
                <a:gd name="T5" fmla="*/ 66 h 69"/>
                <a:gd name="T6" fmla="*/ 8 w 86"/>
                <a:gd name="T7" fmla="*/ 68 h 69"/>
                <a:gd name="T8" fmla="*/ 40 w 86"/>
                <a:gd name="T9" fmla="*/ 51 h 69"/>
                <a:gd name="T10" fmla="*/ 46 w 86"/>
                <a:gd name="T11" fmla="*/ 51 h 69"/>
                <a:gd name="T12" fmla="*/ 78 w 86"/>
                <a:gd name="T13" fmla="*/ 68 h 69"/>
                <a:gd name="T14" fmla="*/ 83 w 86"/>
                <a:gd name="T15" fmla="*/ 66 h 69"/>
                <a:gd name="T16" fmla="*/ 85 w 86"/>
                <a:gd name="T17" fmla="*/ 62 h 69"/>
                <a:gd name="T18" fmla="*/ 83 w 86"/>
                <a:gd name="T19" fmla="*/ 57 h 69"/>
                <a:gd name="T20" fmla="*/ 52 w 86"/>
                <a:gd name="T21" fmla="*/ 41 h 69"/>
                <a:gd name="T22" fmla="*/ 49 w 86"/>
                <a:gd name="T23" fmla="*/ 35 h 69"/>
                <a:gd name="T24" fmla="*/ 49 w 86"/>
                <a:gd name="T25" fmla="*/ 4 h 69"/>
                <a:gd name="T26" fmla="*/ 45 w 86"/>
                <a:gd name="T27" fmla="*/ 0 h 69"/>
                <a:gd name="T28" fmla="*/ 41 w 86"/>
                <a:gd name="T29" fmla="*/ 0 h 69"/>
                <a:gd name="T30" fmla="*/ 37 w 86"/>
                <a:gd name="T31" fmla="*/ 4 h 69"/>
                <a:gd name="T32" fmla="*/ 37 w 86"/>
                <a:gd name="T33" fmla="*/ 35 h 69"/>
                <a:gd name="T34" fmla="*/ 34 w 86"/>
                <a:gd name="T35" fmla="*/ 41 h 69"/>
                <a:gd name="T36" fmla="*/ 3 w 86"/>
                <a:gd name="T37" fmla="*/ 57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" h="69">
                  <a:moveTo>
                    <a:pt x="3" y="57"/>
                  </a:moveTo>
                  <a:cubicBezTo>
                    <a:pt x="1" y="58"/>
                    <a:pt x="0" y="60"/>
                    <a:pt x="1" y="62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4" y="68"/>
                    <a:pt x="6" y="69"/>
                    <a:pt x="8" y="68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2" y="50"/>
                    <a:pt x="45" y="50"/>
                    <a:pt x="46" y="51"/>
                  </a:cubicBezTo>
                  <a:cubicBezTo>
                    <a:pt x="78" y="68"/>
                    <a:pt x="78" y="68"/>
                    <a:pt x="78" y="68"/>
                  </a:cubicBezTo>
                  <a:cubicBezTo>
                    <a:pt x="80" y="69"/>
                    <a:pt x="82" y="68"/>
                    <a:pt x="83" y="66"/>
                  </a:cubicBezTo>
                  <a:cubicBezTo>
                    <a:pt x="85" y="62"/>
                    <a:pt x="85" y="62"/>
                    <a:pt x="85" y="62"/>
                  </a:cubicBezTo>
                  <a:cubicBezTo>
                    <a:pt x="86" y="61"/>
                    <a:pt x="85" y="58"/>
                    <a:pt x="83" y="57"/>
                  </a:cubicBezTo>
                  <a:cubicBezTo>
                    <a:pt x="52" y="41"/>
                    <a:pt x="52" y="41"/>
                    <a:pt x="52" y="41"/>
                  </a:cubicBezTo>
                  <a:cubicBezTo>
                    <a:pt x="51" y="40"/>
                    <a:pt x="49" y="38"/>
                    <a:pt x="49" y="35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9" y="2"/>
                    <a:pt x="47" y="0"/>
                    <a:pt x="45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39" y="0"/>
                    <a:pt x="37" y="2"/>
                    <a:pt x="37" y="4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37" y="37"/>
                    <a:pt x="36" y="40"/>
                    <a:pt x="34" y="41"/>
                  </a:cubicBezTo>
                  <a:lnTo>
                    <a:pt x="3" y="57"/>
                  </a:lnTo>
                  <a:close/>
                </a:path>
              </a:pathLst>
            </a:custGeom>
            <a:solidFill>
              <a:srgbClr val="0037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88" name="Freeform 42">
              <a:extLst>
                <a:ext uri="{FF2B5EF4-FFF2-40B4-BE49-F238E27FC236}">
                  <a16:creationId xmlns:a16="http://schemas.microsoft.com/office/drawing/2014/main" id="{086A645F-A005-408E-AB1B-70992E8458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9038" y="4375150"/>
              <a:ext cx="404812" cy="322263"/>
            </a:xfrm>
            <a:custGeom>
              <a:avLst/>
              <a:gdLst>
                <a:gd name="T0" fmla="*/ 79 w 108"/>
                <a:gd name="T1" fmla="*/ 0 h 86"/>
                <a:gd name="T2" fmla="*/ 64 w 108"/>
                <a:gd name="T3" fmla="*/ 0 h 86"/>
                <a:gd name="T4" fmla="*/ 60 w 108"/>
                <a:gd name="T5" fmla="*/ 12 h 86"/>
                <a:gd name="T6" fmla="*/ 64 w 108"/>
                <a:gd name="T7" fmla="*/ 59 h 86"/>
                <a:gd name="T8" fmla="*/ 54 w 108"/>
                <a:gd name="T9" fmla="*/ 76 h 86"/>
                <a:gd name="T10" fmla="*/ 44 w 108"/>
                <a:gd name="T11" fmla="*/ 59 h 86"/>
                <a:gd name="T12" fmla="*/ 50 w 108"/>
                <a:gd name="T13" fmla="*/ 12 h 86"/>
                <a:gd name="T14" fmla="*/ 46 w 108"/>
                <a:gd name="T15" fmla="*/ 0 h 86"/>
                <a:gd name="T16" fmla="*/ 29 w 108"/>
                <a:gd name="T17" fmla="*/ 0 h 86"/>
                <a:gd name="T18" fmla="*/ 29 w 108"/>
                <a:gd name="T19" fmla="*/ 0 h 86"/>
                <a:gd name="T20" fmla="*/ 2 w 108"/>
                <a:gd name="T21" fmla="*/ 29 h 86"/>
                <a:gd name="T22" fmla="*/ 6 w 108"/>
                <a:gd name="T23" fmla="*/ 58 h 86"/>
                <a:gd name="T24" fmla="*/ 33 w 108"/>
                <a:gd name="T25" fmla="*/ 86 h 86"/>
                <a:gd name="T26" fmla="*/ 75 w 108"/>
                <a:gd name="T27" fmla="*/ 86 h 86"/>
                <a:gd name="T28" fmla="*/ 102 w 108"/>
                <a:gd name="T29" fmla="*/ 58 h 86"/>
                <a:gd name="T30" fmla="*/ 106 w 108"/>
                <a:gd name="T31" fmla="*/ 28 h 86"/>
                <a:gd name="T32" fmla="*/ 79 w 108"/>
                <a:gd name="T33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8" h="86">
                  <a:moveTo>
                    <a:pt x="79" y="0"/>
                  </a:moveTo>
                  <a:cubicBezTo>
                    <a:pt x="64" y="0"/>
                    <a:pt x="64" y="0"/>
                    <a:pt x="64" y="0"/>
                  </a:cubicBezTo>
                  <a:cubicBezTo>
                    <a:pt x="64" y="2"/>
                    <a:pt x="64" y="9"/>
                    <a:pt x="60" y="12"/>
                  </a:cubicBezTo>
                  <a:cubicBezTo>
                    <a:pt x="60" y="12"/>
                    <a:pt x="66" y="48"/>
                    <a:pt x="64" y="59"/>
                  </a:cubicBezTo>
                  <a:cubicBezTo>
                    <a:pt x="63" y="64"/>
                    <a:pt x="58" y="76"/>
                    <a:pt x="54" y="76"/>
                  </a:cubicBezTo>
                  <a:cubicBezTo>
                    <a:pt x="49" y="76"/>
                    <a:pt x="45" y="64"/>
                    <a:pt x="44" y="59"/>
                  </a:cubicBezTo>
                  <a:cubicBezTo>
                    <a:pt x="42" y="48"/>
                    <a:pt x="50" y="12"/>
                    <a:pt x="50" y="12"/>
                  </a:cubicBezTo>
                  <a:cubicBezTo>
                    <a:pt x="49" y="12"/>
                    <a:pt x="46" y="9"/>
                    <a:pt x="46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14" y="0"/>
                    <a:pt x="0" y="13"/>
                    <a:pt x="2" y="29"/>
                  </a:cubicBezTo>
                  <a:cubicBezTo>
                    <a:pt x="6" y="58"/>
                    <a:pt x="6" y="58"/>
                    <a:pt x="6" y="58"/>
                  </a:cubicBezTo>
                  <a:cubicBezTo>
                    <a:pt x="9" y="74"/>
                    <a:pt x="18" y="86"/>
                    <a:pt x="33" y="86"/>
                  </a:cubicBezTo>
                  <a:cubicBezTo>
                    <a:pt x="75" y="86"/>
                    <a:pt x="75" y="86"/>
                    <a:pt x="75" y="86"/>
                  </a:cubicBezTo>
                  <a:cubicBezTo>
                    <a:pt x="90" y="86"/>
                    <a:pt x="99" y="73"/>
                    <a:pt x="102" y="58"/>
                  </a:cubicBezTo>
                  <a:cubicBezTo>
                    <a:pt x="106" y="28"/>
                    <a:pt x="106" y="28"/>
                    <a:pt x="106" y="28"/>
                  </a:cubicBezTo>
                  <a:cubicBezTo>
                    <a:pt x="108" y="13"/>
                    <a:pt x="94" y="0"/>
                    <a:pt x="79" y="0"/>
                  </a:cubicBezTo>
                  <a:close/>
                </a:path>
              </a:pathLst>
            </a:custGeom>
            <a:solidFill>
              <a:srgbClr val="0037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89" name="Oval 43">
              <a:extLst>
                <a:ext uri="{FF2B5EF4-FFF2-40B4-BE49-F238E27FC236}">
                  <a16:creationId xmlns:a16="http://schemas.microsoft.com/office/drawing/2014/main" id="{61BA30FB-2638-4BD6-8031-C19370348C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5875" y="4130675"/>
              <a:ext cx="211137" cy="211138"/>
            </a:xfrm>
            <a:prstGeom prst="ellipse">
              <a:avLst/>
            </a:prstGeom>
            <a:solidFill>
              <a:srgbClr val="0037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90" name="Freeform 44">
              <a:extLst>
                <a:ext uri="{FF2B5EF4-FFF2-40B4-BE49-F238E27FC236}">
                  <a16:creationId xmlns:a16="http://schemas.microsoft.com/office/drawing/2014/main" id="{6F3A41AA-2AEB-4754-AC3E-67F54BC6950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4800" y="4997450"/>
              <a:ext cx="401637" cy="322263"/>
            </a:xfrm>
            <a:custGeom>
              <a:avLst/>
              <a:gdLst>
                <a:gd name="T0" fmla="*/ 78 w 107"/>
                <a:gd name="T1" fmla="*/ 0 h 86"/>
                <a:gd name="T2" fmla="*/ 63 w 107"/>
                <a:gd name="T3" fmla="*/ 0 h 86"/>
                <a:gd name="T4" fmla="*/ 59 w 107"/>
                <a:gd name="T5" fmla="*/ 12 h 86"/>
                <a:gd name="T6" fmla="*/ 63 w 107"/>
                <a:gd name="T7" fmla="*/ 59 h 86"/>
                <a:gd name="T8" fmla="*/ 53 w 107"/>
                <a:gd name="T9" fmla="*/ 76 h 86"/>
                <a:gd name="T10" fmla="*/ 44 w 107"/>
                <a:gd name="T11" fmla="*/ 59 h 86"/>
                <a:gd name="T12" fmla="*/ 49 w 107"/>
                <a:gd name="T13" fmla="*/ 12 h 86"/>
                <a:gd name="T14" fmla="*/ 45 w 107"/>
                <a:gd name="T15" fmla="*/ 0 h 86"/>
                <a:gd name="T16" fmla="*/ 29 w 107"/>
                <a:gd name="T17" fmla="*/ 0 h 86"/>
                <a:gd name="T18" fmla="*/ 29 w 107"/>
                <a:gd name="T19" fmla="*/ 0 h 86"/>
                <a:gd name="T20" fmla="*/ 2 w 107"/>
                <a:gd name="T21" fmla="*/ 29 h 86"/>
                <a:gd name="T22" fmla="*/ 5 w 107"/>
                <a:gd name="T23" fmla="*/ 58 h 86"/>
                <a:gd name="T24" fmla="*/ 33 w 107"/>
                <a:gd name="T25" fmla="*/ 86 h 86"/>
                <a:gd name="T26" fmla="*/ 74 w 107"/>
                <a:gd name="T27" fmla="*/ 86 h 86"/>
                <a:gd name="T28" fmla="*/ 101 w 107"/>
                <a:gd name="T29" fmla="*/ 57 h 86"/>
                <a:gd name="T30" fmla="*/ 105 w 107"/>
                <a:gd name="T31" fmla="*/ 28 h 86"/>
                <a:gd name="T32" fmla="*/ 78 w 107"/>
                <a:gd name="T33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7" h="86">
                  <a:moveTo>
                    <a:pt x="78" y="0"/>
                  </a:moveTo>
                  <a:cubicBezTo>
                    <a:pt x="63" y="0"/>
                    <a:pt x="63" y="0"/>
                    <a:pt x="63" y="0"/>
                  </a:cubicBezTo>
                  <a:cubicBezTo>
                    <a:pt x="63" y="2"/>
                    <a:pt x="63" y="9"/>
                    <a:pt x="59" y="12"/>
                  </a:cubicBezTo>
                  <a:cubicBezTo>
                    <a:pt x="59" y="12"/>
                    <a:pt x="66" y="48"/>
                    <a:pt x="63" y="59"/>
                  </a:cubicBezTo>
                  <a:cubicBezTo>
                    <a:pt x="62" y="64"/>
                    <a:pt x="58" y="76"/>
                    <a:pt x="53" y="76"/>
                  </a:cubicBezTo>
                  <a:cubicBezTo>
                    <a:pt x="48" y="76"/>
                    <a:pt x="44" y="64"/>
                    <a:pt x="44" y="59"/>
                  </a:cubicBezTo>
                  <a:cubicBezTo>
                    <a:pt x="41" y="47"/>
                    <a:pt x="49" y="12"/>
                    <a:pt x="49" y="12"/>
                  </a:cubicBezTo>
                  <a:cubicBezTo>
                    <a:pt x="48" y="11"/>
                    <a:pt x="46" y="9"/>
                    <a:pt x="45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14" y="0"/>
                    <a:pt x="0" y="13"/>
                    <a:pt x="2" y="29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8" y="73"/>
                    <a:pt x="18" y="86"/>
                    <a:pt x="33" y="86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89" y="86"/>
                    <a:pt x="98" y="73"/>
                    <a:pt x="101" y="57"/>
                  </a:cubicBezTo>
                  <a:cubicBezTo>
                    <a:pt x="105" y="28"/>
                    <a:pt x="105" y="28"/>
                    <a:pt x="105" y="28"/>
                  </a:cubicBezTo>
                  <a:cubicBezTo>
                    <a:pt x="107" y="13"/>
                    <a:pt x="93" y="0"/>
                    <a:pt x="78" y="0"/>
                  </a:cubicBezTo>
                  <a:close/>
                </a:path>
              </a:pathLst>
            </a:custGeom>
            <a:solidFill>
              <a:srgbClr val="0037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91" name="Oval 45">
              <a:extLst>
                <a:ext uri="{FF2B5EF4-FFF2-40B4-BE49-F238E27FC236}">
                  <a16:creationId xmlns:a16="http://schemas.microsoft.com/office/drawing/2014/main" id="{94EA21C9-7866-4648-ABD7-9456E76203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43225" y="4749800"/>
              <a:ext cx="206375" cy="214313"/>
            </a:xfrm>
            <a:prstGeom prst="ellipse">
              <a:avLst/>
            </a:prstGeom>
            <a:solidFill>
              <a:srgbClr val="0037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92" name="Freeform 46">
              <a:extLst>
                <a:ext uri="{FF2B5EF4-FFF2-40B4-BE49-F238E27FC236}">
                  <a16:creationId xmlns:a16="http://schemas.microsoft.com/office/drawing/2014/main" id="{C80CDF41-2B36-46E2-98DF-6C8014B00C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3113" y="4997450"/>
              <a:ext cx="400050" cy="322263"/>
            </a:xfrm>
            <a:custGeom>
              <a:avLst/>
              <a:gdLst>
                <a:gd name="T0" fmla="*/ 78 w 107"/>
                <a:gd name="T1" fmla="*/ 0 h 86"/>
                <a:gd name="T2" fmla="*/ 64 w 107"/>
                <a:gd name="T3" fmla="*/ 0 h 86"/>
                <a:gd name="T4" fmla="*/ 60 w 107"/>
                <a:gd name="T5" fmla="*/ 12 h 86"/>
                <a:gd name="T6" fmla="*/ 64 w 107"/>
                <a:gd name="T7" fmla="*/ 59 h 86"/>
                <a:gd name="T8" fmla="*/ 54 w 107"/>
                <a:gd name="T9" fmla="*/ 76 h 86"/>
                <a:gd name="T10" fmla="*/ 44 w 107"/>
                <a:gd name="T11" fmla="*/ 59 h 86"/>
                <a:gd name="T12" fmla="*/ 50 w 107"/>
                <a:gd name="T13" fmla="*/ 12 h 86"/>
                <a:gd name="T14" fmla="*/ 46 w 107"/>
                <a:gd name="T15" fmla="*/ 0 h 86"/>
                <a:gd name="T16" fmla="*/ 29 w 107"/>
                <a:gd name="T17" fmla="*/ 0 h 86"/>
                <a:gd name="T18" fmla="*/ 29 w 107"/>
                <a:gd name="T19" fmla="*/ 0 h 86"/>
                <a:gd name="T20" fmla="*/ 2 w 107"/>
                <a:gd name="T21" fmla="*/ 29 h 86"/>
                <a:gd name="T22" fmla="*/ 6 w 107"/>
                <a:gd name="T23" fmla="*/ 58 h 86"/>
                <a:gd name="T24" fmla="*/ 33 w 107"/>
                <a:gd name="T25" fmla="*/ 86 h 86"/>
                <a:gd name="T26" fmla="*/ 75 w 107"/>
                <a:gd name="T27" fmla="*/ 86 h 86"/>
                <a:gd name="T28" fmla="*/ 102 w 107"/>
                <a:gd name="T29" fmla="*/ 57 h 86"/>
                <a:gd name="T30" fmla="*/ 106 w 107"/>
                <a:gd name="T31" fmla="*/ 28 h 86"/>
                <a:gd name="T32" fmla="*/ 78 w 107"/>
                <a:gd name="T33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7" h="86">
                  <a:moveTo>
                    <a:pt x="78" y="0"/>
                  </a:moveTo>
                  <a:cubicBezTo>
                    <a:pt x="64" y="0"/>
                    <a:pt x="64" y="0"/>
                    <a:pt x="64" y="0"/>
                  </a:cubicBezTo>
                  <a:cubicBezTo>
                    <a:pt x="64" y="2"/>
                    <a:pt x="64" y="9"/>
                    <a:pt x="60" y="12"/>
                  </a:cubicBezTo>
                  <a:cubicBezTo>
                    <a:pt x="60" y="12"/>
                    <a:pt x="66" y="48"/>
                    <a:pt x="64" y="59"/>
                  </a:cubicBezTo>
                  <a:cubicBezTo>
                    <a:pt x="62" y="64"/>
                    <a:pt x="58" y="76"/>
                    <a:pt x="54" y="76"/>
                  </a:cubicBezTo>
                  <a:cubicBezTo>
                    <a:pt x="49" y="76"/>
                    <a:pt x="45" y="64"/>
                    <a:pt x="44" y="59"/>
                  </a:cubicBezTo>
                  <a:cubicBezTo>
                    <a:pt x="42" y="47"/>
                    <a:pt x="50" y="12"/>
                    <a:pt x="50" y="12"/>
                  </a:cubicBezTo>
                  <a:cubicBezTo>
                    <a:pt x="48" y="11"/>
                    <a:pt x="46" y="9"/>
                    <a:pt x="46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14" y="0"/>
                    <a:pt x="0" y="13"/>
                    <a:pt x="2" y="29"/>
                  </a:cubicBezTo>
                  <a:cubicBezTo>
                    <a:pt x="6" y="58"/>
                    <a:pt x="6" y="58"/>
                    <a:pt x="6" y="58"/>
                  </a:cubicBezTo>
                  <a:cubicBezTo>
                    <a:pt x="9" y="73"/>
                    <a:pt x="18" y="86"/>
                    <a:pt x="33" y="86"/>
                  </a:cubicBezTo>
                  <a:cubicBezTo>
                    <a:pt x="75" y="86"/>
                    <a:pt x="75" y="86"/>
                    <a:pt x="75" y="86"/>
                  </a:cubicBezTo>
                  <a:cubicBezTo>
                    <a:pt x="90" y="86"/>
                    <a:pt x="99" y="73"/>
                    <a:pt x="102" y="57"/>
                  </a:cubicBezTo>
                  <a:cubicBezTo>
                    <a:pt x="106" y="28"/>
                    <a:pt x="106" y="28"/>
                    <a:pt x="106" y="28"/>
                  </a:cubicBezTo>
                  <a:cubicBezTo>
                    <a:pt x="107" y="13"/>
                    <a:pt x="93" y="0"/>
                    <a:pt x="78" y="0"/>
                  </a:cubicBezTo>
                  <a:close/>
                </a:path>
              </a:pathLst>
            </a:custGeom>
            <a:solidFill>
              <a:srgbClr val="0037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93" name="Oval 47">
              <a:extLst>
                <a:ext uri="{FF2B5EF4-FFF2-40B4-BE49-F238E27FC236}">
                  <a16:creationId xmlns:a16="http://schemas.microsoft.com/office/drawing/2014/main" id="{9F1EAAA7-C7FA-4144-BC36-3AABD1D39F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39950" y="4749800"/>
              <a:ext cx="206375" cy="214313"/>
            </a:xfrm>
            <a:prstGeom prst="ellipse">
              <a:avLst/>
            </a:prstGeom>
            <a:solidFill>
              <a:srgbClr val="0037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819A3CF7-8323-4646-93D0-671E36A0CF9A}"/>
              </a:ext>
            </a:extLst>
          </p:cNvPr>
          <p:cNvGrpSpPr/>
          <p:nvPr/>
        </p:nvGrpSpPr>
        <p:grpSpPr>
          <a:xfrm>
            <a:off x="8625219" y="4363862"/>
            <a:ext cx="590541" cy="537424"/>
            <a:chOff x="3860800" y="466725"/>
            <a:chExt cx="1200150" cy="1092201"/>
          </a:xfrm>
        </p:grpSpPr>
        <p:sp>
          <p:nvSpPr>
            <p:cNvPr id="195" name="Freeform 77">
              <a:extLst>
                <a:ext uri="{FF2B5EF4-FFF2-40B4-BE49-F238E27FC236}">
                  <a16:creationId xmlns:a16="http://schemas.microsoft.com/office/drawing/2014/main" id="{3BC11BB3-9425-47F2-9A2D-CB2B3E6DCA1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0738" y="815975"/>
              <a:ext cx="430212" cy="476250"/>
            </a:xfrm>
            <a:custGeom>
              <a:avLst/>
              <a:gdLst>
                <a:gd name="T0" fmla="*/ 16 w 115"/>
                <a:gd name="T1" fmla="*/ 71 h 127"/>
                <a:gd name="T2" fmla="*/ 5 w 115"/>
                <a:gd name="T3" fmla="*/ 73 h 127"/>
                <a:gd name="T4" fmla="*/ 5 w 115"/>
                <a:gd name="T5" fmla="*/ 88 h 127"/>
                <a:gd name="T6" fmla="*/ 5 w 115"/>
                <a:gd name="T7" fmla="*/ 88 h 127"/>
                <a:gd name="T8" fmla="*/ 5 w 115"/>
                <a:gd name="T9" fmla="*/ 88 h 127"/>
                <a:gd name="T10" fmla="*/ 0 w 115"/>
                <a:gd name="T11" fmla="*/ 122 h 127"/>
                <a:gd name="T12" fmla="*/ 16 w 115"/>
                <a:gd name="T13" fmla="*/ 127 h 127"/>
                <a:gd name="T14" fmla="*/ 44 w 115"/>
                <a:gd name="T15" fmla="*/ 99 h 127"/>
                <a:gd name="T16" fmla="*/ 40 w 115"/>
                <a:gd name="T17" fmla="*/ 84 h 127"/>
                <a:gd name="T18" fmla="*/ 72 w 115"/>
                <a:gd name="T19" fmla="*/ 52 h 127"/>
                <a:gd name="T20" fmla="*/ 89 w 115"/>
                <a:gd name="T21" fmla="*/ 52 h 127"/>
                <a:gd name="T22" fmla="*/ 115 w 115"/>
                <a:gd name="T23" fmla="*/ 26 h 127"/>
                <a:gd name="T24" fmla="*/ 90 w 115"/>
                <a:gd name="T25" fmla="*/ 25 h 127"/>
                <a:gd name="T26" fmla="*/ 89 w 115"/>
                <a:gd name="T27" fmla="*/ 0 h 127"/>
                <a:gd name="T28" fmla="*/ 63 w 115"/>
                <a:gd name="T29" fmla="*/ 26 h 127"/>
                <a:gd name="T30" fmla="*/ 63 w 115"/>
                <a:gd name="T31" fmla="*/ 43 h 127"/>
                <a:gd name="T32" fmla="*/ 31 w 115"/>
                <a:gd name="T33" fmla="*/ 75 h 127"/>
                <a:gd name="T34" fmla="*/ 16 w 115"/>
                <a:gd name="T35" fmla="*/ 71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5" h="127">
                  <a:moveTo>
                    <a:pt x="16" y="71"/>
                  </a:moveTo>
                  <a:cubicBezTo>
                    <a:pt x="12" y="71"/>
                    <a:pt x="8" y="72"/>
                    <a:pt x="5" y="73"/>
                  </a:cubicBezTo>
                  <a:cubicBezTo>
                    <a:pt x="5" y="78"/>
                    <a:pt x="5" y="83"/>
                    <a:pt x="5" y="88"/>
                  </a:cubicBezTo>
                  <a:cubicBezTo>
                    <a:pt x="5" y="88"/>
                    <a:pt x="5" y="88"/>
                    <a:pt x="5" y="88"/>
                  </a:cubicBezTo>
                  <a:cubicBezTo>
                    <a:pt x="5" y="88"/>
                    <a:pt x="5" y="88"/>
                    <a:pt x="5" y="88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5" y="125"/>
                    <a:pt x="10" y="127"/>
                    <a:pt x="16" y="127"/>
                  </a:cubicBezTo>
                  <a:cubicBezTo>
                    <a:pt x="32" y="127"/>
                    <a:pt x="44" y="114"/>
                    <a:pt x="44" y="99"/>
                  </a:cubicBezTo>
                  <a:cubicBezTo>
                    <a:pt x="44" y="93"/>
                    <a:pt x="43" y="88"/>
                    <a:pt x="40" y="84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89" y="52"/>
                    <a:pt x="89" y="52"/>
                    <a:pt x="89" y="52"/>
                  </a:cubicBezTo>
                  <a:cubicBezTo>
                    <a:pt x="115" y="26"/>
                    <a:pt x="115" y="26"/>
                    <a:pt x="115" y="26"/>
                  </a:cubicBezTo>
                  <a:cubicBezTo>
                    <a:pt x="90" y="25"/>
                    <a:pt x="90" y="25"/>
                    <a:pt x="90" y="25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63" y="26"/>
                    <a:pt x="63" y="26"/>
                    <a:pt x="63" y="26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27" y="72"/>
                    <a:pt x="22" y="71"/>
                    <a:pt x="16" y="71"/>
                  </a:cubicBezTo>
                  <a:close/>
                </a:path>
              </a:pathLst>
            </a:custGeom>
            <a:solidFill>
              <a:srgbClr val="0037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96" name="Freeform 78">
              <a:extLst>
                <a:ext uri="{FF2B5EF4-FFF2-40B4-BE49-F238E27FC236}">
                  <a16:creationId xmlns:a16="http://schemas.microsoft.com/office/drawing/2014/main" id="{73D227D5-C39E-467A-B496-7B4B9EDD12D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9925" y="815975"/>
              <a:ext cx="379412" cy="101600"/>
            </a:xfrm>
            <a:custGeom>
              <a:avLst/>
              <a:gdLst>
                <a:gd name="T0" fmla="*/ 90 w 101"/>
                <a:gd name="T1" fmla="*/ 26 h 27"/>
                <a:gd name="T2" fmla="*/ 94 w 101"/>
                <a:gd name="T3" fmla="*/ 17 h 27"/>
                <a:gd name="T4" fmla="*/ 101 w 101"/>
                <a:gd name="T5" fmla="*/ 10 h 27"/>
                <a:gd name="T6" fmla="*/ 56 w 101"/>
                <a:gd name="T7" fmla="*/ 0 h 27"/>
                <a:gd name="T8" fmla="*/ 0 w 101"/>
                <a:gd name="T9" fmla="*/ 17 h 27"/>
                <a:gd name="T10" fmla="*/ 19 w 101"/>
                <a:gd name="T11" fmla="*/ 27 h 27"/>
                <a:gd name="T12" fmla="*/ 56 w 101"/>
                <a:gd name="T13" fmla="*/ 18 h 27"/>
                <a:gd name="T14" fmla="*/ 90 w 101"/>
                <a:gd name="T15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" h="27">
                  <a:moveTo>
                    <a:pt x="90" y="26"/>
                  </a:moveTo>
                  <a:cubicBezTo>
                    <a:pt x="90" y="23"/>
                    <a:pt x="92" y="19"/>
                    <a:pt x="94" y="17"/>
                  </a:cubicBezTo>
                  <a:cubicBezTo>
                    <a:pt x="101" y="10"/>
                    <a:pt x="101" y="10"/>
                    <a:pt x="101" y="10"/>
                  </a:cubicBezTo>
                  <a:cubicBezTo>
                    <a:pt x="88" y="3"/>
                    <a:pt x="72" y="0"/>
                    <a:pt x="56" y="0"/>
                  </a:cubicBezTo>
                  <a:cubicBezTo>
                    <a:pt x="36" y="0"/>
                    <a:pt x="16" y="6"/>
                    <a:pt x="0" y="17"/>
                  </a:cubicBezTo>
                  <a:cubicBezTo>
                    <a:pt x="7" y="19"/>
                    <a:pt x="13" y="23"/>
                    <a:pt x="19" y="27"/>
                  </a:cubicBezTo>
                  <a:cubicBezTo>
                    <a:pt x="30" y="22"/>
                    <a:pt x="43" y="18"/>
                    <a:pt x="56" y="18"/>
                  </a:cubicBezTo>
                  <a:cubicBezTo>
                    <a:pt x="69" y="18"/>
                    <a:pt x="80" y="21"/>
                    <a:pt x="90" y="26"/>
                  </a:cubicBezTo>
                  <a:close/>
                </a:path>
              </a:pathLst>
            </a:custGeom>
            <a:solidFill>
              <a:srgbClr val="0037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97" name="Freeform 79">
              <a:extLst>
                <a:ext uri="{FF2B5EF4-FFF2-40B4-BE49-F238E27FC236}">
                  <a16:creationId xmlns:a16="http://schemas.microsoft.com/office/drawing/2014/main" id="{1517825D-033F-4980-82B8-22C1F61C64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1363" y="1019175"/>
              <a:ext cx="509587" cy="539750"/>
            </a:xfrm>
            <a:custGeom>
              <a:avLst/>
              <a:gdLst>
                <a:gd name="T0" fmla="*/ 126 w 136"/>
                <a:gd name="T1" fmla="*/ 0 h 144"/>
                <a:gd name="T2" fmla="*/ 119 w 136"/>
                <a:gd name="T3" fmla="*/ 7 h 144"/>
                <a:gd name="T4" fmla="*/ 110 w 136"/>
                <a:gd name="T5" fmla="*/ 11 h 144"/>
                <a:gd name="T6" fmla="*/ 118 w 136"/>
                <a:gd name="T7" fmla="*/ 45 h 144"/>
                <a:gd name="T8" fmla="*/ 37 w 136"/>
                <a:gd name="T9" fmla="*/ 125 h 144"/>
                <a:gd name="T10" fmla="*/ 10 w 136"/>
                <a:gd name="T11" fmla="*/ 120 h 144"/>
                <a:gd name="T12" fmla="*/ 0 w 136"/>
                <a:gd name="T13" fmla="*/ 136 h 144"/>
                <a:gd name="T14" fmla="*/ 37 w 136"/>
                <a:gd name="T15" fmla="*/ 144 h 144"/>
                <a:gd name="T16" fmla="*/ 136 w 136"/>
                <a:gd name="T17" fmla="*/ 45 h 144"/>
                <a:gd name="T18" fmla="*/ 126 w 136"/>
                <a:gd name="T19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6" h="144">
                  <a:moveTo>
                    <a:pt x="126" y="0"/>
                  </a:moveTo>
                  <a:cubicBezTo>
                    <a:pt x="119" y="7"/>
                    <a:pt x="119" y="7"/>
                    <a:pt x="119" y="7"/>
                  </a:cubicBezTo>
                  <a:cubicBezTo>
                    <a:pt x="117" y="9"/>
                    <a:pt x="113" y="11"/>
                    <a:pt x="110" y="11"/>
                  </a:cubicBezTo>
                  <a:cubicBezTo>
                    <a:pt x="115" y="21"/>
                    <a:pt x="118" y="33"/>
                    <a:pt x="118" y="45"/>
                  </a:cubicBezTo>
                  <a:cubicBezTo>
                    <a:pt x="118" y="89"/>
                    <a:pt x="82" y="125"/>
                    <a:pt x="37" y="125"/>
                  </a:cubicBezTo>
                  <a:cubicBezTo>
                    <a:pt x="28" y="125"/>
                    <a:pt x="18" y="124"/>
                    <a:pt x="10" y="120"/>
                  </a:cubicBezTo>
                  <a:cubicBezTo>
                    <a:pt x="7" y="126"/>
                    <a:pt x="4" y="132"/>
                    <a:pt x="0" y="136"/>
                  </a:cubicBezTo>
                  <a:cubicBezTo>
                    <a:pt x="11" y="141"/>
                    <a:pt x="24" y="144"/>
                    <a:pt x="37" y="144"/>
                  </a:cubicBezTo>
                  <a:cubicBezTo>
                    <a:pt x="92" y="144"/>
                    <a:pt x="136" y="99"/>
                    <a:pt x="136" y="45"/>
                  </a:cubicBezTo>
                  <a:cubicBezTo>
                    <a:pt x="136" y="29"/>
                    <a:pt x="133" y="13"/>
                    <a:pt x="126" y="0"/>
                  </a:cubicBezTo>
                  <a:close/>
                </a:path>
              </a:pathLst>
            </a:custGeom>
            <a:solidFill>
              <a:srgbClr val="0037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98" name="Freeform 80">
              <a:extLst>
                <a:ext uri="{FF2B5EF4-FFF2-40B4-BE49-F238E27FC236}">
                  <a16:creationId xmlns:a16="http://schemas.microsoft.com/office/drawing/2014/main" id="{E9900977-6676-4B4F-A48C-767B34D91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1688" y="1077913"/>
              <a:ext cx="311150" cy="341313"/>
            </a:xfrm>
            <a:custGeom>
              <a:avLst/>
              <a:gdLst>
                <a:gd name="T0" fmla="*/ 83 w 83"/>
                <a:gd name="T1" fmla="*/ 29 h 91"/>
                <a:gd name="T2" fmla="*/ 76 w 83"/>
                <a:gd name="T3" fmla="*/ 0 h 91"/>
                <a:gd name="T4" fmla="*/ 63 w 83"/>
                <a:gd name="T5" fmla="*/ 13 h 91"/>
                <a:gd name="T6" fmla="*/ 66 w 83"/>
                <a:gd name="T7" fmla="*/ 29 h 91"/>
                <a:gd name="T8" fmla="*/ 21 w 83"/>
                <a:gd name="T9" fmla="*/ 74 h 91"/>
                <a:gd name="T10" fmla="*/ 3 w 83"/>
                <a:gd name="T11" fmla="*/ 70 h 91"/>
                <a:gd name="T12" fmla="*/ 2 w 83"/>
                <a:gd name="T13" fmla="*/ 75 h 91"/>
                <a:gd name="T14" fmla="*/ 2 w 83"/>
                <a:gd name="T15" fmla="*/ 76 h 91"/>
                <a:gd name="T16" fmla="*/ 2 w 83"/>
                <a:gd name="T17" fmla="*/ 76 h 91"/>
                <a:gd name="T18" fmla="*/ 0 w 83"/>
                <a:gd name="T19" fmla="*/ 87 h 91"/>
                <a:gd name="T20" fmla="*/ 21 w 83"/>
                <a:gd name="T21" fmla="*/ 91 h 91"/>
                <a:gd name="T22" fmla="*/ 83 w 83"/>
                <a:gd name="T23" fmla="*/ 29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91">
                  <a:moveTo>
                    <a:pt x="83" y="29"/>
                  </a:moveTo>
                  <a:cubicBezTo>
                    <a:pt x="83" y="18"/>
                    <a:pt x="81" y="9"/>
                    <a:pt x="76" y="0"/>
                  </a:cubicBezTo>
                  <a:cubicBezTo>
                    <a:pt x="63" y="13"/>
                    <a:pt x="63" y="13"/>
                    <a:pt x="63" y="13"/>
                  </a:cubicBezTo>
                  <a:cubicBezTo>
                    <a:pt x="65" y="18"/>
                    <a:pt x="66" y="23"/>
                    <a:pt x="66" y="29"/>
                  </a:cubicBezTo>
                  <a:cubicBezTo>
                    <a:pt x="66" y="53"/>
                    <a:pt x="46" y="74"/>
                    <a:pt x="21" y="74"/>
                  </a:cubicBezTo>
                  <a:cubicBezTo>
                    <a:pt x="15" y="74"/>
                    <a:pt x="9" y="72"/>
                    <a:pt x="3" y="70"/>
                  </a:cubicBezTo>
                  <a:cubicBezTo>
                    <a:pt x="2" y="75"/>
                    <a:pt x="2" y="75"/>
                    <a:pt x="2" y="75"/>
                  </a:cubicBezTo>
                  <a:cubicBezTo>
                    <a:pt x="2" y="76"/>
                    <a:pt x="2" y="76"/>
                    <a:pt x="2" y="76"/>
                  </a:cubicBezTo>
                  <a:cubicBezTo>
                    <a:pt x="2" y="76"/>
                    <a:pt x="2" y="76"/>
                    <a:pt x="2" y="76"/>
                  </a:cubicBezTo>
                  <a:cubicBezTo>
                    <a:pt x="2" y="80"/>
                    <a:pt x="1" y="83"/>
                    <a:pt x="0" y="87"/>
                  </a:cubicBezTo>
                  <a:cubicBezTo>
                    <a:pt x="7" y="89"/>
                    <a:pt x="14" y="91"/>
                    <a:pt x="21" y="91"/>
                  </a:cubicBezTo>
                  <a:cubicBezTo>
                    <a:pt x="56" y="91"/>
                    <a:pt x="83" y="63"/>
                    <a:pt x="83" y="29"/>
                  </a:cubicBezTo>
                  <a:close/>
                </a:path>
              </a:pathLst>
            </a:custGeom>
            <a:solidFill>
              <a:srgbClr val="0037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99" name="Freeform 81">
              <a:extLst>
                <a:ext uri="{FF2B5EF4-FFF2-40B4-BE49-F238E27FC236}">
                  <a16:creationId xmlns:a16="http://schemas.microsoft.com/office/drawing/2014/main" id="{D2A3CB70-8718-45DE-8468-BB7984DF1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0575" y="954088"/>
              <a:ext cx="198437" cy="76200"/>
            </a:xfrm>
            <a:custGeom>
              <a:avLst/>
              <a:gdLst>
                <a:gd name="T0" fmla="*/ 24 w 53"/>
                <a:gd name="T1" fmla="*/ 17 h 20"/>
                <a:gd name="T2" fmla="*/ 40 w 53"/>
                <a:gd name="T3" fmla="*/ 20 h 20"/>
                <a:gd name="T4" fmla="*/ 53 w 53"/>
                <a:gd name="T5" fmla="*/ 7 h 20"/>
                <a:gd name="T6" fmla="*/ 24 w 53"/>
                <a:gd name="T7" fmla="*/ 0 h 20"/>
                <a:gd name="T8" fmla="*/ 0 w 53"/>
                <a:gd name="T9" fmla="*/ 5 h 20"/>
                <a:gd name="T10" fmla="*/ 9 w 53"/>
                <a:gd name="T11" fmla="*/ 20 h 20"/>
                <a:gd name="T12" fmla="*/ 24 w 53"/>
                <a:gd name="T13" fmla="*/ 1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20">
                  <a:moveTo>
                    <a:pt x="24" y="17"/>
                  </a:moveTo>
                  <a:cubicBezTo>
                    <a:pt x="30" y="17"/>
                    <a:pt x="35" y="18"/>
                    <a:pt x="40" y="20"/>
                  </a:cubicBezTo>
                  <a:cubicBezTo>
                    <a:pt x="53" y="7"/>
                    <a:pt x="53" y="7"/>
                    <a:pt x="53" y="7"/>
                  </a:cubicBezTo>
                  <a:cubicBezTo>
                    <a:pt x="44" y="2"/>
                    <a:pt x="35" y="0"/>
                    <a:pt x="24" y="0"/>
                  </a:cubicBezTo>
                  <a:cubicBezTo>
                    <a:pt x="16" y="0"/>
                    <a:pt x="8" y="1"/>
                    <a:pt x="0" y="5"/>
                  </a:cubicBezTo>
                  <a:cubicBezTo>
                    <a:pt x="4" y="9"/>
                    <a:pt x="7" y="14"/>
                    <a:pt x="9" y="20"/>
                  </a:cubicBezTo>
                  <a:cubicBezTo>
                    <a:pt x="13" y="18"/>
                    <a:pt x="19" y="17"/>
                    <a:pt x="24" y="17"/>
                  </a:cubicBezTo>
                  <a:close/>
                </a:path>
              </a:pathLst>
            </a:custGeom>
            <a:solidFill>
              <a:srgbClr val="0037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00" name="Freeform 82">
              <a:extLst>
                <a:ext uri="{FF2B5EF4-FFF2-40B4-BE49-F238E27FC236}">
                  <a16:creationId xmlns:a16="http://schemas.microsoft.com/office/drawing/2014/main" id="{58534F9F-07C5-49CA-9575-6BBC5DDE9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0800" y="928688"/>
              <a:ext cx="735012" cy="630238"/>
            </a:xfrm>
            <a:custGeom>
              <a:avLst/>
              <a:gdLst>
                <a:gd name="T0" fmla="*/ 53 w 196"/>
                <a:gd name="T1" fmla="*/ 0 h 168"/>
                <a:gd name="T2" fmla="*/ 80 w 196"/>
                <a:gd name="T3" fmla="*/ 0 h 168"/>
                <a:gd name="T4" fmla="*/ 87 w 196"/>
                <a:gd name="T5" fmla="*/ 23 h 168"/>
                <a:gd name="T6" fmla="*/ 80 w 196"/>
                <a:gd name="T7" fmla="*/ 116 h 168"/>
                <a:gd name="T8" fmla="*/ 99 w 196"/>
                <a:gd name="T9" fmla="*/ 149 h 168"/>
                <a:gd name="T10" fmla="*/ 116 w 196"/>
                <a:gd name="T11" fmla="*/ 116 h 168"/>
                <a:gd name="T12" fmla="*/ 106 w 196"/>
                <a:gd name="T13" fmla="*/ 23 h 168"/>
                <a:gd name="T14" fmla="*/ 113 w 196"/>
                <a:gd name="T15" fmla="*/ 0 h 168"/>
                <a:gd name="T16" fmla="*/ 143 w 196"/>
                <a:gd name="T17" fmla="*/ 0 h 168"/>
                <a:gd name="T18" fmla="*/ 143 w 196"/>
                <a:gd name="T19" fmla="*/ 0 h 168"/>
                <a:gd name="T20" fmla="*/ 192 w 196"/>
                <a:gd name="T21" fmla="*/ 56 h 168"/>
                <a:gd name="T22" fmla="*/ 185 w 196"/>
                <a:gd name="T23" fmla="*/ 113 h 168"/>
                <a:gd name="T24" fmla="*/ 136 w 196"/>
                <a:gd name="T25" fmla="*/ 168 h 168"/>
                <a:gd name="T26" fmla="*/ 60 w 196"/>
                <a:gd name="T27" fmla="*/ 168 h 168"/>
                <a:gd name="T28" fmla="*/ 11 w 196"/>
                <a:gd name="T29" fmla="*/ 112 h 168"/>
                <a:gd name="T30" fmla="*/ 4 w 196"/>
                <a:gd name="T31" fmla="*/ 55 h 168"/>
                <a:gd name="T32" fmla="*/ 53 w 196"/>
                <a:gd name="T33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6" h="168">
                  <a:moveTo>
                    <a:pt x="53" y="0"/>
                  </a:moveTo>
                  <a:cubicBezTo>
                    <a:pt x="80" y="0"/>
                    <a:pt x="80" y="0"/>
                    <a:pt x="80" y="0"/>
                  </a:cubicBezTo>
                  <a:cubicBezTo>
                    <a:pt x="80" y="3"/>
                    <a:pt x="80" y="17"/>
                    <a:pt x="87" y="23"/>
                  </a:cubicBezTo>
                  <a:cubicBezTo>
                    <a:pt x="87" y="23"/>
                    <a:pt x="75" y="93"/>
                    <a:pt x="80" y="116"/>
                  </a:cubicBezTo>
                  <a:cubicBezTo>
                    <a:pt x="82" y="125"/>
                    <a:pt x="90" y="149"/>
                    <a:pt x="99" y="149"/>
                  </a:cubicBezTo>
                  <a:cubicBezTo>
                    <a:pt x="107" y="149"/>
                    <a:pt x="114" y="125"/>
                    <a:pt x="116" y="116"/>
                  </a:cubicBezTo>
                  <a:cubicBezTo>
                    <a:pt x="120" y="93"/>
                    <a:pt x="106" y="23"/>
                    <a:pt x="106" y="23"/>
                  </a:cubicBezTo>
                  <a:cubicBezTo>
                    <a:pt x="108" y="22"/>
                    <a:pt x="112" y="18"/>
                    <a:pt x="113" y="0"/>
                  </a:cubicBezTo>
                  <a:cubicBezTo>
                    <a:pt x="143" y="0"/>
                    <a:pt x="143" y="0"/>
                    <a:pt x="143" y="0"/>
                  </a:cubicBezTo>
                  <a:cubicBezTo>
                    <a:pt x="143" y="0"/>
                    <a:pt x="143" y="0"/>
                    <a:pt x="143" y="0"/>
                  </a:cubicBezTo>
                  <a:cubicBezTo>
                    <a:pt x="170" y="0"/>
                    <a:pt x="196" y="25"/>
                    <a:pt x="192" y="56"/>
                  </a:cubicBezTo>
                  <a:cubicBezTo>
                    <a:pt x="185" y="113"/>
                    <a:pt x="185" y="113"/>
                    <a:pt x="185" y="113"/>
                  </a:cubicBezTo>
                  <a:cubicBezTo>
                    <a:pt x="180" y="144"/>
                    <a:pt x="163" y="168"/>
                    <a:pt x="136" y="168"/>
                  </a:cubicBezTo>
                  <a:cubicBezTo>
                    <a:pt x="60" y="168"/>
                    <a:pt x="60" y="168"/>
                    <a:pt x="60" y="168"/>
                  </a:cubicBezTo>
                  <a:cubicBezTo>
                    <a:pt x="33" y="168"/>
                    <a:pt x="16" y="143"/>
                    <a:pt x="11" y="112"/>
                  </a:cubicBezTo>
                  <a:cubicBezTo>
                    <a:pt x="4" y="55"/>
                    <a:pt x="4" y="55"/>
                    <a:pt x="4" y="55"/>
                  </a:cubicBezTo>
                  <a:cubicBezTo>
                    <a:pt x="0" y="25"/>
                    <a:pt x="26" y="0"/>
                    <a:pt x="53" y="0"/>
                  </a:cubicBezTo>
                  <a:close/>
                </a:path>
              </a:pathLst>
            </a:custGeom>
            <a:solidFill>
              <a:srgbClr val="0037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01" name="Oval 83">
              <a:extLst>
                <a:ext uri="{FF2B5EF4-FFF2-40B4-BE49-F238E27FC236}">
                  <a16:creationId xmlns:a16="http://schemas.microsoft.com/office/drawing/2014/main" id="{8DCDBEC2-B370-4962-8308-98DE20DDAE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41775" y="466725"/>
              <a:ext cx="374650" cy="371475"/>
            </a:xfrm>
            <a:prstGeom prst="ellipse">
              <a:avLst/>
            </a:prstGeom>
            <a:solidFill>
              <a:srgbClr val="0037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</p:spTree>
    <p:extLst>
      <p:ext uri="{BB962C8B-B14F-4D97-AF65-F5344CB8AC3E}">
        <p14:creationId xmlns:p14="http://schemas.microsoft.com/office/powerpoint/2010/main" val="23871143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fr-FR" dirty="0"/>
              <a:t>01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3"/>
          </p:nvPr>
        </p:nvSpPr>
        <p:spPr>
          <a:xfrm>
            <a:off x="1538557" y="3000049"/>
            <a:ext cx="9201329" cy="1692000"/>
          </a:xfrm>
        </p:spPr>
        <p:txBody>
          <a:bodyPr/>
          <a:lstStyle/>
          <a:p>
            <a:r>
              <a:rPr lang="fr-FR" dirty="0"/>
              <a:t>La e-prescription – context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3</a:t>
            </a:fld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6619640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30</a:t>
            </a:fld>
            <a:endParaRPr lang="fr-FR" dirty="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solidFill>
            <a:srgbClr val="0C419A"/>
          </a:solidFill>
        </p:spPr>
        <p:txBody>
          <a:bodyPr>
            <a:normAutofit/>
          </a:bodyPr>
          <a:lstStyle/>
          <a:p>
            <a:r>
              <a:rPr lang="fr-FR" sz="2000" dirty="0"/>
              <a:t>les bénéfices pour les patien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CFC936C-8F16-40A3-9ADE-995A60E49AE3}"/>
              </a:ext>
            </a:extLst>
          </p:cNvPr>
          <p:cNvSpPr/>
          <p:nvPr/>
        </p:nvSpPr>
        <p:spPr>
          <a:xfrm>
            <a:off x="1406821" y="2747748"/>
            <a:ext cx="2956681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fr-FR" sz="1050" b="1" dirty="0">
                <a:latin typeface="Arial" panose="020B0604020202020204" pitchFamily="34" charset="0"/>
                <a:cs typeface="Arial" panose="020B0604020202020204" pitchFamily="34" charset="0"/>
              </a:rPr>
              <a:t>Une meilleure coordination des soins 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0FB59DA-C014-4D58-914A-C9EDA86A0C7B}"/>
              </a:ext>
            </a:extLst>
          </p:cNvPr>
          <p:cNvSpPr/>
          <p:nvPr/>
        </p:nvSpPr>
        <p:spPr>
          <a:xfrm>
            <a:off x="7544393" y="2703780"/>
            <a:ext cx="379768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fr-FR" sz="1050" b="1" dirty="0">
                <a:latin typeface="Arial" panose="020B0604020202020204" pitchFamily="34" charset="0"/>
                <a:cs typeface="Arial" panose="020B0604020202020204" pitchFamily="34" charset="0"/>
              </a:rPr>
              <a:t>Il peut accéder aux prescriptions dématérialisées depuis son DMP (et dès 2022 via Mon espace santé)  avec à terme un potentiel de services à valeur ajoutée </a:t>
            </a:r>
            <a:r>
              <a:rPr lang="fr-FR" sz="1050" dirty="0">
                <a:latin typeface="Arial" panose="020B0604020202020204" pitchFamily="34" charset="0"/>
                <a:cs typeface="Arial" panose="020B0604020202020204" pitchFamily="34" charset="0"/>
              </a:rPr>
              <a:t>(pilulier électronique …) </a:t>
            </a:r>
          </a:p>
        </p:txBody>
      </p:sp>
      <p:sp>
        <p:nvSpPr>
          <p:cNvPr id="29" name="Freeform 6">
            <a:extLst>
              <a:ext uri="{FF2B5EF4-FFF2-40B4-BE49-F238E27FC236}">
                <a16:creationId xmlns:a16="http://schemas.microsoft.com/office/drawing/2014/main" id="{1DEECA7D-7122-4295-BD23-4A892C787FAC}"/>
              </a:ext>
            </a:extLst>
          </p:cNvPr>
          <p:cNvSpPr>
            <a:spLocks/>
          </p:cNvSpPr>
          <p:nvPr/>
        </p:nvSpPr>
        <p:spPr bwMode="auto">
          <a:xfrm>
            <a:off x="3432112" y="3144600"/>
            <a:ext cx="1720850" cy="1628775"/>
          </a:xfrm>
          <a:custGeom>
            <a:avLst/>
            <a:gdLst>
              <a:gd name="T0" fmla="*/ 470 w 1053"/>
              <a:gd name="T1" fmla="*/ 998 h 998"/>
              <a:gd name="T2" fmla="*/ 319 w 1053"/>
              <a:gd name="T3" fmla="*/ 971 h 998"/>
              <a:gd name="T4" fmla="*/ 58 w 1053"/>
              <a:gd name="T5" fmla="*/ 732 h 998"/>
              <a:gd name="T6" fmla="*/ 43 w 1053"/>
              <a:gd name="T7" fmla="*/ 379 h 998"/>
              <a:gd name="T8" fmla="*/ 659 w 1053"/>
              <a:gd name="T9" fmla="*/ 91 h 998"/>
              <a:gd name="T10" fmla="*/ 958 w 1053"/>
              <a:gd name="T11" fmla="*/ 733 h 998"/>
              <a:gd name="T12" fmla="*/ 943 w 1053"/>
              <a:gd name="T13" fmla="*/ 740 h 998"/>
              <a:gd name="T14" fmla="*/ 936 w 1053"/>
              <a:gd name="T15" fmla="*/ 724 h 998"/>
              <a:gd name="T16" fmla="*/ 651 w 1053"/>
              <a:gd name="T17" fmla="*/ 114 h 998"/>
              <a:gd name="T18" fmla="*/ 65 w 1053"/>
              <a:gd name="T19" fmla="*/ 387 h 998"/>
              <a:gd name="T20" fmla="*/ 80 w 1053"/>
              <a:gd name="T21" fmla="*/ 722 h 998"/>
              <a:gd name="T22" fmla="*/ 327 w 1053"/>
              <a:gd name="T23" fmla="*/ 948 h 998"/>
              <a:gd name="T24" fmla="*/ 648 w 1053"/>
              <a:gd name="T25" fmla="*/ 934 h 998"/>
              <a:gd name="T26" fmla="*/ 866 w 1053"/>
              <a:gd name="T27" fmla="*/ 697 h 998"/>
              <a:gd name="T28" fmla="*/ 852 w 1053"/>
              <a:gd name="T29" fmla="*/ 389 h 998"/>
              <a:gd name="T30" fmla="*/ 625 w 1053"/>
              <a:gd name="T31" fmla="*/ 181 h 998"/>
              <a:gd name="T32" fmla="*/ 329 w 1053"/>
              <a:gd name="T33" fmla="*/ 194 h 998"/>
              <a:gd name="T34" fmla="*/ 130 w 1053"/>
              <a:gd name="T35" fmla="*/ 412 h 998"/>
              <a:gd name="T36" fmla="*/ 142 w 1053"/>
              <a:gd name="T37" fmla="*/ 695 h 998"/>
              <a:gd name="T38" fmla="*/ 351 w 1053"/>
              <a:gd name="T39" fmla="*/ 886 h 998"/>
              <a:gd name="T40" fmla="*/ 358 w 1053"/>
              <a:gd name="T41" fmla="*/ 902 h 998"/>
              <a:gd name="T42" fmla="*/ 343 w 1053"/>
              <a:gd name="T43" fmla="*/ 909 h 998"/>
              <a:gd name="T44" fmla="*/ 120 w 1053"/>
              <a:gd name="T45" fmla="*/ 705 h 998"/>
              <a:gd name="T46" fmla="*/ 107 w 1053"/>
              <a:gd name="T47" fmla="*/ 404 h 998"/>
              <a:gd name="T48" fmla="*/ 319 w 1053"/>
              <a:gd name="T49" fmla="*/ 172 h 998"/>
              <a:gd name="T50" fmla="*/ 633 w 1053"/>
              <a:gd name="T51" fmla="*/ 158 h 998"/>
              <a:gd name="T52" fmla="*/ 874 w 1053"/>
              <a:gd name="T53" fmla="*/ 379 h 998"/>
              <a:gd name="T54" fmla="*/ 888 w 1053"/>
              <a:gd name="T55" fmla="*/ 705 h 998"/>
              <a:gd name="T56" fmla="*/ 470 w 1053"/>
              <a:gd name="T57" fmla="*/ 998 h 9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53" h="998">
                <a:moveTo>
                  <a:pt x="470" y="998"/>
                </a:moveTo>
                <a:cubicBezTo>
                  <a:pt x="420" y="998"/>
                  <a:pt x="369" y="989"/>
                  <a:pt x="319" y="971"/>
                </a:cubicBezTo>
                <a:cubicBezTo>
                  <a:pt x="203" y="929"/>
                  <a:pt x="110" y="844"/>
                  <a:pt x="58" y="732"/>
                </a:cubicBezTo>
                <a:cubicBezTo>
                  <a:pt x="6" y="620"/>
                  <a:pt x="0" y="495"/>
                  <a:pt x="43" y="379"/>
                </a:cubicBezTo>
                <a:cubicBezTo>
                  <a:pt x="133" y="129"/>
                  <a:pt x="410" y="0"/>
                  <a:pt x="659" y="91"/>
                </a:cubicBezTo>
                <a:cubicBezTo>
                  <a:pt x="918" y="185"/>
                  <a:pt x="1053" y="473"/>
                  <a:pt x="958" y="733"/>
                </a:cubicBezTo>
                <a:cubicBezTo>
                  <a:pt x="956" y="739"/>
                  <a:pt x="949" y="742"/>
                  <a:pt x="943" y="740"/>
                </a:cubicBezTo>
                <a:cubicBezTo>
                  <a:pt x="937" y="737"/>
                  <a:pt x="933" y="731"/>
                  <a:pt x="936" y="724"/>
                </a:cubicBezTo>
                <a:cubicBezTo>
                  <a:pt x="1025" y="477"/>
                  <a:pt x="898" y="203"/>
                  <a:pt x="651" y="114"/>
                </a:cubicBezTo>
                <a:cubicBezTo>
                  <a:pt x="414" y="27"/>
                  <a:pt x="151" y="150"/>
                  <a:pt x="65" y="387"/>
                </a:cubicBezTo>
                <a:cubicBezTo>
                  <a:pt x="25" y="497"/>
                  <a:pt x="30" y="616"/>
                  <a:pt x="80" y="722"/>
                </a:cubicBezTo>
                <a:cubicBezTo>
                  <a:pt x="129" y="828"/>
                  <a:pt x="217" y="908"/>
                  <a:pt x="327" y="948"/>
                </a:cubicBezTo>
                <a:cubicBezTo>
                  <a:pt x="432" y="987"/>
                  <a:pt x="547" y="982"/>
                  <a:pt x="648" y="934"/>
                </a:cubicBezTo>
                <a:cubicBezTo>
                  <a:pt x="750" y="887"/>
                  <a:pt x="827" y="803"/>
                  <a:pt x="866" y="697"/>
                </a:cubicBezTo>
                <a:cubicBezTo>
                  <a:pt x="902" y="596"/>
                  <a:pt x="898" y="487"/>
                  <a:pt x="852" y="389"/>
                </a:cubicBezTo>
                <a:cubicBezTo>
                  <a:pt x="807" y="292"/>
                  <a:pt x="726" y="218"/>
                  <a:pt x="625" y="181"/>
                </a:cubicBezTo>
                <a:cubicBezTo>
                  <a:pt x="528" y="146"/>
                  <a:pt x="423" y="150"/>
                  <a:pt x="329" y="194"/>
                </a:cubicBezTo>
                <a:cubicBezTo>
                  <a:pt x="236" y="237"/>
                  <a:pt x="165" y="315"/>
                  <a:pt x="130" y="412"/>
                </a:cubicBezTo>
                <a:cubicBezTo>
                  <a:pt x="96" y="505"/>
                  <a:pt x="100" y="605"/>
                  <a:pt x="142" y="695"/>
                </a:cubicBezTo>
                <a:cubicBezTo>
                  <a:pt x="184" y="785"/>
                  <a:pt x="258" y="853"/>
                  <a:pt x="351" y="886"/>
                </a:cubicBezTo>
                <a:cubicBezTo>
                  <a:pt x="357" y="889"/>
                  <a:pt x="360" y="896"/>
                  <a:pt x="358" y="902"/>
                </a:cubicBezTo>
                <a:cubicBezTo>
                  <a:pt x="356" y="908"/>
                  <a:pt x="349" y="911"/>
                  <a:pt x="343" y="909"/>
                </a:cubicBezTo>
                <a:cubicBezTo>
                  <a:pt x="244" y="873"/>
                  <a:pt x="165" y="801"/>
                  <a:pt x="120" y="705"/>
                </a:cubicBezTo>
                <a:cubicBezTo>
                  <a:pt x="76" y="610"/>
                  <a:pt x="71" y="502"/>
                  <a:pt x="107" y="404"/>
                </a:cubicBezTo>
                <a:cubicBezTo>
                  <a:pt x="145" y="301"/>
                  <a:pt x="220" y="218"/>
                  <a:pt x="319" y="172"/>
                </a:cubicBezTo>
                <a:cubicBezTo>
                  <a:pt x="419" y="126"/>
                  <a:pt x="530" y="121"/>
                  <a:pt x="633" y="158"/>
                </a:cubicBezTo>
                <a:cubicBezTo>
                  <a:pt x="740" y="197"/>
                  <a:pt x="826" y="276"/>
                  <a:pt x="874" y="379"/>
                </a:cubicBezTo>
                <a:cubicBezTo>
                  <a:pt x="922" y="482"/>
                  <a:pt x="927" y="598"/>
                  <a:pt x="888" y="705"/>
                </a:cubicBezTo>
                <a:cubicBezTo>
                  <a:pt x="823" y="886"/>
                  <a:pt x="652" y="998"/>
                  <a:pt x="470" y="998"/>
                </a:cubicBezTo>
                <a:close/>
              </a:path>
            </a:pathLst>
          </a:custGeom>
          <a:solidFill>
            <a:srgbClr val="42B2D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30" name="Freeform 7">
            <a:extLst>
              <a:ext uri="{FF2B5EF4-FFF2-40B4-BE49-F238E27FC236}">
                <a16:creationId xmlns:a16="http://schemas.microsoft.com/office/drawing/2014/main" id="{E41C9C41-A68B-46BC-A408-B86066AA8867}"/>
              </a:ext>
            </a:extLst>
          </p:cNvPr>
          <p:cNvSpPr>
            <a:spLocks/>
          </p:cNvSpPr>
          <p:nvPr/>
        </p:nvSpPr>
        <p:spPr bwMode="auto">
          <a:xfrm>
            <a:off x="4724975" y="4311413"/>
            <a:ext cx="279400" cy="684213"/>
          </a:xfrm>
          <a:custGeom>
            <a:avLst/>
            <a:gdLst>
              <a:gd name="T0" fmla="*/ 14 w 171"/>
              <a:gd name="T1" fmla="*/ 419 h 419"/>
              <a:gd name="T2" fmla="*/ 10 w 171"/>
              <a:gd name="T3" fmla="*/ 418 h 419"/>
              <a:gd name="T4" fmla="*/ 2 w 171"/>
              <a:gd name="T5" fmla="*/ 403 h 419"/>
              <a:gd name="T6" fmla="*/ 146 w 171"/>
              <a:gd name="T7" fmla="*/ 9 h 419"/>
              <a:gd name="T8" fmla="*/ 161 w 171"/>
              <a:gd name="T9" fmla="*/ 2 h 419"/>
              <a:gd name="T10" fmla="*/ 168 w 171"/>
              <a:gd name="T11" fmla="*/ 17 h 419"/>
              <a:gd name="T12" fmla="*/ 25 w 171"/>
              <a:gd name="T13" fmla="*/ 411 h 419"/>
              <a:gd name="T14" fmla="*/ 14 w 171"/>
              <a:gd name="T15" fmla="*/ 419 h 4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71" h="419">
                <a:moveTo>
                  <a:pt x="14" y="419"/>
                </a:moveTo>
                <a:cubicBezTo>
                  <a:pt x="12" y="419"/>
                  <a:pt x="11" y="419"/>
                  <a:pt x="10" y="418"/>
                </a:cubicBezTo>
                <a:cubicBezTo>
                  <a:pt x="3" y="416"/>
                  <a:pt x="0" y="409"/>
                  <a:pt x="2" y="403"/>
                </a:cubicBezTo>
                <a:cubicBezTo>
                  <a:pt x="146" y="9"/>
                  <a:pt x="146" y="9"/>
                  <a:pt x="146" y="9"/>
                </a:cubicBezTo>
                <a:cubicBezTo>
                  <a:pt x="148" y="3"/>
                  <a:pt x="155" y="0"/>
                  <a:pt x="161" y="2"/>
                </a:cubicBezTo>
                <a:cubicBezTo>
                  <a:pt x="167" y="4"/>
                  <a:pt x="171" y="11"/>
                  <a:pt x="168" y="17"/>
                </a:cubicBezTo>
                <a:cubicBezTo>
                  <a:pt x="25" y="411"/>
                  <a:pt x="25" y="411"/>
                  <a:pt x="25" y="411"/>
                </a:cubicBezTo>
                <a:cubicBezTo>
                  <a:pt x="23" y="416"/>
                  <a:pt x="19" y="419"/>
                  <a:pt x="14" y="419"/>
                </a:cubicBezTo>
                <a:close/>
              </a:path>
            </a:pathLst>
          </a:custGeom>
          <a:solidFill>
            <a:srgbClr val="42B2D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31" name="Freeform 8">
            <a:extLst>
              <a:ext uri="{FF2B5EF4-FFF2-40B4-BE49-F238E27FC236}">
                <a16:creationId xmlns:a16="http://schemas.microsoft.com/office/drawing/2014/main" id="{1EE81F97-3F89-4724-988F-8E05D83BDB82}"/>
              </a:ext>
            </a:extLst>
          </p:cNvPr>
          <p:cNvSpPr>
            <a:spLocks noEditPoints="1"/>
          </p:cNvSpPr>
          <p:nvPr/>
        </p:nvSpPr>
        <p:spPr bwMode="auto">
          <a:xfrm>
            <a:off x="4605913" y="4949588"/>
            <a:ext cx="231775" cy="228600"/>
          </a:xfrm>
          <a:custGeom>
            <a:avLst/>
            <a:gdLst>
              <a:gd name="T0" fmla="*/ 71 w 142"/>
              <a:gd name="T1" fmla="*/ 140 h 140"/>
              <a:gd name="T2" fmla="*/ 48 w 142"/>
              <a:gd name="T3" fmla="*/ 135 h 140"/>
              <a:gd name="T4" fmla="*/ 9 w 142"/>
              <a:gd name="T5" fmla="*/ 100 h 140"/>
              <a:gd name="T6" fmla="*/ 7 w 142"/>
              <a:gd name="T7" fmla="*/ 47 h 140"/>
              <a:gd name="T8" fmla="*/ 42 w 142"/>
              <a:gd name="T9" fmla="*/ 8 h 140"/>
              <a:gd name="T10" fmla="*/ 95 w 142"/>
              <a:gd name="T11" fmla="*/ 6 h 140"/>
              <a:gd name="T12" fmla="*/ 134 w 142"/>
              <a:gd name="T13" fmla="*/ 41 h 140"/>
              <a:gd name="T14" fmla="*/ 134 w 142"/>
              <a:gd name="T15" fmla="*/ 41 h 140"/>
              <a:gd name="T16" fmla="*/ 136 w 142"/>
              <a:gd name="T17" fmla="*/ 94 h 140"/>
              <a:gd name="T18" fmla="*/ 100 w 142"/>
              <a:gd name="T19" fmla="*/ 133 h 140"/>
              <a:gd name="T20" fmla="*/ 71 w 142"/>
              <a:gd name="T21" fmla="*/ 140 h 140"/>
              <a:gd name="T22" fmla="*/ 71 w 142"/>
              <a:gd name="T23" fmla="*/ 26 h 140"/>
              <a:gd name="T24" fmla="*/ 52 w 142"/>
              <a:gd name="T25" fmla="*/ 30 h 140"/>
              <a:gd name="T26" fmla="*/ 29 w 142"/>
              <a:gd name="T27" fmla="*/ 55 h 140"/>
              <a:gd name="T28" fmla="*/ 31 w 142"/>
              <a:gd name="T29" fmla="*/ 90 h 140"/>
              <a:gd name="T30" fmla="*/ 56 w 142"/>
              <a:gd name="T31" fmla="*/ 113 h 140"/>
              <a:gd name="T32" fmla="*/ 90 w 142"/>
              <a:gd name="T33" fmla="*/ 111 h 140"/>
              <a:gd name="T34" fmla="*/ 114 w 142"/>
              <a:gd name="T35" fmla="*/ 86 h 140"/>
              <a:gd name="T36" fmla="*/ 112 w 142"/>
              <a:gd name="T37" fmla="*/ 52 h 140"/>
              <a:gd name="T38" fmla="*/ 112 w 142"/>
              <a:gd name="T39" fmla="*/ 52 h 140"/>
              <a:gd name="T40" fmla="*/ 87 w 142"/>
              <a:gd name="T41" fmla="*/ 28 h 140"/>
              <a:gd name="T42" fmla="*/ 71 w 142"/>
              <a:gd name="T43" fmla="*/ 26 h 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42" h="140">
                <a:moveTo>
                  <a:pt x="71" y="140"/>
                </a:moveTo>
                <a:cubicBezTo>
                  <a:pt x="63" y="140"/>
                  <a:pt x="55" y="138"/>
                  <a:pt x="48" y="135"/>
                </a:cubicBezTo>
                <a:cubicBezTo>
                  <a:pt x="30" y="129"/>
                  <a:pt x="17" y="116"/>
                  <a:pt x="9" y="100"/>
                </a:cubicBezTo>
                <a:cubicBezTo>
                  <a:pt x="1" y="83"/>
                  <a:pt x="0" y="64"/>
                  <a:pt x="7" y="47"/>
                </a:cubicBezTo>
                <a:cubicBezTo>
                  <a:pt x="13" y="30"/>
                  <a:pt x="25" y="16"/>
                  <a:pt x="42" y="8"/>
                </a:cubicBezTo>
                <a:cubicBezTo>
                  <a:pt x="59" y="0"/>
                  <a:pt x="78" y="0"/>
                  <a:pt x="95" y="6"/>
                </a:cubicBezTo>
                <a:cubicBezTo>
                  <a:pt x="112" y="12"/>
                  <a:pt x="126" y="25"/>
                  <a:pt x="134" y="41"/>
                </a:cubicBezTo>
                <a:cubicBezTo>
                  <a:pt x="134" y="41"/>
                  <a:pt x="134" y="41"/>
                  <a:pt x="134" y="41"/>
                </a:cubicBezTo>
                <a:cubicBezTo>
                  <a:pt x="142" y="58"/>
                  <a:pt x="142" y="77"/>
                  <a:pt x="136" y="94"/>
                </a:cubicBezTo>
                <a:cubicBezTo>
                  <a:pt x="130" y="111"/>
                  <a:pt x="117" y="125"/>
                  <a:pt x="100" y="133"/>
                </a:cubicBezTo>
                <a:cubicBezTo>
                  <a:pt x="91" y="137"/>
                  <a:pt x="81" y="140"/>
                  <a:pt x="71" y="140"/>
                </a:cubicBezTo>
                <a:close/>
                <a:moveTo>
                  <a:pt x="71" y="26"/>
                </a:moveTo>
                <a:cubicBezTo>
                  <a:pt x="65" y="26"/>
                  <a:pt x="58" y="27"/>
                  <a:pt x="52" y="30"/>
                </a:cubicBezTo>
                <a:cubicBezTo>
                  <a:pt x="41" y="35"/>
                  <a:pt x="33" y="44"/>
                  <a:pt x="29" y="55"/>
                </a:cubicBezTo>
                <a:cubicBezTo>
                  <a:pt x="25" y="67"/>
                  <a:pt x="26" y="79"/>
                  <a:pt x="31" y="90"/>
                </a:cubicBezTo>
                <a:cubicBezTo>
                  <a:pt x="36" y="100"/>
                  <a:pt x="45" y="109"/>
                  <a:pt x="56" y="113"/>
                </a:cubicBezTo>
                <a:cubicBezTo>
                  <a:pt x="67" y="117"/>
                  <a:pt x="79" y="116"/>
                  <a:pt x="90" y="111"/>
                </a:cubicBezTo>
                <a:cubicBezTo>
                  <a:pt x="101" y="106"/>
                  <a:pt x="109" y="97"/>
                  <a:pt x="114" y="86"/>
                </a:cubicBezTo>
                <a:cubicBezTo>
                  <a:pt x="118" y="75"/>
                  <a:pt x="117" y="62"/>
                  <a:pt x="112" y="52"/>
                </a:cubicBezTo>
                <a:cubicBezTo>
                  <a:pt x="112" y="52"/>
                  <a:pt x="112" y="52"/>
                  <a:pt x="112" y="52"/>
                </a:cubicBezTo>
                <a:cubicBezTo>
                  <a:pt x="107" y="41"/>
                  <a:pt x="98" y="32"/>
                  <a:pt x="87" y="28"/>
                </a:cubicBezTo>
                <a:cubicBezTo>
                  <a:pt x="82" y="27"/>
                  <a:pt x="76" y="26"/>
                  <a:pt x="71" y="26"/>
                </a:cubicBezTo>
                <a:close/>
              </a:path>
            </a:pathLst>
          </a:custGeom>
          <a:solidFill>
            <a:srgbClr val="42B2D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32" name="Freeform 9">
            <a:extLst>
              <a:ext uri="{FF2B5EF4-FFF2-40B4-BE49-F238E27FC236}">
                <a16:creationId xmlns:a16="http://schemas.microsoft.com/office/drawing/2014/main" id="{E3E624D1-24B9-4985-8ACE-57F21D41AC2B}"/>
              </a:ext>
            </a:extLst>
          </p:cNvPr>
          <p:cNvSpPr>
            <a:spLocks/>
          </p:cNvSpPr>
          <p:nvPr/>
        </p:nvSpPr>
        <p:spPr bwMode="auto">
          <a:xfrm>
            <a:off x="3368959" y="4943057"/>
            <a:ext cx="2530475" cy="590550"/>
          </a:xfrm>
          <a:custGeom>
            <a:avLst/>
            <a:gdLst>
              <a:gd name="T0" fmla="*/ 14 w 1548"/>
              <a:gd name="T1" fmla="*/ 362 h 362"/>
              <a:gd name="T2" fmla="*/ 3 w 1548"/>
              <a:gd name="T3" fmla="*/ 355 h 362"/>
              <a:gd name="T4" fmla="*/ 9 w 1548"/>
              <a:gd name="T5" fmla="*/ 339 h 362"/>
              <a:gd name="T6" fmla="*/ 741 w 1548"/>
              <a:gd name="T7" fmla="*/ 87 h 362"/>
              <a:gd name="T8" fmla="*/ 1536 w 1548"/>
              <a:gd name="T9" fmla="*/ 0 h 362"/>
              <a:gd name="T10" fmla="*/ 1548 w 1548"/>
              <a:gd name="T11" fmla="*/ 12 h 362"/>
              <a:gd name="T12" fmla="*/ 1536 w 1548"/>
              <a:gd name="T13" fmla="*/ 24 h 362"/>
              <a:gd name="T14" fmla="*/ 19 w 1548"/>
              <a:gd name="T15" fmla="*/ 360 h 362"/>
              <a:gd name="T16" fmla="*/ 14 w 1548"/>
              <a:gd name="T17" fmla="*/ 362 h 3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48" h="362">
                <a:moveTo>
                  <a:pt x="14" y="362"/>
                </a:moveTo>
                <a:cubicBezTo>
                  <a:pt x="9" y="362"/>
                  <a:pt x="5" y="359"/>
                  <a:pt x="3" y="355"/>
                </a:cubicBezTo>
                <a:cubicBezTo>
                  <a:pt x="0" y="349"/>
                  <a:pt x="3" y="342"/>
                  <a:pt x="9" y="339"/>
                </a:cubicBezTo>
                <a:cubicBezTo>
                  <a:pt x="243" y="229"/>
                  <a:pt x="489" y="144"/>
                  <a:pt x="741" y="87"/>
                </a:cubicBezTo>
                <a:cubicBezTo>
                  <a:pt x="1000" y="29"/>
                  <a:pt x="1268" y="0"/>
                  <a:pt x="1536" y="0"/>
                </a:cubicBezTo>
                <a:cubicBezTo>
                  <a:pt x="1542" y="0"/>
                  <a:pt x="1548" y="5"/>
                  <a:pt x="1548" y="12"/>
                </a:cubicBezTo>
                <a:cubicBezTo>
                  <a:pt x="1548" y="18"/>
                  <a:pt x="1542" y="24"/>
                  <a:pt x="1536" y="24"/>
                </a:cubicBezTo>
                <a:cubicBezTo>
                  <a:pt x="1005" y="24"/>
                  <a:pt x="495" y="137"/>
                  <a:pt x="19" y="360"/>
                </a:cubicBezTo>
                <a:cubicBezTo>
                  <a:pt x="17" y="361"/>
                  <a:pt x="16" y="362"/>
                  <a:pt x="14" y="362"/>
                </a:cubicBezTo>
                <a:close/>
              </a:path>
            </a:pathLst>
          </a:custGeom>
          <a:solidFill>
            <a:srgbClr val="FD797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33" name="Freeform 10">
            <a:extLst>
              <a:ext uri="{FF2B5EF4-FFF2-40B4-BE49-F238E27FC236}">
                <a16:creationId xmlns:a16="http://schemas.microsoft.com/office/drawing/2014/main" id="{78B08394-332B-498D-BCFB-0FB5E905AE4A}"/>
              </a:ext>
            </a:extLst>
          </p:cNvPr>
          <p:cNvSpPr>
            <a:spLocks/>
          </p:cNvSpPr>
          <p:nvPr/>
        </p:nvSpPr>
        <p:spPr bwMode="auto">
          <a:xfrm>
            <a:off x="5880384" y="4943057"/>
            <a:ext cx="2489200" cy="581025"/>
          </a:xfrm>
          <a:custGeom>
            <a:avLst/>
            <a:gdLst>
              <a:gd name="T0" fmla="*/ 0 w 1523"/>
              <a:gd name="T1" fmla="*/ 0 h 356"/>
              <a:gd name="T2" fmla="*/ 787 w 1523"/>
              <a:gd name="T3" fmla="*/ 86 h 356"/>
              <a:gd name="T4" fmla="*/ 1514 w 1523"/>
              <a:gd name="T5" fmla="*/ 333 h 356"/>
              <a:gd name="T6" fmla="*/ 1520 w 1523"/>
              <a:gd name="T7" fmla="*/ 349 h 356"/>
              <a:gd name="T8" fmla="*/ 1509 w 1523"/>
              <a:gd name="T9" fmla="*/ 356 h 356"/>
              <a:gd name="T10" fmla="*/ 1504 w 1523"/>
              <a:gd name="T11" fmla="*/ 355 h 356"/>
              <a:gd name="T12" fmla="*/ 0 w 1523"/>
              <a:gd name="T13" fmla="*/ 24 h 3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23" h="356">
                <a:moveTo>
                  <a:pt x="0" y="0"/>
                </a:moveTo>
                <a:cubicBezTo>
                  <a:pt x="265" y="0"/>
                  <a:pt x="530" y="29"/>
                  <a:pt x="787" y="86"/>
                </a:cubicBezTo>
                <a:cubicBezTo>
                  <a:pt x="1037" y="142"/>
                  <a:pt x="1282" y="225"/>
                  <a:pt x="1514" y="333"/>
                </a:cubicBezTo>
                <a:cubicBezTo>
                  <a:pt x="1520" y="336"/>
                  <a:pt x="1523" y="343"/>
                  <a:pt x="1520" y="349"/>
                </a:cubicBezTo>
                <a:cubicBezTo>
                  <a:pt x="1518" y="353"/>
                  <a:pt x="1514" y="356"/>
                  <a:pt x="1509" y="356"/>
                </a:cubicBezTo>
                <a:cubicBezTo>
                  <a:pt x="1507" y="356"/>
                  <a:pt x="1506" y="355"/>
                  <a:pt x="1504" y="355"/>
                </a:cubicBezTo>
                <a:cubicBezTo>
                  <a:pt x="1032" y="135"/>
                  <a:pt x="526" y="24"/>
                  <a:pt x="0" y="24"/>
                </a:cubicBezTo>
              </a:path>
            </a:pathLst>
          </a:custGeom>
          <a:solidFill>
            <a:srgbClr val="FD797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34" name="Freeform 6">
            <a:extLst>
              <a:ext uri="{FF2B5EF4-FFF2-40B4-BE49-F238E27FC236}">
                <a16:creationId xmlns:a16="http://schemas.microsoft.com/office/drawing/2014/main" id="{42E620B7-8368-4341-A626-B8ADBE79C64B}"/>
              </a:ext>
            </a:extLst>
          </p:cNvPr>
          <p:cNvSpPr>
            <a:spLocks/>
          </p:cNvSpPr>
          <p:nvPr/>
        </p:nvSpPr>
        <p:spPr bwMode="auto">
          <a:xfrm>
            <a:off x="5974356" y="3210784"/>
            <a:ext cx="1720850" cy="1628775"/>
          </a:xfrm>
          <a:custGeom>
            <a:avLst/>
            <a:gdLst>
              <a:gd name="T0" fmla="*/ 470 w 1053"/>
              <a:gd name="T1" fmla="*/ 998 h 998"/>
              <a:gd name="T2" fmla="*/ 319 w 1053"/>
              <a:gd name="T3" fmla="*/ 971 h 998"/>
              <a:gd name="T4" fmla="*/ 58 w 1053"/>
              <a:gd name="T5" fmla="*/ 732 h 998"/>
              <a:gd name="T6" fmla="*/ 43 w 1053"/>
              <a:gd name="T7" fmla="*/ 379 h 998"/>
              <a:gd name="T8" fmla="*/ 659 w 1053"/>
              <a:gd name="T9" fmla="*/ 91 h 998"/>
              <a:gd name="T10" fmla="*/ 958 w 1053"/>
              <a:gd name="T11" fmla="*/ 733 h 998"/>
              <a:gd name="T12" fmla="*/ 943 w 1053"/>
              <a:gd name="T13" fmla="*/ 740 h 998"/>
              <a:gd name="T14" fmla="*/ 936 w 1053"/>
              <a:gd name="T15" fmla="*/ 724 h 998"/>
              <a:gd name="T16" fmla="*/ 651 w 1053"/>
              <a:gd name="T17" fmla="*/ 114 h 998"/>
              <a:gd name="T18" fmla="*/ 65 w 1053"/>
              <a:gd name="T19" fmla="*/ 387 h 998"/>
              <a:gd name="T20" fmla="*/ 80 w 1053"/>
              <a:gd name="T21" fmla="*/ 722 h 998"/>
              <a:gd name="T22" fmla="*/ 327 w 1053"/>
              <a:gd name="T23" fmla="*/ 948 h 998"/>
              <a:gd name="T24" fmla="*/ 648 w 1053"/>
              <a:gd name="T25" fmla="*/ 934 h 998"/>
              <a:gd name="T26" fmla="*/ 866 w 1053"/>
              <a:gd name="T27" fmla="*/ 697 h 998"/>
              <a:gd name="T28" fmla="*/ 852 w 1053"/>
              <a:gd name="T29" fmla="*/ 389 h 998"/>
              <a:gd name="T30" fmla="*/ 625 w 1053"/>
              <a:gd name="T31" fmla="*/ 181 h 998"/>
              <a:gd name="T32" fmla="*/ 329 w 1053"/>
              <a:gd name="T33" fmla="*/ 194 h 998"/>
              <a:gd name="T34" fmla="*/ 130 w 1053"/>
              <a:gd name="T35" fmla="*/ 412 h 998"/>
              <a:gd name="T36" fmla="*/ 142 w 1053"/>
              <a:gd name="T37" fmla="*/ 695 h 998"/>
              <a:gd name="T38" fmla="*/ 351 w 1053"/>
              <a:gd name="T39" fmla="*/ 886 h 998"/>
              <a:gd name="T40" fmla="*/ 358 w 1053"/>
              <a:gd name="T41" fmla="*/ 902 h 998"/>
              <a:gd name="T42" fmla="*/ 343 w 1053"/>
              <a:gd name="T43" fmla="*/ 909 h 998"/>
              <a:gd name="T44" fmla="*/ 120 w 1053"/>
              <a:gd name="T45" fmla="*/ 705 h 998"/>
              <a:gd name="T46" fmla="*/ 107 w 1053"/>
              <a:gd name="T47" fmla="*/ 404 h 998"/>
              <a:gd name="T48" fmla="*/ 319 w 1053"/>
              <a:gd name="T49" fmla="*/ 172 h 998"/>
              <a:gd name="T50" fmla="*/ 633 w 1053"/>
              <a:gd name="T51" fmla="*/ 158 h 998"/>
              <a:gd name="T52" fmla="*/ 874 w 1053"/>
              <a:gd name="T53" fmla="*/ 379 h 998"/>
              <a:gd name="T54" fmla="*/ 888 w 1053"/>
              <a:gd name="T55" fmla="*/ 705 h 998"/>
              <a:gd name="T56" fmla="*/ 470 w 1053"/>
              <a:gd name="T57" fmla="*/ 998 h 9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53" h="998">
                <a:moveTo>
                  <a:pt x="470" y="998"/>
                </a:moveTo>
                <a:cubicBezTo>
                  <a:pt x="420" y="998"/>
                  <a:pt x="369" y="989"/>
                  <a:pt x="319" y="971"/>
                </a:cubicBezTo>
                <a:cubicBezTo>
                  <a:pt x="203" y="929"/>
                  <a:pt x="110" y="844"/>
                  <a:pt x="58" y="732"/>
                </a:cubicBezTo>
                <a:cubicBezTo>
                  <a:pt x="6" y="620"/>
                  <a:pt x="0" y="495"/>
                  <a:pt x="43" y="379"/>
                </a:cubicBezTo>
                <a:cubicBezTo>
                  <a:pt x="133" y="129"/>
                  <a:pt x="410" y="0"/>
                  <a:pt x="659" y="91"/>
                </a:cubicBezTo>
                <a:cubicBezTo>
                  <a:pt x="918" y="185"/>
                  <a:pt x="1053" y="473"/>
                  <a:pt x="958" y="733"/>
                </a:cubicBezTo>
                <a:cubicBezTo>
                  <a:pt x="956" y="739"/>
                  <a:pt x="949" y="742"/>
                  <a:pt x="943" y="740"/>
                </a:cubicBezTo>
                <a:cubicBezTo>
                  <a:pt x="937" y="737"/>
                  <a:pt x="933" y="731"/>
                  <a:pt x="936" y="724"/>
                </a:cubicBezTo>
                <a:cubicBezTo>
                  <a:pt x="1025" y="477"/>
                  <a:pt x="898" y="203"/>
                  <a:pt x="651" y="114"/>
                </a:cubicBezTo>
                <a:cubicBezTo>
                  <a:pt x="414" y="27"/>
                  <a:pt x="151" y="150"/>
                  <a:pt x="65" y="387"/>
                </a:cubicBezTo>
                <a:cubicBezTo>
                  <a:pt x="25" y="497"/>
                  <a:pt x="30" y="616"/>
                  <a:pt x="80" y="722"/>
                </a:cubicBezTo>
                <a:cubicBezTo>
                  <a:pt x="129" y="828"/>
                  <a:pt x="217" y="908"/>
                  <a:pt x="327" y="948"/>
                </a:cubicBezTo>
                <a:cubicBezTo>
                  <a:pt x="432" y="987"/>
                  <a:pt x="547" y="982"/>
                  <a:pt x="648" y="934"/>
                </a:cubicBezTo>
                <a:cubicBezTo>
                  <a:pt x="750" y="887"/>
                  <a:pt x="827" y="803"/>
                  <a:pt x="866" y="697"/>
                </a:cubicBezTo>
                <a:cubicBezTo>
                  <a:pt x="902" y="596"/>
                  <a:pt x="898" y="487"/>
                  <a:pt x="852" y="389"/>
                </a:cubicBezTo>
                <a:cubicBezTo>
                  <a:pt x="807" y="292"/>
                  <a:pt x="726" y="218"/>
                  <a:pt x="625" y="181"/>
                </a:cubicBezTo>
                <a:cubicBezTo>
                  <a:pt x="528" y="146"/>
                  <a:pt x="423" y="150"/>
                  <a:pt x="329" y="194"/>
                </a:cubicBezTo>
                <a:cubicBezTo>
                  <a:pt x="236" y="237"/>
                  <a:pt x="165" y="315"/>
                  <a:pt x="130" y="412"/>
                </a:cubicBezTo>
                <a:cubicBezTo>
                  <a:pt x="96" y="505"/>
                  <a:pt x="100" y="605"/>
                  <a:pt x="142" y="695"/>
                </a:cubicBezTo>
                <a:cubicBezTo>
                  <a:pt x="184" y="785"/>
                  <a:pt x="258" y="853"/>
                  <a:pt x="351" y="886"/>
                </a:cubicBezTo>
                <a:cubicBezTo>
                  <a:pt x="357" y="889"/>
                  <a:pt x="360" y="896"/>
                  <a:pt x="358" y="902"/>
                </a:cubicBezTo>
                <a:cubicBezTo>
                  <a:pt x="356" y="908"/>
                  <a:pt x="349" y="911"/>
                  <a:pt x="343" y="909"/>
                </a:cubicBezTo>
                <a:cubicBezTo>
                  <a:pt x="244" y="873"/>
                  <a:pt x="165" y="801"/>
                  <a:pt x="120" y="705"/>
                </a:cubicBezTo>
                <a:cubicBezTo>
                  <a:pt x="76" y="610"/>
                  <a:pt x="71" y="502"/>
                  <a:pt x="107" y="404"/>
                </a:cubicBezTo>
                <a:cubicBezTo>
                  <a:pt x="145" y="301"/>
                  <a:pt x="220" y="218"/>
                  <a:pt x="319" y="172"/>
                </a:cubicBezTo>
                <a:cubicBezTo>
                  <a:pt x="419" y="126"/>
                  <a:pt x="530" y="121"/>
                  <a:pt x="633" y="158"/>
                </a:cubicBezTo>
                <a:cubicBezTo>
                  <a:pt x="740" y="197"/>
                  <a:pt x="826" y="276"/>
                  <a:pt x="874" y="379"/>
                </a:cubicBezTo>
                <a:cubicBezTo>
                  <a:pt x="922" y="482"/>
                  <a:pt x="927" y="598"/>
                  <a:pt x="888" y="705"/>
                </a:cubicBezTo>
                <a:cubicBezTo>
                  <a:pt x="823" y="886"/>
                  <a:pt x="652" y="998"/>
                  <a:pt x="470" y="998"/>
                </a:cubicBezTo>
                <a:close/>
              </a:path>
            </a:pathLst>
          </a:custGeom>
          <a:solidFill>
            <a:srgbClr val="1BAAB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35" name="Freeform 7">
            <a:extLst>
              <a:ext uri="{FF2B5EF4-FFF2-40B4-BE49-F238E27FC236}">
                <a16:creationId xmlns:a16="http://schemas.microsoft.com/office/drawing/2014/main" id="{B7E7CCE4-8070-4F66-8D51-4A9662671AEF}"/>
              </a:ext>
            </a:extLst>
          </p:cNvPr>
          <p:cNvSpPr>
            <a:spLocks/>
          </p:cNvSpPr>
          <p:nvPr/>
        </p:nvSpPr>
        <p:spPr bwMode="auto">
          <a:xfrm>
            <a:off x="7264993" y="4377597"/>
            <a:ext cx="279400" cy="684213"/>
          </a:xfrm>
          <a:custGeom>
            <a:avLst/>
            <a:gdLst>
              <a:gd name="T0" fmla="*/ 14 w 171"/>
              <a:gd name="T1" fmla="*/ 419 h 419"/>
              <a:gd name="T2" fmla="*/ 10 w 171"/>
              <a:gd name="T3" fmla="*/ 418 h 419"/>
              <a:gd name="T4" fmla="*/ 2 w 171"/>
              <a:gd name="T5" fmla="*/ 403 h 419"/>
              <a:gd name="T6" fmla="*/ 146 w 171"/>
              <a:gd name="T7" fmla="*/ 9 h 419"/>
              <a:gd name="T8" fmla="*/ 161 w 171"/>
              <a:gd name="T9" fmla="*/ 2 h 419"/>
              <a:gd name="T10" fmla="*/ 168 w 171"/>
              <a:gd name="T11" fmla="*/ 17 h 419"/>
              <a:gd name="T12" fmla="*/ 25 w 171"/>
              <a:gd name="T13" fmla="*/ 411 h 419"/>
              <a:gd name="T14" fmla="*/ 14 w 171"/>
              <a:gd name="T15" fmla="*/ 419 h 4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71" h="419">
                <a:moveTo>
                  <a:pt x="14" y="419"/>
                </a:moveTo>
                <a:cubicBezTo>
                  <a:pt x="12" y="419"/>
                  <a:pt x="11" y="419"/>
                  <a:pt x="10" y="418"/>
                </a:cubicBezTo>
                <a:cubicBezTo>
                  <a:pt x="3" y="416"/>
                  <a:pt x="0" y="409"/>
                  <a:pt x="2" y="403"/>
                </a:cubicBezTo>
                <a:cubicBezTo>
                  <a:pt x="146" y="9"/>
                  <a:pt x="146" y="9"/>
                  <a:pt x="146" y="9"/>
                </a:cubicBezTo>
                <a:cubicBezTo>
                  <a:pt x="148" y="3"/>
                  <a:pt x="155" y="0"/>
                  <a:pt x="161" y="2"/>
                </a:cubicBezTo>
                <a:cubicBezTo>
                  <a:pt x="167" y="4"/>
                  <a:pt x="171" y="11"/>
                  <a:pt x="168" y="17"/>
                </a:cubicBezTo>
                <a:cubicBezTo>
                  <a:pt x="25" y="411"/>
                  <a:pt x="25" y="411"/>
                  <a:pt x="25" y="411"/>
                </a:cubicBezTo>
                <a:cubicBezTo>
                  <a:pt x="23" y="416"/>
                  <a:pt x="19" y="419"/>
                  <a:pt x="14" y="419"/>
                </a:cubicBezTo>
                <a:close/>
              </a:path>
            </a:pathLst>
          </a:custGeom>
          <a:solidFill>
            <a:srgbClr val="1BAAB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36" name="Freeform 8">
            <a:extLst>
              <a:ext uri="{FF2B5EF4-FFF2-40B4-BE49-F238E27FC236}">
                <a16:creationId xmlns:a16="http://schemas.microsoft.com/office/drawing/2014/main" id="{AB5740C5-1737-4A7E-863B-364684A20F89}"/>
              </a:ext>
            </a:extLst>
          </p:cNvPr>
          <p:cNvSpPr>
            <a:spLocks noEditPoints="1"/>
          </p:cNvSpPr>
          <p:nvPr/>
        </p:nvSpPr>
        <p:spPr bwMode="auto">
          <a:xfrm>
            <a:off x="7145931" y="5015772"/>
            <a:ext cx="231775" cy="228600"/>
          </a:xfrm>
          <a:custGeom>
            <a:avLst/>
            <a:gdLst>
              <a:gd name="T0" fmla="*/ 71 w 142"/>
              <a:gd name="T1" fmla="*/ 140 h 140"/>
              <a:gd name="T2" fmla="*/ 48 w 142"/>
              <a:gd name="T3" fmla="*/ 135 h 140"/>
              <a:gd name="T4" fmla="*/ 9 w 142"/>
              <a:gd name="T5" fmla="*/ 100 h 140"/>
              <a:gd name="T6" fmla="*/ 7 w 142"/>
              <a:gd name="T7" fmla="*/ 47 h 140"/>
              <a:gd name="T8" fmla="*/ 42 w 142"/>
              <a:gd name="T9" fmla="*/ 8 h 140"/>
              <a:gd name="T10" fmla="*/ 95 w 142"/>
              <a:gd name="T11" fmla="*/ 6 h 140"/>
              <a:gd name="T12" fmla="*/ 134 w 142"/>
              <a:gd name="T13" fmla="*/ 41 h 140"/>
              <a:gd name="T14" fmla="*/ 134 w 142"/>
              <a:gd name="T15" fmla="*/ 41 h 140"/>
              <a:gd name="T16" fmla="*/ 136 w 142"/>
              <a:gd name="T17" fmla="*/ 94 h 140"/>
              <a:gd name="T18" fmla="*/ 100 w 142"/>
              <a:gd name="T19" fmla="*/ 133 h 140"/>
              <a:gd name="T20" fmla="*/ 71 w 142"/>
              <a:gd name="T21" fmla="*/ 140 h 140"/>
              <a:gd name="T22" fmla="*/ 71 w 142"/>
              <a:gd name="T23" fmla="*/ 26 h 140"/>
              <a:gd name="T24" fmla="*/ 52 w 142"/>
              <a:gd name="T25" fmla="*/ 30 h 140"/>
              <a:gd name="T26" fmla="*/ 29 w 142"/>
              <a:gd name="T27" fmla="*/ 55 h 140"/>
              <a:gd name="T28" fmla="*/ 31 w 142"/>
              <a:gd name="T29" fmla="*/ 90 h 140"/>
              <a:gd name="T30" fmla="*/ 56 w 142"/>
              <a:gd name="T31" fmla="*/ 113 h 140"/>
              <a:gd name="T32" fmla="*/ 90 w 142"/>
              <a:gd name="T33" fmla="*/ 111 h 140"/>
              <a:gd name="T34" fmla="*/ 114 w 142"/>
              <a:gd name="T35" fmla="*/ 86 h 140"/>
              <a:gd name="T36" fmla="*/ 112 w 142"/>
              <a:gd name="T37" fmla="*/ 52 h 140"/>
              <a:gd name="T38" fmla="*/ 112 w 142"/>
              <a:gd name="T39" fmla="*/ 52 h 140"/>
              <a:gd name="T40" fmla="*/ 87 w 142"/>
              <a:gd name="T41" fmla="*/ 28 h 140"/>
              <a:gd name="T42" fmla="*/ 71 w 142"/>
              <a:gd name="T43" fmla="*/ 26 h 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42" h="140">
                <a:moveTo>
                  <a:pt x="71" y="140"/>
                </a:moveTo>
                <a:cubicBezTo>
                  <a:pt x="63" y="140"/>
                  <a:pt x="55" y="138"/>
                  <a:pt x="48" y="135"/>
                </a:cubicBezTo>
                <a:cubicBezTo>
                  <a:pt x="30" y="129"/>
                  <a:pt x="17" y="116"/>
                  <a:pt x="9" y="100"/>
                </a:cubicBezTo>
                <a:cubicBezTo>
                  <a:pt x="1" y="83"/>
                  <a:pt x="0" y="64"/>
                  <a:pt x="7" y="47"/>
                </a:cubicBezTo>
                <a:cubicBezTo>
                  <a:pt x="13" y="30"/>
                  <a:pt x="25" y="16"/>
                  <a:pt x="42" y="8"/>
                </a:cubicBezTo>
                <a:cubicBezTo>
                  <a:pt x="59" y="0"/>
                  <a:pt x="78" y="0"/>
                  <a:pt x="95" y="6"/>
                </a:cubicBezTo>
                <a:cubicBezTo>
                  <a:pt x="112" y="12"/>
                  <a:pt x="126" y="25"/>
                  <a:pt x="134" y="41"/>
                </a:cubicBezTo>
                <a:cubicBezTo>
                  <a:pt x="134" y="41"/>
                  <a:pt x="134" y="41"/>
                  <a:pt x="134" y="41"/>
                </a:cubicBezTo>
                <a:cubicBezTo>
                  <a:pt x="142" y="58"/>
                  <a:pt x="142" y="77"/>
                  <a:pt x="136" y="94"/>
                </a:cubicBezTo>
                <a:cubicBezTo>
                  <a:pt x="130" y="111"/>
                  <a:pt x="117" y="125"/>
                  <a:pt x="100" y="133"/>
                </a:cubicBezTo>
                <a:cubicBezTo>
                  <a:pt x="91" y="137"/>
                  <a:pt x="81" y="140"/>
                  <a:pt x="71" y="140"/>
                </a:cubicBezTo>
                <a:close/>
                <a:moveTo>
                  <a:pt x="71" y="26"/>
                </a:moveTo>
                <a:cubicBezTo>
                  <a:pt x="65" y="26"/>
                  <a:pt x="58" y="27"/>
                  <a:pt x="52" y="30"/>
                </a:cubicBezTo>
                <a:cubicBezTo>
                  <a:pt x="41" y="35"/>
                  <a:pt x="33" y="44"/>
                  <a:pt x="29" y="55"/>
                </a:cubicBezTo>
                <a:cubicBezTo>
                  <a:pt x="25" y="67"/>
                  <a:pt x="26" y="79"/>
                  <a:pt x="31" y="90"/>
                </a:cubicBezTo>
                <a:cubicBezTo>
                  <a:pt x="36" y="100"/>
                  <a:pt x="45" y="109"/>
                  <a:pt x="56" y="113"/>
                </a:cubicBezTo>
                <a:cubicBezTo>
                  <a:pt x="67" y="117"/>
                  <a:pt x="79" y="116"/>
                  <a:pt x="90" y="111"/>
                </a:cubicBezTo>
                <a:cubicBezTo>
                  <a:pt x="101" y="106"/>
                  <a:pt x="109" y="97"/>
                  <a:pt x="114" y="86"/>
                </a:cubicBezTo>
                <a:cubicBezTo>
                  <a:pt x="118" y="75"/>
                  <a:pt x="117" y="62"/>
                  <a:pt x="112" y="52"/>
                </a:cubicBezTo>
                <a:cubicBezTo>
                  <a:pt x="112" y="52"/>
                  <a:pt x="112" y="52"/>
                  <a:pt x="112" y="52"/>
                </a:cubicBezTo>
                <a:cubicBezTo>
                  <a:pt x="107" y="41"/>
                  <a:pt x="98" y="32"/>
                  <a:pt x="87" y="28"/>
                </a:cubicBezTo>
                <a:cubicBezTo>
                  <a:pt x="82" y="27"/>
                  <a:pt x="76" y="26"/>
                  <a:pt x="71" y="26"/>
                </a:cubicBezTo>
                <a:close/>
              </a:path>
            </a:pathLst>
          </a:custGeom>
          <a:solidFill>
            <a:srgbClr val="1BAAB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189D7901-A1E9-4E29-B460-74092C8A2CE2}"/>
              </a:ext>
            </a:extLst>
          </p:cNvPr>
          <p:cNvGrpSpPr/>
          <p:nvPr/>
        </p:nvGrpSpPr>
        <p:grpSpPr>
          <a:xfrm>
            <a:off x="3923837" y="3659114"/>
            <a:ext cx="579771" cy="682947"/>
            <a:chOff x="404813" y="2386013"/>
            <a:chExt cx="785018" cy="924719"/>
          </a:xfrm>
          <a:solidFill>
            <a:srgbClr val="003763"/>
          </a:solidFill>
        </p:grpSpPr>
        <p:sp>
          <p:nvSpPr>
            <p:cNvPr id="38" name="Freeform 47">
              <a:extLst>
                <a:ext uri="{FF2B5EF4-FFF2-40B4-BE49-F238E27FC236}">
                  <a16:creationId xmlns:a16="http://schemas.microsoft.com/office/drawing/2014/main" id="{E66F8EF1-C974-4714-A91B-89D8257245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863" y="2644776"/>
              <a:ext cx="34925" cy="7938"/>
            </a:xfrm>
            <a:custGeom>
              <a:avLst/>
              <a:gdLst>
                <a:gd name="T0" fmla="*/ 9 w 9"/>
                <a:gd name="T1" fmla="*/ 0 h 2"/>
                <a:gd name="T2" fmla="*/ 4 w 9"/>
                <a:gd name="T3" fmla="*/ 0 h 2"/>
                <a:gd name="T4" fmla="*/ 0 w 9"/>
                <a:gd name="T5" fmla="*/ 0 h 2"/>
                <a:gd name="T6" fmla="*/ 4 w 9"/>
                <a:gd name="T7" fmla="*/ 2 h 2"/>
                <a:gd name="T8" fmla="*/ 9 w 9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2">
                  <a:moveTo>
                    <a:pt x="9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"/>
                    <a:pt x="4" y="2"/>
                    <a:pt x="4" y="2"/>
                  </a:cubicBezTo>
                  <a:cubicBezTo>
                    <a:pt x="4" y="2"/>
                    <a:pt x="7" y="1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9" name="Freeform 48">
              <a:extLst>
                <a:ext uri="{FF2B5EF4-FFF2-40B4-BE49-F238E27FC236}">
                  <a16:creationId xmlns:a16="http://schemas.microsoft.com/office/drawing/2014/main" id="{85A88908-9142-4267-B207-274B550905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625" y="2468563"/>
              <a:ext cx="25400" cy="7938"/>
            </a:xfrm>
            <a:custGeom>
              <a:avLst/>
              <a:gdLst>
                <a:gd name="T0" fmla="*/ 3 w 7"/>
                <a:gd name="T1" fmla="*/ 0 h 2"/>
                <a:gd name="T2" fmla="*/ 0 w 7"/>
                <a:gd name="T3" fmla="*/ 0 h 2"/>
                <a:gd name="T4" fmla="*/ 0 w 7"/>
                <a:gd name="T5" fmla="*/ 2 h 2"/>
                <a:gd name="T6" fmla="*/ 7 w 7"/>
                <a:gd name="T7" fmla="*/ 2 h 2"/>
                <a:gd name="T8" fmla="*/ 7 w 7"/>
                <a:gd name="T9" fmla="*/ 0 h 2"/>
                <a:gd name="T10" fmla="*/ 3 w 7"/>
                <a:gd name="T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2">
                  <a:moveTo>
                    <a:pt x="3" y="0"/>
                  </a:moveTo>
                  <a:cubicBezTo>
                    <a:pt x="3" y="0"/>
                    <a:pt x="2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0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0" name="Freeform 49">
              <a:extLst>
                <a:ext uri="{FF2B5EF4-FFF2-40B4-BE49-F238E27FC236}">
                  <a16:creationId xmlns:a16="http://schemas.microsoft.com/office/drawing/2014/main" id="{55540BAC-2233-4A0A-B531-A9D7BCE259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813" y="2655888"/>
              <a:ext cx="322262" cy="255588"/>
            </a:xfrm>
            <a:custGeom>
              <a:avLst/>
              <a:gdLst>
                <a:gd name="T0" fmla="*/ 59 w 86"/>
                <a:gd name="T1" fmla="*/ 0 h 68"/>
                <a:gd name="T2" fmla="*/ 58 w 86"/>
                <a:gd name="T3" fmla="*/ 0 h 68"/>
                <a:gd name="T4" fmla="*/ 43 w 86"/>
                <a:gd name="T5" fmla="*/ 24 h 68"/>
                <a:gd name="T6" fmla="*/ 28 w 86"/>
                <a:gd name="T7" fmla="*/ 0 h 68"/>
                <a:gd name="T8" fmla="*/ 28 w 86"/>
                <a:gd name="T9" fmla="*/ 0 h 68"/>
                <a:gd name="T10" fmla="*/ 0 w 86"/>
                <a:gd name="T11" fmla="*/ 28 h 68"/>
                <a:gd name="T12" fmla="*/ 0 w 86"/>
                <a:gd name="T13" fmla="*/ 40 h 68"/>
                <a:gd name="T14" fmla="*/ 28 w 86"/>
                <a:gd name="T15" fmla="*/ 68 h 68"/>
                <a:gd name="T16" fmla="*/ 59 w 86"/>
                <a:gd name="T17" fmla="*/ 68 h 68"/>
                <a:gd name="T18" fmla="*/ 86 w 86"/>
                <a:gd name="T19" fmla="*/ 40 h 68"/>
                <a:gd name="T20" fmla="*/ 86 w 86"/>
                <a:gd name="T21" fmla="*/ 28 h 68"/>
                <a:gd name="T22" fmla="*/ 59 w 86"/>
                <a:gd name="T23" fmla="*/ 0 h 68"/>
                <a:gd name="T24" fmla="*/ 72 w 86"/>
                <a:gd name="T25" fmla="*/ 44 h 68"/>
                <a:gd name="T26" fmla="*/ 54 w 86"/>
                <a:gd name="T27" fmla="*/ 51 h 68"/>
                <a:gd name="T28" fmla="*/ 54 w 86"/>
                <a:gd name="T29" fmla="*/ 33 h 68"/>
                <a:gd name="T30" fmla="*/ 72 w 86"/>
                <a:gd name="T31" fmla="*/ 26 h 68"/>
                <a:gd name="T32" fmla="*/ 72 w 86"/>
                <a:gd name="T33" fmla="*/ 4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6" h="68">
                  <a:moveTo>
                    <a:pt x="59" y="0"/>
                  </a:moveTo>
                  <a:cubicBezTo>
                    <a:pt x="58" y="0"/>
                    <a:pt x="58" y="0"/>
                    <a:pt x="58" y="0"/>
                  </a:cubicBezTo>
                  <a:cubicBezTo>
                    <a:pt x="58" y="3"/>
                    <a:pt x="55" y="15"/>
                    <a:pt x="43" y="24"/>
                  </a:cubicBezTo>
                  <a:cubicBezTo>
                    <a:pt x="31" y="15"/>
                    <a:pt x="29" y="3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3" y="0"/>
                    <a:pt x="0" y="12"/>
                    <a:pt x="0" y="28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55"/>
                    <a:pt x="13" y="68"/>
                    <a:pt x="28" y="68"/>
                  </a:cubicBezTo>
                  <a:cubicBezTo>
                    <a:pt x="59" y="68"/>
                    <a:pt x="59" y="68"/>
                    <a:pt x="59" y="68"/>
                  </a:cubicBezTo>
                  <a:cubicBezTo>
                    <a:pt x="74" y="68"/>
                    <a:pt x="86" y="55"/>
                    <a:pt x="86" y="40"/>
                  </a:cubicBezTo>
                  <a:cubicBezTo>
                    <a:pt x="86" y="28"/>
                    <a:pt x="86" y="28"/>
                    <a:pt x="86" y="28"/>
                  </a:cubicBezTo>
                  <a:cubicBezTo>
                    <a:pt x="86" y="12"/>
                    <a:pt x="74" y="0"/>
                    <a:pt x="59" y="0"/>
                  </a:cubicBezTo>
                  <a:close/>
                  <a:moveTo>
                    <a:pt x="72" y="44"/>
                  </a:moveTo>
                  <a:cubicBezTo>
                    <a:pt x="72" y="44"/>
                    <a:pt x="68" y="51"/>
                    <a:pt x="54" y="51"/>
                  </a:cubicBezTo>
                  <a:cubicBezTo>
                    <a:pt x="54" y="33"/>
                    <a:pt x="54" y="33"/>
                    <a:pt x="54" y="33"/>
                  </a:cubicBezTo>
                  <a:cubicBezTo>
                    <a:pt x="54" y="33"/>
                    <a:pt x="65" y="33"/>
                    <a:pt x="72" y="26"/>
                  </a:cubicBezTo>
                  <a:lnTo>
                    <a:pt x="72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1" name="Freeform 50">
              <a:extLst>
                <a:ext uri="{FF2B5EF4-FFF2-40B4-BE49-F238E27FC236}">
                  <a16:creationId xmlns:a16="http://schemas.microsoft.com/office/drawing/2014/main" id="{064908FF-D803-470E-BD3A-ECEAA7A212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0850" y="2386013"/>
              <a:ext cx="234950" cy="273050"/>
            </a:xfrm>
            <a:custGeom>
              <a:avLst/>
              <a:gdLst>
                <a:gd name="T0" fmla="*/ 63 w 63"/>
                <a:gd name="T1" fmla="*/ 44 h 73"/>
                <a:gd name="T2" fmla="*/ 60 w 63"/>
                <a:gd name="T3" fmla="*/ 27 h 73"/>
                <a:gd name="T4" fmla="*/ 55 w 63"/>
                <a:gd name="T5" fmla="*/ 23 h 73"/>
                <a:gd name="T6" fmla="*/ 58 w 63"/>
                <a:gd name="T7" fmla="*/ 14 h 73"/>
                <a:gd name="T8" fmla="*/ 33 w 63"/>
                <a:gd name="T9" fmla="*/ 0 h 73"/>
                <a:gd name="T10" fmla="*/ 31 w 63"/>
                <a:gd name="T11" fmla="*/ 0 h 73"/>
                <a:gd name="T12" fmla="*/ 30 w 63"/>
                <a:gd name="T13" fmla="*/ 0 h 73"/>
                <a:gd name="T14" fmla="*/ 5 w 63"/>
                <a:gd name="T15" fmla="*/ 14 h 73"/>
                <a:gd name="T16" fmla="*/ 8 w 63"/>
                <a:gd name="T17" fmla="*/ 23 h 73"/>
                <a:gd name="T18" fmla="*/ 3 w 63"/>
                <a:gd name="T19" fmla="*/ 27 h 73"/>
                <a:gd name="T20" fmla="*/ 0 w 63"/>
                <a:gd name="T21" fmla="*/ 44 h 73"/>
                <a:gd name="T22" fmla="*/ 6 w 63"/>
                <a:gd name="T23" fmla="*/ 63 h 73"/>
                <a:gd name="T24" fmla="*/ 21 w 63"/>
                <a:gd name="T25" fmla="*/ 68 h 73"/>
                <a:gd name="T26" fmla="*/ 27 w 63"/>
                <a:gd name="T27" fmla="*/ 72 h 73"/>
                <a:gd name="T28" fmla="*/ 31 w 63"/>
                <a:gd name="T29" fmla="*/ 73 h 73"/>
                <a:gd name="T30" fmla="*/ 36 w 63"/>
                <a:gd name="T31" fmla="*/ 72 h 73"/>
                <a:gd name="T32" fmla="*/ 42 w 63"/>
                <a:gd name="T33" fmla="*/ 68 h 73"/>
                <a:gd name="T34" fmla="*/ 57 w 63"/>
                <a:gd name="T35" fmla="*/ 63 h 73"/>
                <a:gd name="T36" fmla="*/ 63 w 63"/>
                <a:gd name="T37" fmla="*/ 44 h 73"/>
                <a:gd name="T38" fmla="*/ 28 w 63"/>
                <a:gd name="T39" fmla="*/ 5 h 73"/>
                <a:gd name="T40" fmla="*/ 28 w 63"/>
                <a:gd name="T41" fmla="*/ 10 h 73"/>
                <a:gd name="T42" fmla="*/ 21 w 63"/>
                <a:gd name="T43" fmla="*/ 10 h 73"/>
                <a:gd name="T44" fmla="*/ 21 w 63"/>
                <a:gd name="T45" fmla="*/ 17 h 73"/>
                <a:gd name="T46" fmla="*/ 28 w 63"/>
                <a:gd name="T47" fmla="*/ 17 h 73"/>
                <a:gd name="T48" fmla="*/ 28 w 63"/>
                <a:gd name="T49" fmla="*/ 22 h 73"/>
                <a:gd name="T50" fmla="*/ 13 w 63"/>
                <a:gd name="T51" fmla="*/ 28 h 73"/>
                <a:gd name="T52" fmla="*/ 9 w 63"/>
                <a:gd name="T53" fmla="*/ 15 h 73"/>
                <a:gd name="T54" fmla="*/ 28 w 63"/>
                <a:gd name="T55" fmla="*/ 5 h 73"/>
                <a:gd name="T56" fmla="*/ 31 w 63"/>
                <a:gd name="T57" fmla="*/ 67 h 73"/>
                <a:gd name="T58" fmla="*/ 11 w 63"/>
                <a:gd name="T59" fmla="*/ 42 h 73"/>
                <a:gd name="T60" fmla="*/ 24 w 63"/>
                <a:gd name="T61" fmla="*/ 41 h 73"/>
                <a:gd name="T62" fmla="*/ 37 w 63"/>
                <a:gd name="T63" fmla="*/ 33 h 73"/>
                <a:gd name="T64" fmla="*/ 52 w 63"/>
                <a:gd name="T65" fmla="*/ 41 h 73"/>
                <a:gd name="T66" fmla="*/ 52 w 63"/>
                <a:gd name="T67" fmla="*/ 41 h 73"/>
                <a:gd name="T68" fmla="*/ 31 w 63"/>
                <a:gd name="T69" fmla="*/ 67 h 73"/>
                <a:gd name="T70" fmla="*/ 49 w 63"/>
                <a:gd name="T71" fmla="*/ 28 h 73"/>
                <a:gd name="T72" fmla="*/ 35 w 63"/>
                <a:gd name="T73" fmla="*/ 22 h 73"/>
                <a:gd name="T74" fmla="*/ 35 w 63"/>
                <a:gd name="T75" fmla="*/ 17 h 73"/>
                <a:gd name="T76" fmla="*/ 41 w 63"/>
                <a:gd name="T77" fmla="*/ 17 h 73"/>
                <a:gd name="T78" fmla="*/ 41 w 63"/>
                <a:gd name="T79" fmla="*/ 10 h 73"/>
                <a:gd name="T80" fmla="*/ 35 w 63"/>
                <a:gd name="T81" fmla="*/ 10 h 73"/>
                <a:gd name="T82" fmla="*/ 35 w 63"/>
                <a:gd name="T83" fmla="*/ 5 h 73"/>
                <a:gd name="T84" fmla="*/ 54 w 63"/>
                <a:gd name="T85" fmla="*/ 15 h 73"/>
                <a:gd name="T86" fmla="*/ 49 w 63"/>
                <a:gd name="T87" fmla="*/ 28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3" h="73">
                  <a:moveTo>
                    <a:pt x="63" y="44"/>
                  </a:moveTo>
                  <a:cubicBezTo>
                    <a:pt x="63" y="39"/>
                    <a:pt x="62" y="31"/>
                    <a:pt x="60" y="27"/>
                  </a:cubicBezTo>
                  <a:cubicBezTo>
                    <a:pt x="59" y="26"/>
                    <a:pt x="57" y="24"/>
                    <a:pt x="55" y="23"/>
                  </a:cubicBezTo>
                  <a:cubicBezTo>
                    <a:pt x="58" y="14"/>
                    <a:pt x="58" y="14"/>
                    <a:pt x="58" y="14"/>
                  </a:cubicBezTo>
                  <a:cubicBezTo>
                    <a:pt x="47" y="3"/>
                    <a:pt x="34" y="0"/>
                    <a:pt x="33" y="0"/>
                  </a:cubicBezTo>
                  <a:cubicBezTo>
                    <a:pt x="32" y="0"/>
                    <a:pt x="31" y="0"/>
                    <a:pt x="31" y="0"/>
                  </a:cubicBezTo>
                  <a:cubicBezTo>
                    <a:pt x="31" y="0"/>
                    <a:pt x="30" y="0"/>
                    <a:pt x="30" y="0"/>
                  </a:cubicBezTo>
                  <a:cubicBezTo>
                    <a:pt x="29" y="0"/>
                    <a:pt x="16" y="3"/>
                    <a:pt x="5" y="14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5" y="24"/>
                    <a:pt x="4" y="26"/>
                    <a:pt x="3" y="27"/>
                  </a:cubicBezTo>
                  <a:cubicBezTo>
                    <a:pt x="1" y="31"/>
                    <a:pt x="0" y="39"/>
                    <a:pt x="0" y="44"/>
                  </a:cubicBezTo>
                  <a:cubicBezTo>
                    <a:pt x="0" y="50"/>
                    <a:pt x="0" y="56"/>
                    <a:pt x="6" y="63"/>
                  </a:cubicBezTo>
                  <a:cubicBezTo>
                    <a:pt x="12" y="69"/>
                    <a:pt x="21" y="68"/>
                    <a:pt x="21" y="68"/>
                  </a:cubicBezTo>
                  <a:cubicBezTo>
                    <a:pt x="22" y="69"/>
                    <a:pt x="24" y="71"/>
                    <a:pt x="27" y="72"/>
                  </a:cubicBezTo>
                  <a:cubicBezTo>
                    <a:pt x="29" y="72"/>
                    <a:pt x="31" y="73"/>
                    <a:pt x="31" y="73"/>
                  </a:cubicBezTo>
                  <a:cubicBezTo>
                    <a:pt x="31" y="73"/>
                    <a:pt x="34" y="72"/>
                    <a:pt x="36" y="72"/>
                  </a:cubicBezTo>
                  <a:cubicBezTo>
                    <a:pt x="38" y="71"/>
                    <a:pt x="41" y="69"/>
                    <a:pt x="42" y="68"/>
                  </a:cubicBezTo>
                  <a:cubicBezTo>
                    <a:pt x="42" y="68"/>
                    <a:pt x="50" y="69"/>
                    <a:pt x="57" y="63"/>
                  </a:cubicBezTo>
                  <a:cubicBezTo>
                    <a:pt x="63" y="56"/>
                    <a:pt x="63" y="50"/>
                    <a:pt x="63" y="44"/>
                  </a:cubicBezTo>
                  <a:close/>
                  <a:moveTo>
                    <a:pt x="28" y="5"/>
                  </a:moveTo>
                  <a:cubicBezTo>
                    <a:pt x="28" y="10"/>
                    <a:pt x="28" y="10"/>
                    <a:pt x="28" y="10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4" y="23"/>
                    <a:pt x="19" y="24"/>
                    <a:pt x="13" y="28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16" y="9"/>
                    <a:pt x="24" y="6"/>
                    <a:pt x="28" y="5"/>
                  </a:cubicBezTo>
                  <a:close/>
                  <a:moveTo>
                    <a:pt x="31" y="67"/>
                  </a:moveTo>
                  <a:cubicBezTo>
                    <a:pt x="17" y="67"/>
                    <a:pt x="11" y="42"/>
                    <a:pt x="11" y="42"/>
                  </a:cubicBezTo>
                  <a:cubicBezTo>
                    <a:pt x="11" y="42"/>
                    <a:pt x="18" y="43"/>
                    <a:pt x="24" y="41"/>
                  </a:cubicBezTo>
                  <a:cubicBezTo>
                    <a:pt x="31" y="40"/>
                    <a:pt x="37" y="33"/>
                    <a:pt x="37" y="33"/>
                  </a:cubicBezTo>
                  <a:cubicBezTo>
                    <a:pt x="40" y="41"/>
                    <a:pt x="50" y="41"/>
                    <a:pt x="52" y="41"/>
                  </a:cubicBezTo>
                  <a:cubicBezTo>
                    <a:pt x="52" y="41"/>
                    <a:pt x="52" y="41"/>
                    <a:pt x="52" y="41"/>
                  </a:cubicBezTo>
                  <a:cubicBezTo>
                    <a:pt x="52" y="41"/>
                    <a:pt x="45" y="67"/>
                    <a:pt x="31" y="67"/>
                  </a:cubicBezTo>
                  <a:close/>
                  <a:moveTo>
                    <a:pt x="49" y="28"/>
                  </a:moveTo>
                  <a:cubicBezTo>
                    <a:pt x="44" y="24"/>
                    <a:pt x="39" y="23"/>
                    <a:pt x="35" y="22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9" y="6"/>
                    <a:pt x="47" y="9"/>
                    <a:pt x="54" y="15"/>
                  </a:cubicBezTo>
                  <a:lnTo>
                    <a:pt x="4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2" name="Freeform 81">
              <a:extLst>
                <a:ext uri="{FF2B5EF4-FFF2-40B4-BE49-F238E27FC236}">
                  <a16:creationId xmlns:a16="http://schemas.microsoft.com/office/drawing/2014/main" id="{7F30A29A-B91F-4A60-9B30-F1AED8CD4AF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357" y="3056731"/>
              <a:ext cx="82550" cy="146050"/>
            </a:xfrm>
            <a:custGeom>
              <a:avLst/>
              <a:gdLst>
                <a:gd name="T0" fmla="*/ 11 w 22"/>
                <a:gd name="T1" fmla="*/ 39 h 39"/>
                <a:gd name="T2" fmla="*/ 15 w 22"/>
                <a:gd name="T3" fmla="*/ 11 h 39"/>
                <a:gd name="T4" fmla="*/ 17 w 22"/>
                <a:gd name="T5" fmla="*/ 6 h 39"/>
                <a:gd name="T6" fmla="*/ 11 w 22"/>
                <a:gd name="T7" fmla="*/ 0 h 39"/>
                <a:gd name="T8" fmla="*/ 5 w 22"/>
                <a:gd name="T9" fmla="*/ 6 h 39"/>
                <a:gd name="T10" fmla="*/ 8 w 22"/>
                <a:gd name="T11" fmla="*/ 11 h 39"/>
                <a:gd name="T12" fmla="*/ 11 w 22"/>
                <a:gd name="T1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39">
                  <a:moveTo>
                    <a:pt x="11" y="39"/>
                  </a:moveTo>
                  <a:cubicBezTo>
                    <a:pt x="22" y="20"/>
                    <a:pt x="16" y="13"/>
                    <a:pt x="15" y="11"/>
                  </a:cubicBezTo>
                  <a:cubicBezTo>
                    <a:pt x="16" y="10"/>
                    <a:pt x="17" y="8"/>
                    <a:pt x="17" y="6"/>
                  </a:cubicBezTo>
                  <a:cubicBezTo>
                    <a:pt x="17" y="3"/>
                    <a:pt x="15" y="0"/>
                    <a:pt x="11" y="0"/>
                  </a:cubicBezTo>
                  <a:cubicBezTo>
                    <a:pt x="8" y="0"/>
                    <a:pt x="5" y="3"/>
                    <a:pt x="5" y="6"/>
                  </a:cubicBezTo>
                  <a:cubicBezTo>
                    <a:pt x="5" y="8"/>
                    <a:pt x="6" y="10"/>
                    <a:pt x="8" y="11"/>
                  </a:cubicBezTo>
                  <a:cubicBezTo>
                    <a:pt x="7" y="13"/>
                    <a:pt x="0" y="20"/>
                    <a:pt x="11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3" name="Freeform 82">
              <a:extLst>
                <a:ext uri="{FF2B5EF4-FFF2-40B4-BE49-F238E27FC236}">
                  <a16:creationId xmlns:a16="http://schemas.microsoft.com/office/drawing/2014/main" id="{8F431BBD-B44D-4A2E-AE22-8A1C6B2FFE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8519" y="2782094"/>
              <a:ext cx="303212" cy="263525"/>
            </a:xfrm>
            <a:custGeom>
              <a:avLst/>
              <a:gdLst>
                <a:gd name="T0" fmla="*/ 7 w 81"/>
                <a:gd name="T1" fmla="*/ 44 h 70"/>
                <a:gd name="T2" fmla="*/ 18 w 81"/>
                <a:gd name="T3" fmla="*/ 61 h 70"/>
                <a:gd name="T4" fmla="*/ 37 w 81"/>
                <a:gd name="T5" fmla="*/ 70 h 70"/>
                <a:gd name="T6" fmla="*/ 56 w 81"/>
                <a:gd name="T7" fmla="*/ 61 h 70"/>
                <a:gd name="T8" fmla="*/ 66 w 81"/>
                <a:gd name="T9" fmla="*/ 44 h 70"/>
                <a:gd name="T10" fmla="*/ 68 w 81"/>
                <a:gd name="T11" fmla="*/ 43 h 70"/>
                <a:gd name="T12" fmla="*/ 41 w 81"/>
                <a:gd name="T13" fmla="*/ 1 h 70"/>
                <a:gd name="T14" fmla="*/ 15 w 81"/>
                <a:gd name="T15" fmla="*/ 9 h 70"/>
                <a:gd name="T16" fmla="*/ 5 w 81"/>
                <a:gd name="T17" fmla="*/ 43 h 70"/>
                <a:gd name="T18" fmla="*/ 7 w 81"/>
                <a:gd name="T19" fmla="*/ 44 h 70"/>
                <a:gd name="T20" fmla="*/ 22 w 81"/>
                <a:gd name="T21" fmla="*/ 19 h 70"/>
                <a:gd name="T22" fmla="*/ 50 w 81"/>
                <a:gd name="T23" fmla="*/ 20 h 70"/>
                <a:gd name="T24" fmla="*/ 63 w 81"/>
                <a:gd name="T25" fmla="*/ 40 h 70"/>
                <a:gd name="T26" fmla="*/ 37 w 81"/>
                <a:gd name="T27" fmla="*/ 66 h 70"/>
                <a:gd name="T28" fmla="*/ 11 w 81"/>
                <a:gd name="T29" fmla="*/ 40 h 70"/>
                <a:gd name="T30" fmla="*/ 22 w 81"/>
                <a:gd name="T31" fmla="*/ 1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1" h="70">
                  <a:moveTo>
                    <a:pt x="7" y="44"/>
                  </a:moveTo>
                  <a:cubicBezTo>
                    <a:pt x="9" y="52"/>
                    <a:pt x="14" y="58"/>
                    <a:pt x="18" y="61"/>
                  </a:cubicBezTo>
                  <a:cubicBezTo>
                    <a:pt x="24" y="67"/>
                    <a:pt x="32" y="70"/>
                    <a:pt x="37" y="70"/>
                  </a:cubicBezTo>
                  <a:cubicBezTo>
                    <a:pt x="42" y="70"/>
                    <a:pt x="50" y="67"/>
                    <a:pt x="56" y="61"/>
                  </a:cubicBezTo>
                  <a:cubicBezTo>
                    <a:pt x="62" y="56"/>
                    <a:pt x="65" y="50"/>
                    <a:pt x="66" y="44"/>
                  </a:cubicBezTo>
                  <a:cubicBezTo>
                    <a:pt x="67" y="44"/>
                    <a:pt x="67" y="44"/>
                    <a:pt x="68" y="43"/>
                  </a:cubicBezTo>
                  <a:cubicBezTo>
                    <a:pt x="68" y="43"/>
                    <a:pt x="81" y="2"/>
                    <a:pt x="41" y="1"/>
                  </a:cubicBezTo>
                  <a:cubicBezTo>
                    <a:pt x="23" y="0"/>
                    <a:pt x="15" y="4"/>
                    <a:pt x="15" y="9"/>
                  </a:cubicBezTo>
                  <a:cubicBezTo>
                    <a:pt x="11" y="9"/>
                    <a:pt x="0" y="13"/>
                    <a:pt x="5" y="43"/>
                  </a:cubicBezTo>
                  <a:cubicBezTo>
                    <a:pt x="5" y="43"/>
                    <a:pt x="6" y="45"/>
                    <a:pt x="7" y="44"/>
                  </a:cubicBezTo>
                  <a:close/>
                  <a:moveTo>
                    <a:pt x="22" y="19"/>
                  </a:moveTo>
                  <a:cubicBezTo>
                    <a:pt x="29" y="22"/>
                    <a:pt x="34" y="18"/>
                    <a:pt x="50" y="20"/>
                  </a:cubicBezTo>
                  <a:cubicBezTo>
                    <a:pt x="59" y="20"/>
                    <a:pt x="63" y="31"/>
                    <a:pt x="63" y="40"/>
                  </a:cubicBezTo>
                  <a:cubicBezTo>
                    <a:pt x="63" y="54"/>
                    <a:pt x="45" y="66"/>
                    <a:pt x="37" y="66"/>
                  </a:cubicBezTo>
                  <a:cubicBezTo>
                    <a:pt x="29" y="66"/>
                    <a:pt x="11" y="54"/>
                    <a:pt x="11" y="40"/>
                  </a:cubicBezTo>
                  <a:cubicBezTo>
                    <a:pt x="11" y="31"/>
                    <a:pt x="15" y="23"/>
                    <a:pt x="22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4" name="Freeform 83">
              <a:extLst>
                <a:ext uri="{FF2B5EF4-FFF2-40B4-BE49-F238E27FC236}">
                  <a16:creationId xmlns:a16="http://schemas.microsoft.com/office/drawing/2014/main" id="{BB49C385-BC27-4AA9-BE38-38E697431C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8194" y="3048794"/>
              <a:ext cx="401637" cy="261938"/>
            </a:xfrm>
            <a:custGeom>
              <a:avLst/>
              <a:gdLst>
                <a:gd name="T0" fmla="*/ 86 w 107"/>
                <a:gd name="T1" fmla="*/ 0 h 70"/>
                <a:gd name="T2" fmla="*/ 83 w 107"/>
                <a:gd name="T3" fmla="*/ 0 h 70"/>
                <a:gd name="T4" fmla="*/ 89 w 107"/>
                <a:gd name="T5" fmla="*/ 30 h 70"/>
                <a:gd name="T6" fmla="*/ 96 w 107"/>
                <a:gd name="T7" fmla="*/ 39 h 70"/>
                <a:gd name="T8" fmla="*/ 101 w 107"/>
                <a:gd name="T9" fmla="*/ 46 h 70"/>
                <a:gd name="T10" fmla="*/ 93 w 107"/>
                <a:gd name="T11" fmla="*/ 53 h 70"/>
                <a:gd name="T12" fmla="*/ 86 w 107"/>
                <a:gd name="T13" fmla="*/ 46 h 70"/>
                <a:gd name="T14" fmla="*/ 92 w 107"/>
                <a:gd name="T15" fmla="*/ 38 h 70"/>
                <a:gd name="T16" fmla="*/ 85 w 107"/>
                <a:gd name="T17" fmla="*/ 33 h 70"/>
                <a:gd name="T18" fmla="*/ 76 w 107"/>
                <a:gd name="T19" fmla="*/ 34 h 70"/>
                <a:gd name="T20" fmla="*/ 78 w 107"/>
                <a:gd name="T21" fmla="*/ 39 h 70"/>
                <a:gd name="T22" fmla="*/ 71 w 107"/>
                <a:gd name="T23" fmla="*/ 47 h 70"/>
                <a:gd name="T24" fmla="*/ 63 w 107"/>
                <a:gd name="T25" fmla="*/ 39 h 70"/>
                <a:gd name="T26" fmla="*/ 71 w 107"/>
                <a:gd name="T27" fmla="*/ 32 h 70"/>
                <a:gd name="T28" fmla="*/ 73 w 107"/>
                <a:gd name="T29" fmla="*/ 32 h 70"/>
                <a:gd name="T30" fmla="*/ 85 w 107"/>
                <a:gd name="T31" fmla="*/ 28 h 70"/>
                <a:gd name="T32" fmla="*/ 76 w 107"/>
                <a:gd name="T33" fmla="*/ 0 h 70"/>
                <a:gd name="T34" fmla="*/ 73 w 107"/>
                <a:gd name="T35" fmla="*/ 0 h 70"/>
                <a:gd name="T36" fmla="*/ 53 w 107"/>
                <a:gd name="T37" fmla="*/ 52 h 70"/>
                <a:gd name="T38" fmla="*/ 34 w 107"/>
                <a:gd name="T39" fmla="*/ 0 h 70"/>
                <a:gd name="T40" fmla="*/ 32 w 107"/>
                <a:gd name="T41" fmla="*/ 0 h 70"/>
                <a:gd name="T42" fmla="*/ 23 w 107"/>
                <a:gd name="T43" fmla="*/ 30 h 70"/>
                <a:gd name="T44" fmla="*/ 20 w 107"/>
                <a:gd name="T45" fmla="*/ 32 h 70"/>
                <a:gd name="T46" fmla="*/ 25 w 107"/>
                <a:gd name="T47" fmla="*/ 0 h 70"/>
                <a:gd name="T48" fmla="*/ 22 w 107"/>
                <a:gd name="T49" fmla="*/ 0 h 70"/>
                <a:gd name="T50" fmla="*/ 17 w 107"/>
                <a:gd name="T51" fmla="*/ 1 h 70"/>
                <a:gd name="T52" fmla="*/ 0 w 107"/>
                <a:gd name="T53" fmla="*/ 24 h 70"/>
                <a:gd name="T54" fmla="*/ 0 w 107"/>
                <a:gd name="T55" fmla="*/ 45 h 70"/>
                <a:gd name="T56" fmla="*/ 26 w 107"/>
                <a:gd name="T57" fmla="*/ 70 h 70"/>
                <a:gd name="T58" fmla="*/ 80 w 107"/>
                <a:gd name="T59" fmla="*/ 70 h 70"/>
                <a:gd name="T60" fmla="*/ 107 w 107"/>
                <a:gd name="T61" fmla="*/ 45 h 70"/>
                <a:gd name="T62" fmla="*/ 107 w 107"/>
                <a:gd name="T63" fmla="*/ 24 h 70"/>
                <a:gd name="T64" fmla="*/ 86 w 107"/>
                <a:gd name="T65" fmla="*/ 0 h 70"/>
                <a:gd name="T66" fmla="*/ 29 w 107"/>
                <a:gd name="T67" fmla="*/ 56 h 70"/>
                <a:gd name="T68" fmla="*/ 18 w 107"/>
                <a:gd name="T69" fmla="*/ 45 h 70"/>
                <a:gd name="T70" fmla="*/ 29 w 107"/>
                <a:gd name="T71" fmla="*/ 34 h 70"/>
                <a:gd name="T72" fmla="*/ 40 w 107"/>
                <a:gd name="T73" fmla="*/ 45 h 70"/>
                <a:gd name="T74" fmla="*/ 29 w 107"/>
                <a:gd name="T75" fmla="*/ 56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7" h="70">
                  <a:moveTo>
                    <a:pt x="86" y="0"/>
                  </a:moveTo>
                  <a:cubicBezTo>
                    <a:pt x="83" y="0"/>
                    <a:pt x="83" y="0"/>
                    <a:pt x="83" y="0"/>
                  </a:cubicBezTo>
                  <a:cubicBezTo>
                    <a:pt x="91" y="8"/>
                    <a:pt x="93" y="19"/>
                    <a:pt x="89" y="30"/>
                  </a:cubicBezTo>
                  <a:cubicBezTo>
                    <a:pt x="93" y="32"/>
                    <a:pt x="95" y="35"/>
                    <a:pt x="96" y="39"/>
                  </a:cubicBezTo>
                  <a:cubicBezTo>
                    <a:pt x="99" y="40"/>
                    <a:pt x="101" y="42"/>
                    <a:pt x="101" y="46"/>
                  </a:cubicBezTo>
                  <a:cubicBezTo>
                    <a:pt x="101" y="50"/>
                    <a:pt x="98" y="53"/>
                    <a:pt x="93" y="53"/>
                  </a:cubicBezTo>
                  <a:cubicBezTo>
                    <a:pt x="89" y="53"/>
                    <a:pt x="86" y="50"/>
                    <a:pt x="86" y="46"/>
                  </a:cubicBezTo>
                  <a:cubicBezTo>
                    <a:pt x="86" y="42"/>
                    <a:pt x="89" y="39"/>
                    <a:pt x="92" y="38"/>
                  </a:cubicBezTo>
                  <a:cubicBezTo>
                    <a:pt x="91" y="36"/>
                    <a:pt x="88" y="33"/>
                    <a:pt x="85" y="33"/>
                  </a:cubicBezTo>
                  <a:cubicBezTo>
                    <a:pt x="82" y="32"/>
                    <a:pt x="79" y="32"/>
                    <a:pt x="76" y="34"/>
                  </a:cubicBezTo>
                  <a:cubicBezTo>
                    <a:pt x="78" y="36"/>
                    <a:pt x="78" y="37"/>
                    <a:pt x="78" y="39"/>
                  </a:cubicBezTo>
                  <a:cubicBezTo>
                    <a:pt x="78" y="43"/>
                    <a:pt x="75" y="47"/>
                    <a:pt x="71" y="47"/>
                  </a:cubicBezTo>
                  <a:cubicBezTo>
                    <a:pt x="67" y="47"/>
                    <a:pt x="63" y="43"/>
                    <a:pt x="63" y="39"/>
                  </a:cubicBezTo>
                  <a:cubicBezTo>
                    <a:pt x="63" y="35"/>
                    <a:pt x="67" y="32"/>
                    <a:pt x="71" y="32"/>
                  </a:cubicBezTo>
                  <a:cubicBezTo>
                    <a:pt x="71" y="32"/>
                    <a:pt x="72" y="32"/>
                    <a:pt x="73" y="32"/>
                  </a:cubicBezTo>
                  <a:cubicBezTo>
                    <a:pt x="76" y="29"/>
                    <a:pt x="81" y="28"/>
                    <a:pt x="85" y="28"/>
                  </a:cubicBezTo>
                  <a:cubicBezTo>
                    <a:pt x="90" y="18"/>
                    <a:pt x="86" y="6"/>
                    <a:pt x="76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53" y="52"/>
                    <a:pt x="53" y="52"/>
                    <a:pt x="53" y="52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21" y="6"/>
                    <a:pt x="17" y="20"/>
                    <a:pt x="23" y="30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14" y="21"/>
                    <a:pt x="16" y="8"/>
                    <a:pt x="25" y="0"/>
                  </a:cubicBezTo>
                  <a:cubicBezTo>
                    <a:pt x="24" y="0"/>
                    <a:pt x="23" y="0"/>
                    <a:pt x="22" y="0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7" y="5"/>
                    <a:pt x="0" y="14"/>
                    <a:pt x="0" y="24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59"/>
                    <a:pt x="12" y="70"/>
                    <a:pt x="26" y="70"/>
                  </a:cubicBezTo>
                  <a:cubicBezTo>
                    <a:pt x="80" y="70"/>
                    <a:pt x="80" y="70"/>
                    <a:pt x="80" y="70"/>
                  </a:cubicBezTo>
                  <a:cubicBezTo>
                    <a:pt x="95" y="70"/>
                    <a:pt x="107" y="59"/>
                    <a:pt x="107" y="45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07" y="13"/>
                    <a:pt x="98" y="3"/>
                    <a:pt x="86" y="0"/>
                  </a:cubicBezTo>
                  <a:close/>
                  <a:moveTo>
                    <a:pt x="29" y="56"/>
                  </a:moveTo>
                  <a:cubicBezTo>
                    <a:pt x="23" y="56"/>
                    <a:pt x="18" y="51"/>
                    <a:pt x="18" y="45"/>
                  </a:cubicBezTo>
                  <a:cubicBezTo>
                    <a:pt x="18" y="39"/>
                    <a:pt x="23" y="34"/>
                    <a:pt x="29" y="34"/>
                  </a:cubicBezTo>
                  <a:cubicBezTo>
                    <a:pt x="35" y="34"/>
                    <a:pt x="40" y="39"/>
                    <a:pt x="40" y="45"/>
                  </a:cubicBezTo>
                  <a:cubicBezTo>
                    <a:pt x="40" y="51"/>
                    <a:pt x="35" y="56"/>
                    <a:pt x="29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5" name="Oval 84">
              <a:extLst>
                <a:ext uri="{FF2B5EF4-FFF2-40B4-BE49-F238E27FC236}">
                  <a16:creationId xmlns:a16="http://schemas.microsoft.com/office/drawing/2014/main" id="{CA609A99-DB02-40CB-B721-9FF09532C4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0744" y="3191669"/>
              <a:ext cx="52387" cy="523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6" name="Freeform 238">
              <a:extLst>
                <a:ext uri="{FF2B5EF4-FFF2-40B4-BE49-F238E27FC236}">
                  <a16:creationId xmlns:a16="http://schemas.microsoft.com/office/drawing/2014/main" id="{496A911B-B2D4-46C4-A108-F09B408C8E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649" y="2948718"/>
              <a:ext cx="207963" cy="233363"/>
            </a:xfrm>
            <a:custGeom>
              <a:avLst/>
              <a:gdLst>
                <a:gd name="T0" fmla="*/ 25 w 61"/>
                <a:gd name="T1" fmla="*/ 19 h 69"/>
                <a:gd name="T2" fmla="*/ 37 w 61"/>
                <a:gd name="T3" fmla="*/ 19 h 69"/>
                <a:gd name="T4" fmla="*/ 19 w 61"/>
                <a:gd name="T5" fmla="*/ 0 h 69"/>
                <a:gd name="T6" fmla="*/ 0 w 61"/>
                <a:gd name="T7" fmla="*/ 19 h 69"/>
                <a:gd name="T8" fmla="*/ 12 w 61"/>
                <a:gd name="T9" fmla="*/ 19 h 69"/>
                <a:gd name="T10" fmla="*/ 59 w 61"/>
                <a:gd name="T11" fmla="*/ 69 h 69"/>
                <a:gd name="T12" fmla="*/ 61 w 61"/>
                <a:gd name="T13" fmla="*/ 56 h 69"/>
                <a:gd name="T14" fmla="*/ 25 w 61"/>
                <a:gd name="T15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69">
                  <a:moveTo>
                    <a:pt x="25" y="19"/>
                  </a:moveTo>
                  <a:cubicBezTo>
                    <a:pt x="37" y="19"/>
                    <a:pt x="37" y="19"/>
                    <a:pt x="37" y="19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4" y="44"/>
                    <a:pt x="34" y="65"/>
                    <a:pt x="59" y="69"/>
                  </a:cubicBezTo>
                  <a:cubicBezTo>
                    <a:pt x="61" y="56"/>
                    <a:pt x="61" y="56"/>
                    <a:pt x="61" y="56"/>
                  </a:cubicBezTo>
                  <a:cubicBezTo>
                    <a:pt x="42" y="53"/>
                    <a:pt x="27" y="38"/>
                    <a:pt x="25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7" name="Freeform 239">
              <a:extLst>
                <a:ext uri="{FF2B5EF4-FFF2-40B4-BE49-F238E27FC236}">
                  <a16:creationId xmlns:a16="http://schemas.microsoft.com/office/drawing/2014/main" id="{7625BE82-FBAF-49AA-B675-83C22CA84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350" y="2522538"/>
              <a:ext cx="203200" cy="230188"/>
            </a:xfrm>
            <a:custGeom>
              <a:avLst/>
              <a:gdLst>
                <a:gd name="T0" fmla="*/ 49 w 60"/>
                <a:gd name="T1" fmla="*/ 50 h 68"/>
                <a:gd name="T2" fmla="*/ 2 w 60"/>
                <a:gd name="T3" fmla="*/ 0 h 68"/>
                <a:gd name="T4" fmla="*/ 0 w 60"/>
                <a:gd name="T5" fmla="*/ 13 h 68"/>
                <a:gd name="T6" fmla="*/ 36 w 60"/>
                <a:gd name="T7" fmla="*/ 50 h 68"/>
                <a:gd name="T8" fmla="*/ 23 w 60"/>
                <a:gd name="T9" fmla="*/ 50 h 68"/>
                <a:gd name="T10" fmla="*/ 42 w 60"/>
                <a:gd name="T11" fmla="*/ 68 h 68"/>
                <a:gd name="T12" fmla="*/ 60 w 60"/>
                <a:gd name="T13" fmla="*/ 50 h 68"/>
                <a:gd name="T14" fmla="*/ 49 w 60"/>
                <a:gd name="T15" fmla="*/ 5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68">
                  <a:moveTo>
                    <a:pt x="49" y="50"/>
                  </a:moveTo>
                  <a:cubicBezTo>
                    <a:pt x="46" y="25"/>
                    <a:pt x="27" y="5"/>
                    <a:pt x="2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9" y="16"/>
                    <a:pt x="33" y="31"/>
                    <a:pt x="36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42" y="68"/>
                    <a:pt x="42" y="68"/>
                    <a:pt x="42" y="68"/>
                  </a:cubicBezTo>
                  <a:cubicBezTo>
                    <a:pt x="60" y="50"/>
                    <a:pt x="60" y="50"/>
                    <a:pt x="60" y="50"/>
                  </a:cubicBezTo>
                  <a:lnTo>
                    <a:pt x="49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48" name="Freeform 5">
            <a:extLst>
              <a:ext uri="{FF2B5EF4-FFF2-40B4-BE49-F238E27FC236}">
                <a16:creationId xmlns:a16="http://schemas.microsoft.com/office/drawing/2014/main" id="{B34E2578-8599-4D75-93E9-DD6E6A7F4681}"/>
              </a:ext>
            </a:extLst>
          </p:cNvPr>
          <p:cNvSpPr>
            <a:spLocks noEditPoints="1"/>
          </p:cNvSpPr>
          <p:nvPr/>
        </p:nvSpPr>
        <p:spPr bwMode="auto">
          <a:xfrm>
            <a:off x="6403076" y="3864229"/>
            <a:ext cx="609764" cy="449604"/>
          </a:xfrm>
          <a:custGeom>
            <a:avLst/>
            <a:gdLst>
              <a:gd name="T0" fmla="*/ 37 w 248"/>
              <a:gd name="T1" fmla="*/ 16 h 183"/>
              <a:gd name="T2" fmla="*/ 20 w 248"/>
              <a:gd name="T3" fmla="*/ 97 h 183"/>
              <a:gd name="T4" fmla="*/ 0 w 248"/>
              <a:gd name="T5" fmla="*/ 167 h 183"/>
              <a:gd name="T6" fmla="*/ 9 w 248"/>
              <a:gd name="T7" fmla="*/ 144 h 183"/>
              <a:gd name="T8" fmla="*/ 35 w 248"/>
              <a:gd name="T9" fmla="*/ 96 h 183"/>
              <a:gd name="T10" fmla="*/ 37 w 248"/>
              <a:gd name="T11" fmla="*/ 127 h 183"/>
              <a:gd name="T12" fmla="*/ 63 w 248"/>
              <a:gd name="T13" fmla="*/ 110 h 183"/>
              <a:gd name="T14" fmla="*/ 67 w 248"/>
              <a:gd name="T15" fmla="*/ 113 h 183"/>
              <a:gd name="T16" fmla="*/ 50 w 248"/>
              <a:gd name="T17" fmla="*/ 138 h 183"/>
              <a:gd name="T18" fmla="*/ 32 w 248"/>
              <a:gd name="T19" fmla="*/ 156 h 183"/>
              <a:gd name="T20" fmla="*/ 33 w 248"/>
              <a:gd name="T21" fmla="*/ 167 h 183"/>
              <a:gd name="T22" fmla="*/ 47 w 248"/>
              <a:gd name="T23" fmla="*/ 153 h 183"/>
              <a:gd name="T24" fmla="*/ 170 w 248"/>
              <a:gd name="T25" fmla="*/ 135 h 183"/>
              <a:gd name="T26" fmla="*/ 170 w 248"/>
              <a:gd name="T27" fmla="*/ 148 h 183"/>
              <a:gd name="T28" fmla="*/ 205 w 248"/>
              <a:gd name="T29" fmla="*/ 183 h 183"/>
              <a:gd name="T30" fmla="*/ 210 w 248"/>
              <a:gd name="T31" fmla="*/ 181 h 183"/>
              <a:gd name="T32" fmla="*/ 204 w 248"/>
              <a:gd name="T33" fmla="*/ 172 h 183"/>
              <a:gd name="T34" fmla="*/ 175 w 248"/>
              <a:gd name="T35" fmla="*/ 139 h 183"/>
              <a:gd name="T36" fmla="*/ 186 w 248"/>
              <a:gd name="T37" fmla="*/ 143 h 183"/>
              <a:gd name="T38" fmla="*/ 169 w 248"/>
              <a:gd name="T39" fmla="*/ 94 h 183"/>
              <a:gd name="T40" fmla="*/ 191 w 248"/>
              <a:gd name="T41" fmla="*/ 123 h 183"/>
              <a:gd name="T42" fmla="*/ 193 w 248"/>
              <a:gd name="T43" fmla="*/ 113 h 183"/>
              <a:gd name="T44" fmla="*/ 200 w 248"/>
              <a:gd name="T45" fmla="*/ 120 h 183"/>
              <a:gd name="T46" fmla="*/ 204 w 248"/>
              <a:gd name="T47" fmla="*/ 106 h 183"/>
              <a:gd name="T48" fmla="*/ 216 w 248"/>
              <a:gd name="T49" fmla="*/ 116 h 183"/>
              <a:gd name="T50" fmla="*/ 215 w 248"/>
              <a:gd name="T51" fmla="*/ 107 h 183"/>
              <a:gd name="T52" fmla="*/ 233 w 248"/>
              <a:gd name="T53" fmla="*/ 155 h 183"/>
              <a:gd name="T54" fmla="*/ 236 w 248"/>
              <a:gd name="T55" fmla="*/ 167 h 183"/>
              <a:gd name="T56" fmla="*/ 239 w 248"/>
              <a:gd name="T57" fmla="*/ 156 h 183"/>
              <a:gd name="T58" fmla="*/ 248 w 248"/>
              <a:gd name="T59" fmla="*/ 118 h 183"/>
              <a:gd name="T60" fmla="*/ 231 w 248"/>
              <a:gd name="T61" fmla="*/ 0 h 183"/>
              <a:gd name="T62" fmla="*/ 149 w 248"/>
              <a:gd name="T63" fmla="*/ 92 h 183"/>
              <a:gd name="T64" fmla="*/ 119 w 248"/>
              <a:gd name="T65" fmla="*/ 76 h 183"/>
              <a:gd name="T66" fmla="*/ 135 w 248"/>
              <a:gd name="T67" fmla="*/ 47 h 183"/>
              <a:gd name="T68" fmla="*/ 165 w 248"/>
              <a:gd name="T69" fmla="*/ 62 h 183"/>
              <a:gd name="T70" fmla="*/ 183 w 248"/>
              <a:gd name="T71" fmla="*/ 103 h 183"/>
              <a:gd name="T72" fmla="*/ 197 w 248"/>
              <a:gd name="T73" fmla="*/ 103 h 183"/>
              <a:gd name="T74" fmla="*/ 221 w 248"/>
              <a:gd name="T75" fmla="*/ 104 h 183"/>
              <a:gd name="T76" fmla="*/ 208 w 248"/>
              <a:gd name="T77" fmla="*/ 101 h 183"/>
              <a:gd name="T78" fmla="*/ 123 w 248"/>
              <a:gd name="T79" fmla="*/ 33 h 183"/>
              <a:gd name="T80" fmla="*/ 84 w 248"/>
              <a:gd name="T81" fmla="*/ 33 h 183"/>
              <a:gd name="T82" fmla="*/ 161 w 248"/>
              <a:gd name="T83" fmla="*/ 105 h 183"/>
              <a:gd name="T84" fmla="*/ 67 w 248"/>
              <a:gd name="T85" fmla="*/ 123 h 183"/>
              <a:gd name="T86" fmla="*/ 73 w 248"/>
              <a:gd name="T87" fmla="*/ 113 h 183"/>
              <a:gd name="T88" fmla="*/ 63 w 248"/>
              <a:gd name="T89" fmla="*/ 104 h 183"/>
              <a:gd name="T90" fmla="*/ 228 w 248"/>
              <a:gd name="T91" fmla="*/ 10 h 183"/>
              <a:gd name="T92" fmla="*/ 235 w 248"/>
              <a:gd name="T93" fmla="*/ 69 h 183"/>
              <a:gd name="T94" fmla="*/ 239 w 248"/>
              <a:gd name="T95" fmla="*/ 73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48" h="183">
                <a:moveTo>
                  <a:pt x="231" y="0"/>
                </a:moveTo>
                <a:cubicBezTo>
                  <a:pt x="53" y="0"/>
                  <a:pt x="53" y="0"/>
                  <a:pt x="53" y="0"/>
                </a:cubicBezTo>
                <a:cubicBezTo>
                  <a:pt x="44" y="0"/>
                  <a:pt x="37" y="7"/>
                  <a:pt x="37" y="16"/>
                </a:cubicBezTo>
                <a:cubicBezTo>
                  <a:pt x="37" y="17"/>
                  <a:pt x="37" y="17"/>
                  <a:pt x="37" y="17"/>
                </a:cubicBezTo>
                <a:cubicBezTo>
                  <a:pt x="37" y="88"/>
                  <a:pt x="37" y="88"/>
                  <a:pt x="37" y="88"/>
                </a:cubicBezTo>
                <a:cubicBezTo>
                  <a:pt x="33" y="90"/>
                  <a:pt x="25" y="94"/>
                  <a:pt x="20" y="97"/>
                </a:cubicBezTo>
                <a:cubicBezTo>
                  <a:pt x="19" y="97"/>
                  <a:pt x="17" y="99"/>
                  <a:pt x="16" y="100"/>
                </a:cubicBezTo>
                <a:cubicBezTo>
                  <a:pt x="13" y="105"/>
                  <a:pt x="5" y="126"/>
                  <a:pt x="3" y="143"/>
                </a:cubicBezTo>
                <a:cubicBezTo>
                  <a:pt x="2" y="146"/>
                  <a:pt x="0" y="162"/>
                  <a:pt x="0" y="167"/>
                </a:cubicBezTo>
                <a:cubicBezTo>
                  <a:pt x="6" y="167"/>
                  <a:pt x="6" y="167"/>
                  <a:pt x="6" y="167"/>
                </a:cubicBezTo>
                <a:cubicBezTo>
                  <a:pt x="6" y="165"/>
                  <a:pt x="7" y="163"/>
                  <a:pt x="7" y="160"/>
                </a:cubicBezTo>
                <a:cubicBezTo>
                  <a:pt x="8" y="153"/>
                  <a:pt x="8" y="146"/>
                  <a:pt x="9" y="144"/>
                </a:cubicBezTo>
                <a:cubicBezTo>
                  <a:pt x="11" y="128"/>
                  <a:pt x="19" y="107"/>
                  <a:pt x="21" y="104"/>
                </a:cubicBezTo>
                <a:cubicBezTo>
                  <a:pt x="22" y="103"/>
                  <a:pt x="23" y="102"/>
                  <a:pt x="23" y="102"/>
                </a:cubicBezTo>
                <a:cubicBezTo>
                  <a:pt x="27" y="100"/>
                  <a:pt x="32" y="98"/>
                  <a:pt x="35" y="96"/>
                </a:cubicBezTo>
                <a:cubicBezTo>
                  <a:pt x="36" y="96"/>
                  <a:pt x="36" y="96"/>
                  <a:pt x="37" y="95"/>
                </a:cubicBezTo>
                <a:cubicBezTo>
                  <a:pt x="37" y="119"/>
                  <a:pt x="37" y="119"/>
                  <a:pt x="37" y="119"/>
                </a:cubicBezTo>
                <a:cubicBezTo>
                  <a:pt x="37" y="120"/>
                  <a:pt x="37" y="127"/>
                  <a:pt x="37" y="127"/>
                </a:cubicBezTo>
                <a:cubicBezTo>
                  <a:pt x="37" y="127"/>
                  <a:pt x="41" y="126"/>
                  <a:pt x="45" y="123"/>
                </a:cubicBezTo>
                <a:cubicBezTo>
                  <a:pt x="50" y="120"/>
                  <a:pt x="54" y="115"/>
                  <a:pt x="56" y="112"/>
                </a:cubicBezTo>
                <a:cubicBezTo>
                  <a:pt x="58" y="110"/>
                  <a:pt x="60" y="109"/>
                  <a:pt x="63" y="110"/>
                </a:cubicBezTo>
                <a:cubicBezTo>
                  <a:pt x="64" y="110"/>
                  <a:pt x="66" y="111"/>
                  <a:pt x="67" y="112"/>
                </a:cubicBezTo>
                <a:cubicBezTo>
                  <a:pt x="67" y="112"/>
                  <a:pt x="67" y="113"/>
                  <a:pt x="67" y="113"/>
                </a:cubicBezTo>
                <a:cubicBezTo>
                  <a:pt x="67" y="113"/>
                  <a:pt x="67" y="113"/>
                  <a:pt x="67" y="113"/>
                </a:cubicBezTo>
                <a:cubicBezTo>
                  <a:pt x="67" y="114"/>
                  <a:pt x="66" y="115"/>
                  <a:pt x="64" y="116"/>
                </a:cubicBezTo>
                <a:cubicBezTo>
                  <a:pt x="64" y="117"/>
                  <a:pt x="63" y="118"/>
                  <a:pt x="62" y="119"/>
                </a:cubicBezTo>
                <a:cubicBezTo>
                  <a:pt x="56" y="127"/>
                  <a:pt x="52" y="133"/>
                  <a:pt x="50" y="138"/>
                </a:cubicBezTo>
                <a:cubicBezTo>
                  <a:pt x="48" y="143"/>
                  <a:pt x="46" y="145"/>
                  <a:pt x="43" y="149"/>
                </a:cubicBezTo>
                <a:cubicBezTo>
                  <a:pt x="39" y="152"/>
                  <a:pt x="37" y="154"/>
                  <a:pt x="34" y="155"/>
                </a:cubicBezTo>
                <a:cubicBezTo>
                  <a:pt x="34" y="155"/>
                  <a:pt x="33" y="156"/>
                  <a:pt x="32" y="156"/>
                </a:cubicBezTo>
                <a:cubicBezTo>
                  <a:pt x="31" y="157"/>
                  <a:pt x="30" y="158"/>
                  <a:pt x="30" y="159"/>
                </a:cubicBezTo>
                <a:cubicBezTo>
                  <a:pt x="30" y="167"/>
                  <a:pt x="30" y="167"/>
                  <a:pt x="30" y="167"/>
                </a:cubicBezTo>
                <a:cubicBezTo>
                  <a:pt x="33" y="167"/>
                  <a:pt x="33" y="167"/>
                  <a:pt x="33" y="167"/>
                </a:cubicBezTo>
                <a:cubicBezTo>
                  <a:pt x="37" y="167"/>
                  <a:pt x="37" y="167"/>
                  <a:pt x="37" y="167"/>
                </a:cubicBezTo>
                <a:cubicBezTo>
                  <a:pt x="37" y="161"/>
                  <a:pt x="37" y="161"/>
                  <a:pt x="37" y="161"/>
                </a:cubicBezTo>
                <a:cubicBezTo>
                  <a:pt x="40" y="159"/>
                  <a:pt x="43" y="157"/>
                  <a:pt x="47" y="153"/>
                </a:cubicBezTo>
                <a:cubicBezTo>
                  <a:pt x="51" y="149"/>
                  <a:pt x="53" y="146"/>
                  <a:pt x="55" y="141"/>
                </a:cubicBezTo>
                <a:cubicBezTo>
                  <a:pt x="56" y="139"/>
                  <a:pt x="57" y="137"/>
                  <a:pt x="58" y="135"/>
                </a:cubicBezTo>
                <a:cubicBezTo>
                  <a:pt x="170" y="135"/>
                  <a:pt x="170" y="135"/>
                  <a:pt x="170" y="135"/>
                </a:cubicBezTo>
                <a:cubicBezTo>
                  <a:pt x="169" y="136"/>
                  <a:pt x="169" y="137"/>
                  <a:pt x="169" y="138"/>
                </a:cubicBezTo>
                <a:cubicBezTo>
                  <a:pt x="167" y="142"/>
                  <a:pt x="169" y="146"/>
                  <a:pt x="170" y="148"/>
                </a:cubicBezTo>
                <a:cubicBezTo>
                  <a:pt x="170" y="148"/>
                  <a:pt x="170" y="148"/>
                  <a:pt x="170" y="148"/>
                </a:cubicBezTo>
                <a:cubicBezTo>
                  <a:pt x="175" y="156"/>
                  <a:pt x="175" y="156"/>
                  <a:pt x="175" y="156"/>
                </a:cubicBezTo>
                <a:cubicBezTo>
                  <a:pt x="183" y="168"/>
                  <a:pt x="192" y="175"/>
                  <a:pt x="202" y="178"/>
                </a:cubicBezTo>
                <a:cubicBezTo>
                  <a:pt x="205" y="183"/>
                  <a:pt x="205" y="183"/>
                  <a:pt x="205" y="183"/>
                </a:cubicBezTo>
                <a:cubicBezTo>
                  <a:pt x="208" y="182"/>
                  <a:pt x="208" y="182"/>
                  <a:pt x="208" y="182"/>
                </a:cubicBezTo>
                <a:cubicBezTo>
                  <a:pt x="208" y="182"/>
                  <a:pt x="208" y="182"/>
                  <a:pt x="208" y="182"/>
                </a:cubicBezTo>
                <a:cubicBezTo>
                  <a:pt x="210" y="181"/>
                  <a:pt x="210" y="181"/>
                  <a:pt x="210" y="181"/>
                </a:cubicBezTo>
                <a:cubicBezTo>
                  <a:pt x="207" y="174"/>
                  <a:pt x="207" y="174"/>
                  <a:pt x="207" y="174"/>
                </a:cubicBezTo>
                <a:cubicBezTo>
                  <a:pt x="206" y="173"/>
                  <a:pt x="205" y="172"/>
                  <a:pt x="204" y="172"/>
                </a:cubicBezTo>
                <a:cubicBezTo>
                  <a:pt x="204" y="172"/>
                  <a:pt x="204" y="172"/>
                  <a:pt x="204" y="172"/>
                </a:cubicBezTo>
                <a:cubicBezTo>
                  <a:pt x="196" y="170"/>
                  <a:pt x="188" y="164"/>
                  <a:pt x="181" y="153"/>
                </a:cubicBezTo>
                <a:cubicBezTo>
                  <a:pt x="175" y="145"/>
                  <a:pt x="175" y="145"/>
                  <a:pt x="175" y="145"/>
                </a:cubicBezTo>
                <a:cubicBezTo>
                  <a:pt x="175" y="143"/>
                  <a:pt x="174" y="141"/>
                  <a:pt x="175" y="139"/>
                </a:cubicBezTo>
                <a:cubicBezTo>
                  <a:pt x="175" y="138"/>
                  <a:pt x="175" y="138"/>
                  <a:pt x="176" y="137"/>
                </a:cubicBezTo>
                <a:cubicBezTo>
                  <a:pt x="183" y="144"/>
                  <a:pt x="183" y="144"/>
                  <a:pt x="183" y="144"/>
                </a:cubicBezTo>
                <a:cubicBezTo>
                  <a:pt x="186" y="143"/>
                  <a:pt x="186" y="143"/>
                  <a:pt x="186" y="143"/>
                </a:cubicBezTo>
                <a:cubicBezTo>
                  <a:pt x="164" y="96"/>
                  <a:pt x="164" y="96"/>
                  <a:pt x="164" y="96"/>
                </a:cubicBezTo>
                <a:cubicBezTo>
                  <a:pt x="164" y="96"/>
                  <a:pt x="164" y="96"/>
                  <a:pt x="164" y="96"/>
                </a:cubicBezTo>
                <a:cubicBezTo>
                  <a:pt x="163" y="94"/>
                  <a:pt x="167" y="91"/>
                  <a:pt x="169" y="94"/>
                </a:cubicBezTo>
                <a:cubicBezTo>
                  <a:pt x="185" y="126"/>
                  <a:pt x="185" y="126"/>
                  <a:pt x="185" y="126"/>
                </a:cubicBezTo>
                <a:cubicBezTo>
                  <a:pt x="188" y="124"/>
                  <a:pt x="188" y="124"/>
                  <a:pt x="188" y="124"/>
                </a:cubicBezTo>
                <a:cubicBezTo>
                  <a:pt x="191" y="123"/>
                  <a:pt x="191" y="123"/>
                  <a:pt x="191" y="123"/>
                </a:cubicBezTo>
                <a:cubicBezTo>
                  <a:pt x="182" y="105"/>
                  <a:pt x="182" y="105"/>
                  <a:pt x="182" y="105"/>
                </a:cubicBezTo>
                <a:cubicBezTo>
                  <a:pt x="185" y="104"/>
                  <a:pt x="188" y="103"/>
                  <a:pt x="190" y="106"/>
                </a:cubicBezTo>
                <a:cubicBezTo>
                  <a:pt x="193" y="113"/>
                  <a:pt x="193" y="113"/>
                  <a:pt x="193" y="113"/>
                </a:cubicBezTo>
                <a:cubicBezTo>
                  <a:pt x="197" y="121"/>
                  <a:pt x="197" y="121"/>
                  <a:pt x="197" y="121"/>
                </a:cubicBezTo>
                <a:cubicBezTo>
                  <a:pt x="200" y="120"/>
                  <a:pt x="200" y="120"/>
                  <a:pt x="200" y="120"/>
                </a:cubicBezTo>
                <a:cubicBezTo>
                  <a:pt x="200" y="120"/>
                  <a:pt x="200" y="120"/>
                  <a:pt x="200" y="120"/>
                </a:cubicBezTo>
                <a:cubicBezTo>
                  <a:pt x="203" y="118"/>
                  <a:pt x="203" y="118"/>
                  <a:pt x="203" y="118"/>
                </a:cubicBezTo>
                <a:cubicBezTo>
                  <a:pt x="196" y="105"/>
                  <a:pt x="196" y="105"/>
                  <a:pt x="196" y="105"/>
                </a:cubicBezTo>
                <a:cubicBezTo>
                  <a:pt x="199" y="104"/>
                  <a:pt x="202" y="102"/>
                  <a:pt x="204" y="106"/>
                </a:cubicBezTo>
                <a:cubicBezTo>
                  <a:pt x="207" y="111"/>
                  <a:pt x="207" y="111"/>
                  <a:pt x="207" y="111"/>
                </a:cubicBezTo>
                <a:cubicBezTo>
                  <a:pt x="210" y="118"/>
                  <a:pt x="210" y="118"/>
                  <a:pt x="210" y="118"/>
                </a:cubicBezTo>
                <a:cubicBezTo>
                  <a:pt x="216" y="116"/>
                  <a:pt x="216" y="116"/>
                  <a:pt x="216" y="116"/>
                </a:cubicBezTo>
                <a:cubicBezTo>
                  <a:pt x="211" y="107"/>
                  <a:pt x="211" y="107"/>
                  <a:pt x="211" y="107"/>
                </a:cubicBezTo>
                <a:cubicBezTo>
                  <a:pt x="213" y="106"/>
                  <a:pt x="213" y="106"/>
                  <a:pt x="213" y="106"/>
                </a:cubicBezTo>
                <a:cubicBezTo>
                  <a:pt x="213" y="105"/>
                  <a:pt x="215" y="106"/>
                  <a:pt x="215" y="107"/>
                </a:cubicBezTo>
                <a:cubicBezTo>
                  <a:pt x="227" y="130"/>
                  <a:pt x="227" y="130"/>
                  <a:pt x="227" y="130"/>
                </a:cubicBezTo>
                <a:cubicBezTo>
                  <a:pt x="233" y="142"/>
                  <a:pt x="234" y="148"/>
                  <a:pt x="233" y="152"/>
                </a:cubicBezTo>
                <a:cubicBezTo>
                  <a:pt x="233" y="153"/>
                  <a:pt x="233" y="154"/>
                  <a:pt x="233" y="155"/>
                </a:cubicBezTo>
                <a:cubicBezTo>
                  <a:pt x="232" y="156"/>
                  <a:pt x="232" y="157"/>
                  <a:pt x="232" y="158"/>
                </a:cubicBezTo>
                <a:cubicBezTo>
                  <a:pt x="232" y="158"/>
                  <a:pt x="232" y="159"/>
                  <a:pt x="232" y="160"/>
                </a:cubicBezTo>
                <a:cubicBezTo>
                  <a:pt x="236" y="167"/>
                  <a:pt x="236" y="167"/>
                  <a:pt x="236" y="167"/>
                </a:cubicBezTo>
                <a:cubicBezTo>
                  <a:pt x="242" y="164"/>
                  <a:pt x="242" y="164"/>
                  <a:pt x="242" y="164"/>
                </a:cubicBezTo>
                <a:cubicBezTo>
                  <a:pt x="238" y="158"/>
                  <a:pt x="238" y="158"/>
                  <a:pt x="238" y="158"/>
                </a:cubicBezTo>
                <a:cubicBezTo>
                  <a:pt x="238" y="157"/>
                  <a:pt x="239" y="157"/>
                  <a:pt x="239" y="156"/>
                </a:cubicBezTo>
                <a:cubicBezTo>
                  <a:pt x="240" y="152"/>
                  <a:pt x="241" y="146"/>
                  <a:pt x="236" y="135"/>
                </a:cubicBezTo>
                <a:cubicBezTo>
                  <a:pt x="243" y="133"/>
                  <a:pt x="248" y="126"/>
                  <a:pt x="248" y="119"/>
                </a:cubicBezTo>
                <a:cubicBezTo>
                  <a:pt x="248" y="118"/>
                  <a:pt x="248" y="118"/>
                  <a:pt x="248" y="118"/>
                </a:cubicBezTo>
                <a:cubicBezTo>
                  <a:pt x="248" y="17"/>
                  <a:pt x="248" y="17"/>
                  <a:pt x="248" y="17"/>
                </a:cubicBezTo>
                <a:cubicBezTo>
                  <a:pt x="248" y="16"/>
                  <a:pt x="248" y="16"/>
                  <a:pt x="248" y="16"/>
                </a:cubicBezTo>
                <a:cubicBezTo>
                  <a:pt x="248" y="7"/>
                  <a:pt x="240" y="0"/>
                  <a:pt x="231" y="0"/>
                </a:cubicBezTo>
                <a:close/>
                <a:moveTo>
                  <a:pt x="165" y="76"/>
                </a:moveTo>
                <a:cubicBezTo>
                  <a:pt x="149" y="76"/>
                  <a:pt x="149" y="76"/>
                  <a:pt x="149" y="76"/>
                </a:cubicBezTo>
                <a:cubicBezTo>
                  <a:pt x="149" y="92"/>
                  <a:pt x="149" y="92"/>
                  <a:pt x="149" y="92"/>
                </a:cubicBezTo>
                <a:cubicBezTo>
                  <a:pt x="135" y="92"/>
                  <a:pt x="135" y="92"/>
                  <a:pt x="135" y="92"/>
                </a:cubicBezTo>
                <a:cubicBezTo>
                  <a:pt x="135" y="76"/>
                  <a:pt x="135" y="76"/>
                  <a:pt x="135" y="76"/>
                </a:cubicBezTo>
                <a:cubicBezTo>
                  <a:pt x="119" y="76"/>
                  <a:pt x="119" y="76"/>
                  <a:pt x="119" y="76"/>
                </a:cubicBezTo>
                <a:cubicBezTo>
                  <a:pt x="119" y="62"/>
                  <a:pt x="119" y="62"/>
                  <a:pt x="119" y="62"/>
                </a:cubicBezTo>
                <a:cubicBezTo>
                  <a:pt x="135" y="62"/>
                  <a:pt x="135" y="62"/>
                  <a:pt x="135" y="62"/>
                </a:cubicBezTo>
                <a:cubicBezTo>
                  <a:pt x="135" y="47"/>
                  <a:pt x="135" y="47"/>
                  <a:pt x="135" y="47"/>
                </a:cubicBezTo>
                <a:cubicBezTo>
                  <a:pt x="149" y="47"/>
                  <a:pt x="149" y="47"/>
                  <a:pt x="149" y="47"/>
                </a:cubicBezTo>
                <a:cubicBezTo>
                  <a:pt x="149" y="62"/>
                  <a:pt x="149" y="62"/>
                  <a:pt x="149" y="62"/>
                </a:cubicBezTo>
                <a:cubicBezTo>
                  <a:pt x="165" y="62"/>
                  <a:pt x="165" y="62"/>
                  <a:pt x="165" y="62"/>
                </a:cubicBezTo>
                <a:lnTo>
                  <a:pt x="165" y="76"/>
                </a:lnTo>
                <a:close/>
                <a:moveTo>
                  <a:pt x="183" y="103"/>
                </a:moveTo>
                <a:cubicBezTo>
                  <a:pt x="183" y="103"/>
                  <a:pt x="183" y="103"/>
                  <a:pt x="183" y="103"/>
                </a:cubicBezTo>
                <a:cubicBezTo>
                  <a:pt x="183" y="103"/>
                  <a:pt x="183" y="103"/>
                  <a:pt x="183" y="103"/>
                </a:cubicBezTo>
                <a:close/>
                <a:moveTo>
                  <a:pt x="197" y="103"/>
                </a:moveTo>
                <a:cubicBezTo>
                  <a:pt x="197" y="103"/>
                  <a:pt x="197" y="103"/>
                  <a:pt x="197" y="103"/>
                </a:cubicBezTo>
                <a:cubicBezTo>
                  <a:pt x="197" y="103"/>
                  <a:pt x="197" y="103"/>
                  <a:pt x="197" y="103"/>
                </a:cubicBezTo>
                <a:close/>
                <a:moveTo>
                  <a:pt x="228" y="118"/>
                </a:moveTo>
                <a:cubicBezTo>
                  <a:pt x="221" y="104"/>
                  <a:pt x="221" y="104"/>
                  <a:pt x="221" y="104"/>
                </a:cubicBezTo>
                <a:cubicBezTo>
                  <a:pt x="219" y="100"/>
                  <a:pt x="214" y="98"/>
                  <a:pt x="210" y="100"/>
                </a:cubicBezTo>
                <a:cubicBezTo>
                  <a:pt x="210" y="100"/>
                  <a:pt x="210" y="100"/>
                  <a:pt x="210" y="100"/>
                </a:cubicBezTo>
                <a:cubicBezTo>
                  <a:pt x="208" y="101"/>
                  <a:pt x="208" y="101"/>
                  <a:pt x="208" y="101"/>
                </a:cubicBezTo>
                <a:cubicBezTo>
                  <a:pt x="206" y="99"/>
                  <a:pt x="203" y="98"/>
                  <a:pt x="200" y="98"/>
                </a:cubicBezTo>
                <a:cubicBezTo>
                  <a:pt x="200" y="33"/>
                  <a:pt x="200" y="33"/>
                  <a:pt x="200" y="33"/>
                </a:cubicBezTo>
                <a:cubicBezTo>
                  <a:pt x="123" y="33"/>
                  <a:pt x="123" y="33"/>
                  <a:pt x="123" y="33"/>
                </a:cubicBezTo>
                <a:cubicBezTo>
                  <a:pt x="118" y="25"/>
                  <a:pt x="118" y="25"/>
                  <a:pt x="118" y="25"/>
                </a:cubicBezTo>
                <a:cubicBezTo>
                  <a:pt x="84" y="25"/>
                  <a:pt x="84" y="25"/>
                  <a:pt x="84" y="25"/>
                </a:cubicBezTo>
                <a:cubicBezTo>
                  <a:pt x="84" y="33"/>
                  <a:pt x="84" y="33"/>
                  <a:pt x="84" y="33"/>
                </a:cubicBezTo>
                <a:cubicBezTo>
                  <a:pt x="84" y="37"/>
                  <a:pt x="84" y="37"/>
                  <a:pt x="84" y="37"/>
                </a:cubicBezTo>
                <a:cubicBezTo>
                  <a:pt x="84" y="105"/>
                  <a:pt x="84" y="105"/>
                  <a:pt x="84" y="105"/>
                </a:cubicBezTo>
                <a:cubicBezTo>
                  <a:pt x="161" y="105"/>
                  <a:pt x="161" y="105"/>
                  <a:pt x="161" y="105"/>
                </a:cubicBezTo>
                <a:cubicBezTo>
                  <a:pt x="171" y="125"/>
                  <a:pt x="171" y="125"/>
                  <a:pt x="171" y="125"/>
                </a:cubicBezTo>
                <a:cubicBezTo>
                  <a:pt x="65" y="125"/>
                  <a:pt x="65" y="125"/>
                  <a:pt x="65" y="125"/>
                </a:cubicBezTo>
                <a:cubicBezTo>
                  <a:pt x="66" y="124"/>
                  <a:pt x="66" y="123"/>
                  <a:pt x="67" y="123"/>
                </a:cubicBezTo>
                <a:cubicBezTo>
                  <a:pt x="68" y="122"/>
                  <a:pt x="68" y="121"/>
                  <a:pt x="69" y="121"/>
                </a:cubicBezTo>
                <a:cubicBezTo>
                  <a:pt x="71" y="119"/>
                  <a:pt x="73" y="117"/>
                  <a:pt x="73" y="114"/>
                </a:cubicBezTo>
                <a:cubicBezTo>
                  <a:pt x="73" y="113"/>
                  <a:pt x="73" y="113"/>
                  <a:pt x="73" y="113"/>
                </a:cubicBezTo>
                <a:cubicBezTo>
                  <a:pt x="73" y="113"/>
                  <a:pt x="73" y="112"/>
                  <a:pt x="73" y="112"/>
                </a:cubicBezTo>
                <a:cubicBezTo>
                  <a:pt x="73" y="111"/>
                  <a:pt x="73" y="109"/>
                  <a:pt x="72" y="108"/>
                </a:cubicBezTo>
                <a:cubicBezTo>
                  <a:pt x="70" y="105"/>
                  <a:pt x="67" y="104"/>
                  <a:pt x="63" y="104"/>
                </a:cubicBezTo>
                <a:cubicBezTo>
                  <a:pt x="61" y="103"/>
                  <a:pt x="58" y="104"/>
                  <a:pt x="56" y="105"/>
                </a:cubicBezTo>
                <a:cubicBezTo>
                  <a:pt x="56" y="10"/>
                  <a:pt x="56" y="10"/>
                  <a:pt x="56" y="10"/>
                </a:cubicBezTo>
                <a:cubicBezTo>
                  <a:pt x="228" y="10"/>
                  <a:pt x="228" y="10"/>
                  <a:pt x="228" y="10"/>
                </a:cubicBezTo>
                <a:lnTo>
                  <a:pt x="228" y="118"/>
                </a:lnTo>
                <a:close/>
                <a:moveTo>
                  <a:pt x="239" y="73"/>
                </a:moveTo>
                <a:cubicBezTo>
                  <a:pt x="237" y="73"/>
                  <a:pt x="235" y="71"/>
                  <a:pt x="235" y="69"/>
                </a:cubicBezTo>
                <a:cubicBezTo>
                  <a:pt x="235" y="67"/>
                  <a:pt x="237" y="65"/>
                  <a:pt x="239" y="65"/>
                </a:cubicBezTo>
                <a:cubicBezTo>
                  <a:pt x="241" y="65"/>
                  <a:pt x="242" y="67"/>
                  <a:pt x="242" y="69"/>
                </a:cubicBezTo>
                <a:cubicBezTo>
                  <a:pt x="242" y="71"/>
                  <a:pt x="241" y="73"/>
                  <a:pt x="239" y="73"/>
                </a:cubicBezTo>
                <a:close/>
              </a:path>
            </a:pathLst>
          </a:custGeom>
          <a:solidFill>
            <a:srgbClr val="00376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3688137A-3A8D-4313-A89E-2756D669FC75}"/>
              </a:ext>
            </a:extLst>
          </p:cNvPr>
          <p:cNvSpPr/>
          <p:nvPr/>
        </p:nvSpPr>
        <p:spPr>
          <a:xfrm>
            <a:off x="6666121" y="3969756"/>
            <a:ext cx="168660" cy="144000"/>
          </a:xfrm>
          <a:prstGeom prst="rect">
            <a:avLst/>
          </a:prstGeom>
          <a:solidFill>
            <a:srgbClr val="0037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50" name="Picture 497" descr="D:\Mes documents\_Mes images\Cnamts\DMP\logo_dmp_classique.jpg">
            <a:extLst>
              <a:ext uri="{FF2B5EF4-FFF2-40B4-BE49-F238E27FC236}">
                <a16:creationId xmlns:a16="http://schemas.microsoft.com/office/drawing/2014/main" id="{0713E6F3-89C6-40CF-A70F-DE39ED43A5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5108" y="3922351"/>
            <a:ext cx="378232" cy="205639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39384773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Graphic 34" descr="List outline">
            <a:extLst>
              <a:ext uri="{FF2B5EF4-FFF2-40B4-BE49-F238E27FC236}">
                <a16:creationId xmlns:a16="http://schemas.microsoft.com/office/drawing/2014/main" id="{8D22C3EE-B59E-463D-B1B1-A123269232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35073" y="3498209"/>
            <a:ext cx="609919" cy="609919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F1E67F4-2FF0-4ED2-B34C-56793B68BB4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31</a:t>
            </a:fld>
            <a:endParaRPr lang="fr-FR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DB5BE6A-1D2D-43EF-8ADC-DBFB3B98DF6C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rgbClr val="0C419A"/>
          </a:solidFill>
        </p:spPr>
        <p:txBody>
          <a:bodyPr>
            <a:normAutofit/>
          </a:bodyPr>
          <a:lstStyle/>
          <a:p>
            <a:r>
              <a:rPr lang="fr-FR" sz="2000" dirty="0"/>
              <a:t>les bénéfices pour L’Assurance maladie</a:t>
            </a:r>
          </a:p>
        </p:txBody>
      </p:sp>
      <p:sp>
        <p:nvSpPr>
          <p:cNvPr id="5" name="Freeform 9">
            <a:extLst>
              <a:ext uri="{FF2B5EF4-FFF2-40B4-BE49-F238E27FC236}">
                <a16:creationId xmlns:a16="http://schemas.microsoft.com/office/drawing/2014/main" id="{5D5E9FDE-721B-4B6D-B2D9-B97666B58835}"/>
              </a:ext>
            </a:extLst>
          </p:cNvPr>
          <p:cNvSpPr>
            <a:spLocks/>
          </p:cNvSpPr>
          <p:nvPr/>
        </p:nvSpPr>
        <p:spPr bwMode="auto">
          <a:xfrm>
            <a:off x="3368959" y="4943057"/>
            <a:ext cx="2530475" cy="590550"/>
          </a:xfrm>
          <a:custGeom>
            <a:avLst/>
            <a:gdLst>
              <a:gd name="T0" fmla="*/ 14 w 1548"/>
              <a:gd name="T1" fmla="*/ 362 h 362"/>
              <a:gd name="T2" fmla="*/ 3 w 1548"/>
              <a:gd name="T3" fmla="*/ 355 h 362"/>
              <a:gd name="T4" fmla="*/ 9 w 1548"/>
              <a:gd name="T5" fmla="*/ 339 h 362"/>
              <a:gd name="T6" fmla="*/ 741 w 1548"/>
              <a:gd name="T7" fmla="*/ 87 h 362"/>
              <a:gd name="T8" fmla="*/ 1536 w 1548"/>
              <a:gd name="T9" fmla="*/ 0 h 362"/>
              <a:gd name="T10" fmla="*/ 1548 w 1548"/>
              <a:gd name="T11" fmla="*/ 12 h 362"/>
              <a:gd name="T12" fmla="*/ 1536 w 1548"/>
              <a:gd name="T13" fmla="*/ 24 h 362"/>
              <a:gd name="T14" fmla="*/ 19 w 1548"/>
              <a:gd name="T15" fmla="*/ 360 h 362"/>
              <a:gd name="T16" fmla="*/ 14 w 1548"/>
              <a:gd name="T17" fmla="*/ 362 h 3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48" h="362">
                <a:moveTo>
                  <a:pt x="14" y="362"/>
                </a:moveTo>
                <a:cubicBezTo>
                  <a:pt x="9" y="362"/>
                  <a:pt x="5" y="359"/>
                  <a:pt x="3" y="355"/>
                </a:cubicBezTo>
                <a:cubicBezTo>
                  <a:pt x="0" y="349"/>
                  <a:pt x="3" y="342"/>
                  <a:pt x="9" y="339"/>
                </a:cubicBezTo>
                <a:cubicBezTo>
                  <a:pt x="243" y="229"/>
                  <a:pt x="489" y="144"/>
                  <a:pt x="741" y="87"/>
                </a:cubicBezTo>
                <a:cubicBezTo>
                  <a:pt x="1000" y="29"/>
                  <a:pt x="1268" y="0"/>
                  <a:pt x="1536" y="0"/>
                </a:cubicBezTo>
                <a:cubicBezTo>
                  <a:pt x="1542" y="0"/>
                  <a:pt x="1548" y="5"/>
                  <a:pt x="1548" y="12"/>
                </a:cubicBezTo>
                <a:cubicBezTo>
                  <a:pt x="1548" y="18"/>
                  <a:pt x="1542" y="24"/>
                  <a:pt x="1536" y="24"/>
                </a:cubicBezTo>
                <a:cubicBezTo>
                  <a:pt x="1005" y="24"/>
                  <a:pt x="495" y="137"/>
                  <a:pt x="19" y="360"/>
                </a:cubicBezTo>
                <a:cubicBezTo>
                  <a:pt x="17" y="361"/>
                  <a:pt x="16" y="362"/>
                  <a:pt x="14" y="362"/>
                </a:cubicBezTo>
                <a:close/>
              </a:path>
            </a:pathLst>
          </a:custGeom>
          <a:solidFill>
            <a:srgbClr val="FD797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6" name="Freeform 10">
            <a:extLst>
              <a:ext uri="{FF2B5EF4-FFF2-40B4-BE49-F238E27FC236}">
                <a16:creationId xmlns:a16="http://schemas.microsoft.com/office/drawing/2014/main" id="{15046191-1D05-428B-908B-7BD258BBFF25}"/>
              </a:ext>
            </a:extLst>
          </p:cNvPr>
          <p:cNvSpPr>
            <a:spLocks/>
          </p:cNvSpPr>
          <p:nvPr/>
        </p:nvSpPr>
        <p:spPr bwMode="auto">
          <a:xfrm>
            <a:off x="5880384" y="4943057"/>
            <a:ext cx="2489200" cy="581025"/>
          </a:xfrm>
          <a:custGeom>
            <a:avLst/>
            <a:gdLst>
              <a:gd name="T0" fmla="*/ 0 w 1523"/>
              <a:gd name="T1" fmla="*/ 0 h 356"/>
              <a:gd name="T2" fmla="*/ 787 w 1523"/>
              <a:gd name="T3" fmla="*/ 86 h 356"/>
              <a:gd name="T4" fmla="*/ 1514 w 1523"/>
              <a:gd name="T5" fmla="*/ 333 h 356"/>
              <a:gd name="T6" fmla="*/ 1520 w 1523"/>
              <a:gd name="T7" fmla="*/ 349 h 356"/>
              <a:gd name="T8" fmla="*/ 1509 w 1523"/>
              <a:gd name="T9" fmla="*/ 356 h 356"/>
              <a:gd name="T10" fmla="*/ 1504 w 1523"/>
              <a:gd name="T11" fmla="*/ 355 h 356"/>
              <a:gd name="T12" fmla="*/ 0 w 1523"/>
              <a:gd name="T13" fmla="*/ 24 h 3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23" h="356">
                <a:moveTo>
                  <a:pt x="0" y="0"/>
                </a:moveTo>
                <a:cubicBezTo>
                  <a:pt x="265" y="0"/>
                  <a:pt x="530" y="29"/>
                  <a:pt x="787" y="86"/>
                </a:cubicBezTo>
                <a:cubicBezTo>
                  <a:pt x="1037" y="142"/>
                  <a:pt x="1282" y="225"/>
                  <a:pt x="1514" y="333"/>
                </a:cubicBezTo>
                <a:cubicBezTo>
                  <a:pt x="1520" y="336"/>
                  <a:pt x="1523" y="343"/>
                  <a:pt x="1520" y="349"/>
                </a:cubicBezTo>
                <a:cubicBezTo>
                  <a:pt x="1518" y="353"/>
                  <a:pt x="1514" y="356"/>
                  <a:pt x="1509" y="356"/>
                </a:cubicBezTo>
                <a:cubicBezTo>
                  <a:pt x="1507" y="356"/>
                  <a:pt x="1506" y="355"/>
                  <a:pt x="1504" y="355"/>
                </a:cubicBezTo>
                <a:cubicBezTo>
                  <a:pt x="1032" y="135"/>
                  <a:pt x="526" y="24"/>
                  <a:pt x="0" y="24"/>
                </a:cubicBezTo>
              </a:path>
            </a:pathLst>
          </a:custGeom>
          <a:solidFill>
            <a:srgbClr val="FD797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B5D9248A-953D-4758-B943-EC6D0E317DBA}"/>
              </a:ext>
            </a:extLst>
          </p:cNvPr>
          <p:cNvSpPr>
            <a:spLocks/>
          </p:cNvSpPr>
          <p:nvPr/>
        </p:nvSpPr>
        <p:spPr bwMode="auto">
          <a:xfrm>
            <a:off x="2557367" y="3398516"/>
            <a:ext cx="1720850" cy="1628775"/>
          </a:xfrm>
          <a:custGeom>
            <a:avLst/>
            <a:gdLst>
              <a:gd name="T0" fmla="*/ 470 w 1053"/>
              <a:gd name="T1" fmla="*/ 998 h 998"/>
              <a:gd name="T2" fmla="*/ 319 w 1053"/>
              <a:gd name="T3" fmla="*/ 971 h 998"/>
              <a:gd name="T4" fmla="*/ 58 w 1053"/>
              <a:gd name="T5" fmla="*/ 732 h 998"/>
              <a:gd name="T6" fmla="*/ 43 w 1053"/>
              <a:gd name="T7" fmla="*/ 379 h 998"/>
              <a:gd name="T8" fmla="*/ 659 w 1053"/>
              <a:gd name="T9" fmla="*/ 91 h 998"/>
              <a:gd name="T10" fmla="*/ 958 w 1053"/>
              <a:gd name="T11" fmla="*/ 733 h 998"/>
              <a:gd name="T12" fmla="*/ 943 w 1053"/>
              <a:gd name="T13" fmla="*/ 740 h 998"/>
              <a:gd name="T14" fmla="*/ 936 w 1053"/>
              <a:gd name="T15" fmla="*/ 724 h 998"/>
              <a:gd name="T16" fmla="*/ 651 w 1053"/>
              <a:gd name="T17" fmla="*/ 114 h 998"/>
              <a:gd name="T18" fmla="*/ 65 w 1053"/>
              <a:gd name="T19" fmla="*/ 387 h 998"/>
              <a:gd name="T20" fmla="*/ 80 w 1053"/>
              <a:gd name="T21" fmla="*/ 722 h 998"/>
              <a:gd name="T22" fmla="*/ 327 w 1053"/>
              <a:gd name="T23" fmla="*/ 948 h 998"/>
              <a:gd name="T24" fmla="*/ 648 w 1053"/>
              <a:gd name="T25" fmla="*/ 934 h 998"/>
              <a:gd name="T26" fmla="*/ 866 w 1053"/>
              <a:gd name="T27" fmla="*/ 697 h 998"/>
              <a:gd name="T28" fmla="*/ 852 w 1053"/>
              <a:gd name="T29" fmla="*/ 389 h 998"/>
              <a:gd name="T30" fmla="*/ 625 w 1053"/>
              <a:gd name="T31" fmla="*/ 181 h 998"/>
              <a:gd name="T32" fmla="*/ 329 w 1053"/>
              <a:gd name="T33" fmla="*/ 194 h 998"/>
              <a:gd name="T34" fmla="*/ 130 w 1053"/>
              <a:gd name="T35" fmla="*/ 412 h 998"/>
              <a:gd name="T36" fmla="*/ 142 w 1053"/>
              <a:gd name="T37" fmla="*/ 695 h 998"/>
              <a:gd name="T38" fmla="*/ 351 w 1053"/>
              <a:gd name="T39" fmla="*/ 886 h 998"/>
              <a:gd name="T40" fmla="*/ 358 w 1053"/>
              <a:gd name="T41" fmla="*/ 902 h 998"/>
              <a:gd name="T42" fmla="*/ 343 w 1053"/>
              <a:gd name="T43" fmla="*/ 909 h 998"/>
              <a:gd name="T44" fmla="*/ 120 w 1053"/>
              <a:gd name="T45" fmla="*/ 705 h 998"/>
              <a:gd name="T46" fmla="*/ 107 w 1053"/>
              <a:gd name="T47" fmla="*/ 404 h 998"/>
              <a:gd name="T48" fmla="*/ 319 w 1053"/>
              <a:gd name="T49" fmla="*/ 172 h 998"/>
              <a:gd name="T50" fmla="*/ 633 w 1053"/>
              <a:gd name="T51" fmla="*/ 158 h 998"/>
              <a:gd name="T52" fmla="*/ 874 w 1053"/>
              <a:gd name="T53" fmla="*/ 379 h 998"/>
              <a:gd name="T54" fmla="*/ 888 w 1053"/>
              <a:gd name="T55" fmla="*/ 705 h 998"/>
              <a:gd name="T56" fmla="*/ 470 w 1053"/>
              <a:gd name="T57" fmla="*/ 998 h 9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53" h="998">
                <a:moveTo>
                  <a:pt x="470" y="998"/>
                </a:moveTo>
                <a:cubicBezTo>
                  <a:pt x="420" y="998"/>
                  <a:pt x="369" y="989"/>
                  <a:pt x="319" y="971"/>
                </a:cubicBezTo>
                <a:cubicBezTo>
                  <a:pt x="203" y="929"/>
                  <a:pt x="110" y="844"/>
                  <a:pt x="58" y="732"/>
                </a:cubicBezTo>
                <a:cubicBezTo>
                  <a:pt x="6" y="620"/>
                  <a:pt x="0" y="495"/>
                  <a:pt x="43" y="379"/>
                </a:cubicBezTo>
                <a:cubicBezTo>
                  <a:pt x="133" y="129"/>
                  <a:pt x="410" y="0"/>
                  <a:pt x="659" y="91"/>
                </a:cubicBezTo>
                <a:cubicBezTo>
                  <a:pt x="918" y="185"/>
                  <a:pt x="1053" y="473"/>
                  <a:pt x="958" y="733"/>
                </a:cubicBezTo>
                <a:cubicBezTo>
                  <a:pt x="956" y="739"/>
                  <a:pt x="949" y="742"/>
                  <a:pt x="943" y="740"/>
                </a:cubicBezTo>
                <a:cubicBezTo>
                  <a:pt x="937" y="737"/>
                  <a:pt x="933" y="731"/>
                  <a:pt x="936" y="724"/>
                </a:cubicBezTo>
                <a:cubicBezTo>
                  <a:pt x="1025" y="477"/>
                  <a:pt x="898" y="203"/>
                  <a:pt x="651" y="114"/>
                </a:cubicBezTo>
                <a:cubicBezTo>
                  <a:pt x="414" y="27"/>
                  <a:pt x="151" y="150"/>
                  <a:pt x="65" y="387"/>
                </a:cubicBezTo>
                <a:cubicBezTo>
                  <a:pt x="25" y="497"/>
                  <a:pt x="30" y="616"/>
                  <a:pt x="80" y="722"/>
                </a:cubicBezTo>
                <a:cubicBezTo>
                  <a:pt x="129" y="828"/>
                  <a:pt x="217" y="908"/>
                  <a:pt x="327" y="948"/>
                </a:cubicBezTo>
                <a:cubicBezTo>
                  <a:pt x="432" y="987"/>
                  <a:pt x="547" y="982"/>
                  <a:pt x="648" y="934"/>
                </a:cubicBezTo>
                <a:cubicBezTo>
                  <a:pt x="750" y="887"/>
                  <a:pt x="827" y="803"/>
                  <a:pt x="866" y="697"/>
                </a:cubicBezTo>
                <a:cubicBezTo>
                  <a:pt x="902" y="596"/>
                  <a:pt x="898" y="487"/>
                  <a:pt x="852" y="389"/>
                </a:cubicBezTo>
                <a:cubicBezTo>
                  <a:pt x="807" y="292"/>
                  <a:pt x="726" y="218"/>
                  <a:pt x="625" y="181"/>
                </a:cubicBezTo>
                <a:cubicBezTo>
                  <a:pt x="528" y="146"/>
                  <a:pt x="423" y="150"/>
                  <a:pt x="329" y="194"/>
                </a:cubicBezTo>
                <a:cubicBezTo>
                  <a:pt x="236" y="237"/>
                  <a:pt x="165" y="315"/>
                  <a:pt x="130" y="412"/>
                </a:cubicBezTo>
                <a:cubicBezTo>
                  <a:pt x="96" y="505"/>
                  <a:pt x="100" y="605"/>
                  <a:pt x="142" y="695"/>
                </a:cubicBezTo>
                <a:cubicBezTo>
                  <a:pt x="184" y="785"/>
                  <a:pt x="258" y="853"/>
                  <a:pt x="351" y="886"/>
                </a:cubicBezTo>
                <a:cubicBezTo>
                  <a:pt x="357" y="889"/>
                  <a:pt x="360" y="896"/>
                  <a:pt x="358" y="902"/>
                </a:cubicBezTo>
                <a:cubicBezTo>
                  <a:pt x="356" y="908"/>
                  <a:pt x="349" y="911"/>
                  <a:pt x="343" y="909"/>
                </a:cubicBezTo>
                <a:cubicBezTo>
                  <a:pt x="244" y="873"/>
                  <a:pt x="165" y="801"/>
                  <a:pt x="120" y="705"/>
                </a:cubicBezTo>
                <a:cubicBezTo>
                  <a:pt x="76" y="610"/>
                  <a:pt x="71" y="502"/>
                  <a:pt x="107" y="404"/>
                </a:cubicBezTo>
                <a:cubicBezTo>
                  <a:pt x="145" y="301"/>
                  <a:pt x="220" y="218"/>
                  <a:pt x="319" y="172"/>
                </a:cubicBezTo>
                <a:cubicBezTo>
                  <a:pt x="419" y="126"/>
                  <a:pt x="530" y="121"/>
                  <a:pt x="633" y="158"/>
                </a:cubicBezTo>
                <a:cubicBezTo>
                  <a:pt x="740" y="197"/>
                  <a:pt x="826" y="276"/>
                  <a:pt x="874" y="379"/>
                </a:cubicBezTo>
                <a:cubicBezTo>
                  <a:pt x="922" y="482"/>
                  <a:pt x="927" y="598"/>
                  <a:pt x="888" y="705"/>
                </a:cubicBezTo>
                <a:cubicBezTo>
                  <a:pt x="823" y="886"/>
                  <a:pt x="652" y="998"/>
                  <a:pt x="470" y="998"/>
                </a:cubicBezTo>
                <a:close/>
              </a:path>
            </a:pathLst>
          </a:custGeom>
          <a:solidFill>
            <a:srgbClr val="42B2D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4861BA11-D3D0-4F81-93A0-C9BE475ABEC0}"/>
              </a:ext>
            </a:extLst>
          </p:cNvPr>
          <p:cNvSpPr>
            <a:spLocks/>
          </p:cNvSpPr>
          <p:nvPr/>
        </p:nvSpPr>
        <p:spPr bwMode="auto">
          <a:xfrm>
            <a:off x="3850230" y="4565329"/>
            <a:ext cx="279400" cy="684213"/>
          </a:xfrm>
          <a:custGeom>
            <a:avLst/>
            <a:gdLst>
              <a:gd name="T0" fmla="*/ 14 w 171"/>
              <a:gd name="T1" fmla="*/ 419 h 419"/>
              <a:gd name="T2" fmla="*/ 10 w 171"/>
              <a:gd name="T3" fmla="*/ 418 h 419"/>
              <a:gd name="T4" fmla="*/ 2 w 171"/>
              <a:gd name="T5" fmla="*/ 403 h 419"/>
              <a:gd name="T6" fmla="*/ 146 w 171"/>
              <a:gd name="T7" fmla="*/ 9 h 419"/>
              <a:gd name="T8" fmla="*/ 161 w 171"/>
              <a:gd name="T9" fmla="*/ 2 h 419"/>
              <a:gd name="T10" fmla="*/ 168 w 171"/>
              <a:gd name="T11" fmla="*/ 17 h 419"/>
              <a:gd name="T12" fmla="*/ 25 w 171"/>
              <a:gd name="T13" fmla="*/ 411 h 419"/>
              <a:gd name="T14" fmla="*/ 14 w 171"/>
              <a:gd name="T15" fmla="*/ 419 h 4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71" h="419">
                <a:moveTo>
                  <a:pt x="14" y="419"/>
                </a:moveTo>
                <a:cubicBezTo>
                  <a:pt x="12" y="419"/>
                  <a:pt x="11" y="419"/>
                  <a:pt x="10" y="418"/>
                </a:cubicBezTo>
                <a:cubicBezTo>
                  <a:pt x="3" y="416"/>
                  <a:pt x="0" y="409"/>
                  <a:pt x="2" y="403"/>
                </a:cubicBezTo>
                <a:cubicBezTo>
                  <a:pt x="146" y="9"/>
                  <a:pt x="146" y="9"/>
                  <a:pt x="146" y="9"/>
                </a:cubicBezTo>
                <a:cubicBezTo>
                  <a:pt x="148" y="3"/>
                  <a:pt x="155" y="0"/>
                  <a:pt x="161" y="2"/>
                </a:cubicBezTo>
                <a:cubicBezTo>
                  <a:pt x="167" y="4"/>
                  <a:pt x="171" y="11"/>
                  <a:pt x="168" y="17"/>
                </a:cubicBezTo>
                <a:cubicBezTo>
                  <a:pt x="25" y="411"/>
                  <a:pt x="25" y="411"/>
                  <a:pt x="25" y="411"/>
                </a:cubicBezTo>
                <a:cubicBezTo>
                  <a:pt x="23" y="416"/>
                  <a:pt x="19" y="419"/>
                  <a:pt x="14" y="419"/>
                </a:cubicBezTo>
                <a:close/>
              </a:path>
            </a:pathLst>
          </a:custGeom>
          <a:solidFill>
            <a:srgbClr val="42B2D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679C823D-BA2C-442E-BDBE-24FA2094E471}"/>
              </a:ext>
            </a:extLst>
          </p:cNvPr>
          <p:cNvSpPr>
            <a:spLocks noEditPoints="1"/>
          </p:cNvSpPr>
          <p:nvPr/>
        </p:nvSpPr>
        <p:spPr bwMode="auto">
          <a:xfrm>
            <a:off x="3731168" y="5203504"/>
            <a:ext cx="231775" cy="228600"/>
          </a:xfrm>
          <a:custGeom>
            <a:avLst/>
            <a:gdLst>
              <a:gd name="T0" fmla="*/ 71 w 142"/>
              <a:gd name="T1" fmla="*/ 140 h 140"/>
              <a:gd name="T2" fmla="*/ 48 w 142"/>
              <a:gd name="T3" fmla="*/ 135 h 140"/>
              <a:gd name="T4" fmla="*/ 9 w 142"/>
              <a:gd name="T5" fmla="*/ 100 h 140"/>
              <a:gd name="T6" fmla="*/ 7 w 142"/>
              <a:gd name="T7" fmla="*/ 47 h 140"/>
              <a:gd name="T8" fmla="*/ 42 w 142"/>
              <a:gd name="T9" fmla="*/ 8 h 140"/>
              <a:gd name="T10" fmla="*/ 95 w 142"/>
              <a:gd name="T11" fmla="*/ 6 h 140"/>
              <a:gd name="T12" fmla="*/ 134 w 142"/>
              <a:gd name="T13" fmla="*/ 41 h 140"/>
              <a:gd name="T14" fmla="*/ 134 w 142"/>
              <a:gd name="T15" fmla="*/ 41 h 140"/>
              <a:gd name="T16" fmla="*/ 136 w 142"/>
              <a:gd name="T17" fmla="*/ 94 h 140"/>
              <a:gd name="T18" fmla="*/ 100 w 142"/>
              <a:gd name="T19" fmla="*/ 133 h 140"/>
              <a:gd name="T20" fmla="*/ 71 w 142"/>
              <a:gd name="T21" fmla="*/ 140 h 140"/>
              <a:gd name="T22" fmla="*/ 71 w 142"/>
              <a:gd name="T23" fmla="*/ 26 h 140"/>
              <a:gd name="T24" fmla="*/ 52 w 142"/>
              <a:gd name="T25" fmla="*/ 30 h 140"/>
              <a:gd name="T26" fmla="*/ 29 w 142"/>
              <a:gd name="T27" fmla="*/ 55 h 140"/>
              <a:gd name="T28" fmla="*/ 31 w 142"/>
              <a:gd name="T29" fmla="*/ 90 h 140"/>
              <a:gd name="T30" fmla="*/ 56 w 142"/>
              <a:gd name="T31" fmla="*/ 113 h 140"/>
              <a:gd name="T32" fmla="*/ 90 w 142"/>
              <a:gd name="T33" fmla="*/ 111 h 140"/>
              <a:gd name="T34" fmla="*/ 114 w 142"/>
              <a:gd name="T35" fmla="*/ 86 h 140"/>
              <a:gd name="T36" fmla="*/ 112 w 142"/>
              <a:gd name="T37" fmla="*/ 52 h 140"/>
              <a:gd name="T38" fmla="*/ 112 w 142"/>
              <a:gd name="T39" fmla="*/ 52 h 140"/>
              <a:gd name="T40" fmla="*/ 87 w 142"/>
              <a:gd name="T41" fmla="*/ 28 h 140"/>
              <a:gd name="T42" fmla="*/ 71 w 142"/>
              <a:gd name="T43" fmla="*/ 26 h 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42" h="140">
                <a:moveTo>
                  <a:pt x="71" y="140"/>
                </a:moveTo>
                <a:cubicBezTo>
                  <a:pt x="63" y="140"/>
                  <a:pt x="55" y="138"/>
                  <a:pt x="48" y="135"/>
                </a:cubicBezTo>
                <a:cubicBezTo>
                  <a:pt x="30" y="129"/>
                  <a:pt x="17" y="116"/>
                  <a:pt x="9" y="100"/>
                </a:cubicBezTo>
                <a:cubicBezTo>
                  <a:pt x="1" y="83"/>
                  <a:pt x="0" y="64"/>
                  <a:pt x="7" y="47"/>
                </a:cubicBezTo>
                <a:cubicBezTo>
                  <a:pt x="13" y="30"/>
                  <a:pt x="25" y="16"/>
                  <a:pt x="42" y="8"/>
                </a:cubicBezTo>
                <a:cubicBezTo>
                  <a:pt x="59" y="0"/>
                  <a:pt x="78" y="0"/>
                  <a:pt x="95" y="6"/>
                </a:cubicBezTo>
                <a:cubicBezTo>
                  <a:pt x="112" y="12"/>
                  <a:pt x="126" y="25"/>
                  <a:pt x="134" y="41"/>
                </a:cubicBezTo>
                <a:cubicBezTo>
                  <a:pt x="134" y="41"/>
                  <a:pt x="134" y="41"/>
                  <a:pt x="134" y="41"/>
                </a:cubicBezTo>
                <a:cubicBezTo>
                  <a:pt x="142" y="58"/>
                  <a:pt x="142" y="77"/>
                  <a:pt x="136" y="94"/>
                </a:cubicBezTo>
                <a:cubicBezTo>
                  <a:pt x="130" y="111"/>
                  <a:pt x="117" y="125"/>
                  <a:pt x="100" y="133"/>
                </a:cubicBezTo>
                <a:cubicBezTo>
                  <a:pt x="91" y="137"/>
                  <a:pt x="81" y="140"/>
                  <a:pt x="71" y="140"/>
                </a:cubicBezTo>
                <a:close/>
                <a:moveTo>
                  <a:pt x="71" y="26"/>
                </a:moveTo>
                <a:cubicBezTo>
                  <a:pt x="65" y="26"/>
                  <a:pt x="58" y="27"/>
                  <a:pt x="52" y="30"/>
                </a:cubicBezTo>
                <a:cubicBezTo>
                  <a:pt x="41" y="35"/>
                  <a:pt x="33" y="44"/>
                  <a:pt x="29" y="55"/>
                </a:cubicBezTo>
                <a:cubicBezTo>
                  <a:pt x="25" y="67"/>
                  <a:pt x="26" y="79"/>
                  <a:pt x="31" y="90"/>
                </a:cubicBezTo>
                <a:cubicBezTo>
                  <a:pt x="36" y="100"/>
                  <a:pt x="45" y="109"/>
                  <a:pt x="56" y="113"/>
                </a:cubicBezTo>
                <a:cubicBezTo>
                  <a:pt x="67" y="117"/>
                  <a:pt x="79" y="116"/>
                  <a:pt x="90" y="111"/>
                </a:cubicBezTo>
                <a:cubicBezTo>
                  <a:pt x="101" y="106"/>
                  <a:pt x="109" y="97"/>
                  <a:pt x="114" y="86"/>
                </a:cubicBezTo>
                <a:cubicBezTo>
                  <a:pt x="118" y="75"/>
                  <a:pt x="117" y="62"/>
                  <a:pt x="112" y="52"/>
                </a:cubicBezTo>
                <a:cubicBezTo>
                  <a:pt x="112" y="52"/>
                  <a:pt x="112" y="52"/>
                  <a:pt x="112" y="52"/>
                </a:cubicBezTo>
                <a:cubicBezTo>
                  <a:pt x="107" y="41"/>
                  <a:pt x="98" y="32"/>
                  <a:pt x="87" y="28"/>
                </a:cubicBezTo>
                <a:cubicBezTo>
                  <a:pt x="82" y="27"/>
                  <a:pt x="76" y="26"/>
                  <a:pt x="71" y="26"/>
                </a:cubicBezTo>
                <a:close/>
              </a:path>
            </a:pathLst>
          </a:custGeom>
          <a:solidFill>
            <a:srgbClr val="42B2D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0" name="Freeform 6">
            <a:extLst>
              <a:ext uri="{FF2B5EF4-FFF2-40B4-BE49-F238E27FC236}">
                <a16:creationId xmlns:a16="http://schemas.microsoft.com/office/drawing/2014/main" id="{21CEFCEC-8D66-4B6A-8987-C732E40403A0}"/>
              </a:ext>
            </a:extLst>
          </p:cNvPr>
          <p:cNvSpPr>
            <a:spLocks/>
          </p:cNvSpPr>
          <p:nvPr/>
        </p:nvSpPr>
        <p:spPr bwMode="auto">
          <a:xfrm>
            <a:off x="4610901" y="3007499"/>
            <a:ext cx="1720850" cy="1628775"/>
          </a:xfrm>
          <a:custGeom>
            <a:avLst/>
            <a:gdLst>
              <a:gd name="T0" fmla="*/ 470 w 1053"/>
              <a:gd name="T1" fmla="*/ 998 h 998"/>
              <a:gd name="T2" fmla="*/ 319 w 1053"/>
              <a:gd name="T3" fmla="*/ 971 h 998"/>
              <a:gd name="T4" fmla="*/ 58 w 1053"/>
              <a:gd name="T5" fmla="*/ 732 h 998"/>
              <a:gd name="T6" fmla="*/ 43 w 1053"/>
              <a:gd name="T7" fmla="*/ 379 h 998"/>
              <a:gd name="T8" fmla="*/ 659 w 1053"/>
              <a:gd name="T9" fmla="*/ 91 h 998"/>
              <a:gd name="T10" fmla="*/ 958 w 1053"/>
              <a:gd name="T11" fmla="*/ 733 h 998"/>
              <a:gd name="T12" fmla="*/ 943 w 1053"/>
              <a:gd name="T13" fmla="*/ 740 h 998"/>
              <a:gd name="T14" fmla="*/ 936 w 1053"/>
              <a:gd name="T15" fmla="*/ 724 h 998"/>
              <a:gd name="T16" fmla="*/ 651 w 1053"/>
              <a:gd name="T17" fmla="*/ 114 h 998"/>
              <a:gd name="T18" fmla="*/ 65 w 1053"/>
              <a:gd name="T19" fmla="*/ 387 h 998"/>
              <a:gd name="T20" fmla="*/ 80 w 1053"/>
              <a:gd name="T21" fmla="*/ 722 h 998"/>
              <a:gd name="T22" fmla="*/ 327 w 1053"/>
              <a:gd name="T23" fmla="*/ 948 h 998"/>
              <a:gd name="T24" fmla="*/ 648 w 1053"/>
              <a:gd name="T25" fmla="*/ 934 h 998"/>
              <a:gd name="T26" fmla="*/ 866 w 1053"/>
              <a:gd name="T27" fmla="*/ 697 h 998"/>
              <a:gd name="T28" fmla="*/ 852 w 1053"/>
              <a:gd name="T29" fmla="*/ 389 h 998"/>
              <a:gd name="T30" fmla="*/ 625 w 1053"/>
              <a:gd name="T31" fmla="*/ 181 h 998"/>
              <a:gd name="T32" fmla="*/ 329 w 1053"/>
              <a:gd name="T33" fmla="*/ 194 h 998"/>
              <a:gd name="T34" fmla="*/ 130 w 1053"/>
              <a:gd name="T35" fmla="*/ 412 h 998"/>
              <a:gd name="T36" fmla="*/ 142 w 1053"/>
              <a:gd name="T37" fmla="*/ 695 h 998"/>
              <a:gd name="T38" fmla="*/ 351 w 1053"/>
              <a:gd name="T39" fmla="*/ 886 h 998"/>
              <a:gd name="T40" fmla="*/ 358 w 1053"/>
              <a:gd name="T41" fmla="*/ 902 h 998"/>
              <a:gd name="T42" fmla="*/ 343 w 1053"/>
              <a:gd name="T43" fmla="*/ 909 h 998"/>
              <a:gd name="T44" fmla="*/ 120 w 1053"/>
              <a:gd name="T45" fmla="*/ 705 h 998"/>
              <a:gd name="T46" fmla="*/ 107 w 1053"/>
              <a:gd name="T47" fmla="*/ 404 h 998"/>
              <a:gd name="T48" fmla="*/ 319 w 1053"/>
              <a:gd name="T49" fmla="*/ 172 h 998"/>
              <a:gd name="T50" fmla="*/ 633 w 1053"/>
              <a:gd name="T51" fmla="*/ 158 h 998"/>
              <a:gd name="T52" fmla="*/ 874 w 1053"/>
              <a:gd name="T53" fmla="*/ 379 h 998"/>
              <a:gd name="T54" fmla="*/ 888 w 1053"/>
              <a:gd name="T55" fmla="*/ 705 h 998"/>
              <a:gd name="T56" fmla="*/ 470 w 1053"/>
              <a:gd name="T57" fmla="*/ 998 h 9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53" h="998">
                <a:moveTo>
                  <a:pt x="470" y="998"/>
                </a:moveTo>
                <a:cubicBezTo>
                  <a:pt x="420" y="998"/>
                  <a:pt x="369" y="989"/>
                  <a:pt x="319" y="971"/>
                </a:cubicBezTo>
                <a:cubicBezTo>
                  <a:pt x="203" y="929"/>
                  <a:pt x="110" y="844"/>
                  <a:pt x="58" y="732"/>
                </a:cubicBezTo>
                <a:cubicBezTo>
                  <a:pt x="6" y="620"/>
                  <a:pt x="0" y="495"/>
                  <a:pt x="43" y="379"/>
                </a:cubicBezTo>
                <a:cubicBezTo>
                  <a:pt x="133" y="129"/>
                  <a:pt x="410" y="0"/>
                  <a:pt x="659" y="91"/>
                </a:cubicBezTo>
                <a:cubicBezTo>
                  <a:pt x="918" y="185"/>
                  <a:pt x="1053" y="473"/>
                  <a:pt x="958" y="733"/>
                </a:cubicBezTo>
                <a:cubicBezTo>
                  <a:pt x="956" y="739"/>
                  <a:pt x="949" y="742"/>
                  <a:pt x="943" y="740"/>
                </a:cubicBezTo>
                <a:cubicBezTo>
                  <a:pt x="937" y="737"/>
                  <a:pt x="933" y="731"/>
                  <a:pt x="936" y="724"/>
                </a:cubicBezTo>
                <a:cubicBezTo>
                  <a:pt x="1025" y="477"/>
                  <a:pt x="898" y="203"/>
                  <a:pt x="651" y="114"/>
                </a:cubicBezTo>
                <a:cubicBezTo>
                  <a:pt x="414" y="27"/>
                  <a:pt x="151" y="150"/>
                  <a:pt x="65" y="387"/>
                </a:cubicBezTo>
                <a:cubicBezTo>
                  <a:pt x="25" y="497"/>
                  <a:pt x="30" y="616"/>
                  <a:pt x="80" y="722"/>
                </a:cubicBezTo>
                <a:cubicBezTo>
                  <a:pt x="129" y="828"/>
                  <a:pt x="217" y="908"/>
                  <a:pt x="327" y="948"/>
                </a:cubicBezTo>
                <a:cubicBezTo>
                  <a:pt x="432" y="987"/>
                  <a:pt x="547" y="982"/>
                  <a:pt x="648" y="934"/>
                </a:cubicBezTo>
                <a:cubicBezTo>
                  <a:pt x="750" y="887"/>
                  <a:pt x="827" y="803"/>
                  <a:pt x="866" y="697"/>
                </a:cubicBezTo>
                <a:cubicBezTo>
                  <a:pt x="902" y="596"/>
                  <a:pt x="898" y="487"/>
                  <a:pt x="852" y="389"/>
                </a:cubicBezTo>
                <a:cubicBezTo>
                  <a:pt x="807" y="292"/>
                  <a:pt x="726" y="218"/>
                  <a:pt x="625" y="181"/>
                </a:cubicBezTo>
                <a:cubicBezTo>
                  <a:pt x="528" y="146"/>
                  <a:pt x="423" y="150"/>
                  <a:pt x="329" y="194"/>
                </a:cubicBezTo>
                <a:cubicBezTo>
                  <a:pt x="236" y="237"/>
                  <a:pt x="165" y="315"/>
                  <a:pt x="130" y="412"/>
                </a:cubicBezTo>
                <a:cubicBezTo>
                  <a:pt x="96" y="505"/>
                  <a:pt x="100" y="605"/>
                  <a:pt x="142" y="695"/>
                </a:cubicBezTo>
                <a:cubicBezTo>
                  <a:pt x="184" y="785"/>
                  <a:pt x="258" y="853"/>
                  <a:pt x="351" y="886"/>
                </a:cubicBezTo>
                <a:cubicBezTo>
                  <a:pt x="357" y="889"/>
                  <a:pt x="360" y="896"/>
                  <a:pt x="358" y="902"/>
                </a:cubicBezTo>
                <a:cubicBezTo>
                  <a:pt x="356" y="908"/>
                  <a:pt x="349" y="911"/>
                  <a:pt x="343" y="909"/>
                </a:cubicBezTo>
                <a:cubicBezTo>
                  <a:pt x="244" y="873"/>
                  <a:pt x="165" y="801"/>
                  <a:pt x="120" y="705"/>
                </a:cubicBezTo>
                <a:cubicBezTo>
                  <a:pt x="76" y="610"/>
                  <a:pt x="71" y="502"/>
                  <a:pt x="107" y="404"/>
                </a:cubicBezTo>
                <a:cubicBezTo>
                  <a:pt x="145" y="301"/>
                  <a:pt x="220" y="218"/>
                  <a:pt x="319" y="172"/>
                </a:cubicBezTo>
                <a:cubicBezTo>
                  <a:pt x="419" y="126"/>
                  <a:pt x="530" y="121"/>
                  <a:pt x="633" y="158"/>
                </a:cubicBezTo>
                <a:cubicBezTo>
                  <a:pt x="740" y="197"/>
                  <a:pt x="826" y="276"/>
                  <a:pt x="874" y="379"/>
                </a:cubicBezTo>
                <a:cubicBezTo>
                  <a:pt x="922" y="482"/>
                  <a:pt x="927" y="598"/>
                  <a:pt x="888" y="705"/>
                </a:cubicBezTo>
                <a:cubicBezTo>
                  <a:pt x="823" y="886"/>
                  <a:pt x="652" y="998"/>
                  <a:pt x="470" y="998"/>
                </a:cubicBezTo>
                <a:close/>
              </a:path>
            </a:pathLst>
          </a:custGeom>
          <a:solidFill>
            <a:srgbClr val="1BAAB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1" name="Freeform 7">
            <a:extLst>
              <a:ext uri="{FF2B5EF4-FFF2-40B4-BE49-F238E27FC236}">
                <a16:creationId xmlns:a16="http://schemas.microsoft.com/office/drawing/2014/main" id="{7C87C429-5A10-4750-BFCE-BBDCD93A1E95}"/>
              </a:ext>
            </a:extLst>
          </p:cNvPr>
          <p:cNvSpPr>
            <a:spLocks/>
          </p:cNvSpPr>
          <p:nvPr/>
        </p:nvSpPr>
        <p:spPr bwMode="auto">
          <a:xfrm>
            <a:off x="5901538" y="4174312"/>
            <a:ext cx="279400" cy="684213"/>
          </a:xfrm>
          <a:custGeom>
            <a:avLst/>
            <a:gdLst>
              <a:gd name="T0" fmla="*/ 14 w 171"/>
              <a:gd name="T1" fmla="*/ 419 h 419"/>
              <a:gd name="T2" fmla="*/ 10 w 171"/>
              <a:gd name="T3" fmla="*/ 418 h 419"/>
              <a:gd name="T4" fmla="*/ 2 w 171"/>
              <a:gd name="T5" fmla="*/ 403 h 419"/>
              <a:gd name="T6" fmla="*/ 146 w 171"/>
              <a:gd name="T7" fmla="*/ 9 h 419"/>
              <a:gd name="T8" fmla="*/ 161 w 171"/>
              <a:gd name="T9" fmla="*/ 2 h 419"/>
              <a:gd name="T10" fmla="*/ 168 w 171"/>
              <a:gd name="T11" fmla="*/ 17 h 419"/>
              <a:gd name="T12" fmla="*/ 25 w 171"/>
              <a:gd name="T13" fmla="*/ 411 h 419"/>
              <a:gd name="T14" fmla="*/ 14 w 171"/>
              <a:gd name="T15" fmla="*/ 419 h 4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71" h="419">
                <a:moveTo>
                  <a:pt x="14" y="419"/>
                </a:moveTo>
                <a:cubicBezTo>
                  <a:pt x="12" y="419"/>
                  <a:pt x="11" y="419"/>
                  <a:pt x="10" y="418"/>
                </a:cubicBezTo>
                <a:cubicBezTo>
                  <a:pt x="3" y="416"/>
                  <a:pt x="0" y="409"/>
                  <a:pt x="2" y="403"/>
                </a:cubicBezTo>
                <a:cubicBezTo>
                  <a:pt x="146" y="9"/>
                  <a:pt x="146" y="9"/>
                  <a:pt x="146" y="9"/>
                </a:cubicBezTo>
                <a:cubicBezTo>
                  <a:pt x="148" y="3"/>
                  <a:pt x="155" y="0"/>
                  <a:pt x="161" y="2"/>
                </a:cubicBezTo>
                <a:cubicBezTo>
                  <a:pt x="167" y="4"/>
                  <a:pt x="171" y="11"/>
                  <a:pt x="168" y="17"/>
                </a:cubicBezTo>
                <a:cubicBezTo>
                  <a:pt x="25" y="411"/>
                  <a:pt x="25" y="411"/>
                  <a:pt x="25" y="411"/>
                </a:cubicBezTo>
                <a:cubicBezTo>
                  <a:pt x="23" y="416"/>
                  <a:pt x="19" y="419"/>
                  <a:pt x="14" y="419"/>
                </a:cubicBezTo>
                <a:close/>
              </a:path>
            </a:pathLst>
          </a:custGeom>
          <a:solidFill>
            <a:srgbClr val="1BAAB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2" name="Freeform 8">
            <a:extLst>
              <a:ext uri="{FF2B5EF4-FFF2-40B4-BE49-F238E27FC236}">
                <a16:creationId xmlns:a16="http://schemas.microsoft.com/office/drawing/2014/main" id="{9CE56033-4B2A-4FA9-B341-5626C1C73B83}"/>
              </a:ext>
            </a:extLst>
          </p:cNvPr>
          <p:cNvSpPr>
            <a:spLocks noEditPoints="1"/>
          </p:cNvSpPr>
          <p:nvPr/>
        </p:nvSpPr>
        <p:spPr bwMode="auto">
          <a:xfrm>
            <a:off x="5782476" y="4812487"/>
            <a:ext cx="231775" cy="228600"/>
          </a:xfrm>
          <a:custGeom>
            <a:avLst/>
            <a:gdLst>
              <a:gd name="T0" fmla="*/ 71 w 142"/>
              <a:gd name="T1" fmla="*/ 140 h 140"/>
              <a:gd name="T2" fmla="*/ 48 w 142"/>
              <a:gd name="T3" fmla="*/ 135 h 140"/>
              <a:gd name="T4" fmla="*/ 9 w 142"/>
              <a:gd name="T5" fmla="*/ 100 h 140"/>
              <a:gd name="T6" fmla="*/ 7 w 142"/>
              <a:gd name="T7" fmla="*/ 47 h 140"/>
              <a:gd name="T8" fmla="*/ 42 w 142"/>
              <a:gd name="T9" fmla="*/ 8 h 140"/>
              <a:gd name="T10" fmla="*/ 95 w 142"/>
              <a:gd name="T11" fmla="*/ 6 h 140"/>
              <a:gd name="T12" fmla="*/ 134 w 142"/>
              <a:gd name="T13" fmla="*/ 41 h 140"/>
              <a:gd name="T14" fmla="*/ 134 w 142"/>
              <a:gd name="T15" fmla="*/ 41 h 140"/>
              <a:gd name="T16" fmla="*/ 136 w 142"/>
              <a:gd name="T17" fmla="*/ 94 h 140"/>
              <a:gd name="T18" fmla="*/ 100 w 142"/>
              <a:gd name="T19" fmla="*/ 133 h 140"/>
              <a:gd name="T20" fmla="*/ 71 w 142"/>
              <a:gd name="T21" fmla="*/ 140 h 140"/>
              <a:gd name="T22" fmla="*/ 71 w 142"/>
              <a:gd name="T23" fmla="*/ 26 h 140"/>
              <a:gd name="T24" fmla="*/ 52 w 142"/>
              <a:gd name="T25" fmla="*/ 30 h 140"/>
              <a:gd name="T26" fmla="*/ 29 w 142"/>
              <a:gd name="T27" fmla="*/ 55 h 140"/>
              <a:gd name="T28" fmla="*/ 31 w 142"/>
              <a:gd name="T29" fmla="*/ 90 h 140"/>
              <a:gd name="T30" fmla="*/ 56 w 142"/>
              <a:gd name="T31" fmla="*/ 113 h 140"/>
              <a:gd name="T32" fmla="*/ 90 w 142"/>
              <a:gd name="T33" fmla="*/ 111 h 140"/>
              <a:gd name="T34" fmla="*/ 114 w 142"/>
              <a:gd name="T35" fmla="*/ 86 h 140"/>
              <a:gd name="T36" fmla="*/ 112 w 142"/>
              <a:gd name="T37" fmla="*/ 52 h 140"/>
              <a:gd name="T38" fmla="*/ 112 w 142"/>
              <a:gd name="T39" fmla="*/ 52 h 140"/>
              <a:gd name="T40" fmla="*/ 87 w 142"/>
              <a:gd name="T41" fmla="*/ 28 h 140"/>
              <a:gd name="T42" fmla="*/ 71 w 142"/>
              <a:gd name="T43" fmla="*/ 26 h 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42" h="140">
                <a:moveTo>
                  <a:pt x="71" y="140"/>
                </a:moveTo>
                <a:cubicBezTo>
                  <a:pt x="63" y="140"/>
                  <a:pt x="55" y="138"/>
                  <a:pt x="48" y="135"/>
                </a:cubicBezTo>
                <a:cubicBezTo>
                  <a:pt x="30" y="129"/>
                  <a:pt x="17" y="116"/>
                  <a:pt x="9" y="100"/>
                </a:cubicBezTo>
                <a:cubicBezTo>
                  <a:pt x="1" y="83"/>
                  <a:pt x="0" y="64"/>
                  <a:pt x="7" y="47"/>
                </a:cubicBezTo>
                <a:cubicBezTo>
                  <a:pt x="13" y="30"/>
                  <a:pt x="25" y="16"/>
                  <a:pt x="42" y="8"/>
                </a:cubicBezTo>
                <a:cubicBezTo>
                  <a:pt x="59" y="0"/>
                  <a:pt x="78" y="0"/>
                  <a:pt x="95" y="6"/>
                </a:cubicBezTo>
                <a:cubicBezTo>
                  <a:pt x="112" y="12"/>
                  <a:pt x="126" y="25"/>
                  <a:pt x="134" y="41"/>
                </a:cubicBezTo>
                <a:cubicBezTo>
                  <a:pt x="134" y="41"/>
                  <a:pt x="134" y="41"/>
                  <a:pt x="134" y="41"/>
                </a:cubicBezTo>
                <a:cubicBezTo>
                  <a:pt x="142" y="58"/>
                  <a:pt x="142" y="77"/>
                  <a:pt x="136" y="94"/>
                </a:cubicBezTo>
                <a:cubicBezTo>
                  <a:pt x="130" y="111"/>
                  <a:pt x="117" y="125"/>
                  <a:pt x="100" y="133"/>
                </a:cubicBezTo>
                <a:cubicBezTo>
                  <a:pt x="91" y="137"/>
                  <a:pt x="81" y="140"/>
                  <a:pt x="71" y="140"/>
                </a:cubicBezTo>
                <a:close/>
                <a:moveTo>
                  <a:pt x="71" y="26"/>
                </a:moveTo>
                <a:cubicBezTo>
                  <a:pt x="65" y="26"/>
                  <a:pt x="58" y="27"/>
                  <a:pt x="52" y="30"/>
                </a:cubicBezTo>
                <a:cubicBezTo>
                  <a:pt x="41" y="35"/>
                  <a:pt x="33" y="44"/>
                  <a:pt x="29" y="55"/>
                </a:cubicBezTo>
                <a:cubicBezTo>
                  <a:pt x="25" y="67"/>
                  <a:pt x="26" y="79"/>
                  <a:pt x="31" y="90"/>
                </a:cubicBezTo>
                <a:cubicBezTo>
                  <a:pt x="36" y="100"/>
                  <a:pt x="45" y="109"/>
                  <a:pt x="56" y="113"/>
                </a:cubicBezTo>
                <a:cubicBezTo>
                  <a:pt x="67" y="117"/>
                  <a:pt x="79" y="116"/>
                  <a:pt x="90" y="111"/>
                </a:cubicBezTo>
                <a:cubicBezTo>
                  <a:pt x="101" y="106"/>
                  <a:pt x="109" y="97"/>
                  <a:pt x="114" y="86"/>
                </a:cubicBezTo>
                <a:cubicBezTo>
                  <a:pt x="118" y="75"/>
                  <a:pt x="117" y="62"/>
                  <a:pt x="112" y="52"/>
                </a:cubicBezTo>
                <a:cubicBezTo>
                  <a:pt x="112" y="52"/>
                  <a:pt x="112" y="52"/>
                  <a:pt x="112" y="52"/>
                </a:cubicBezTo>
                <a:cubicBezTo>
                  <a:pt x="107" y="41"/>
                  <a:pt x="98" y="32"/>
                  <a:pt x="87" y="28"/>
                </a:cubicBezTo>
                <a:cubicBezTo>
                  <a:pt x="82" y="27"/>
                  <a:pt x="76" y="26"/>
                  <a:pt x="71" y="26"/>
                </a:cubicBezTo>
                <a:close/>
              </a:path>
            </a:pathLst>
          </a:custGeom>
          <a:solidFill>
            <a:srgbClr val="1BAAB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844BA6A-7690-48D7-A2E4-4C9E1B583940}"/>
              </a:ext>
            </a:extLst>
          </p:cNvPr>
          <p:cNvSpPr/>
          <p:nvPr/>
        </p:nvSpPr>
        <p:spPr>
          <a:xfrm>
            <a:off x="550006" y="3029848"/>
            <a:ext cx="2956681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fr-FR" sz="1050" b="1" dirty="0">
                <a:latin typeface="Arial" panose="020B0604020202020204" pitchFamily="34" charset="0"/>
                <a:cs typeface="Arial" panose="020B0604020202020204" pitchFamily="34" charset="0"/>
              </a:rPr>
              <a:t>Fiabiliser les remboursement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6927E08-6BFF-40E9-9AC2-BD0745B79556}"/>
              </a:ext>
            </a:extLst>
          </p:cNvPr>
          <p:cNvSpPr/>
          <p:nvPr/>
        </p:nvSpPr>
        <p:spPr>
          <a:xfrm>
            <a:off x="3962943" y="2672131"/>
            <a:ext cx="2956681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fr-FR" sz="1050" b="1" dirty="0">
                <a:latin typeface="Arial" panose="020B0604020202020204" pitchFamily="34" charset="0"/>
                <a:cs typeface="Arial" panose="020B0604020202020204" pitchFamily="34" charset="0"/>
              </a:rPr>
              <a:t>Réduire le risque de fausses ordonnances</a:t>
            </a:r>
          </a:p>
        </p:txBody>
      </p:sp>
      <p:pic>
        <p:nvPicPr>
          <p:cNvPr id="20" name="Graphic 19" descr="Badge Tick outline">
            <a:extLst>
              <a:ext uri="{FF2B5EF4-FFF2-40B4-BE49-F238E27FC236}">
                <a16:creationId xmlns:a16="http://schemas.microsoft.com/office/drawing/2014/main" id="{DECC37F6-6D2E-4E4E-9C5C-A64E1BC8476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876299" y="3821887"/>
            <a:ext cx="914400" cy="914400"/>
          </a:xfrm>
          <a:prstGeom prst="rect">
            <a:avLst/>
          </a:prstGeom>
        </p:spPr>
      </p:pic>
      <p:pic>
        <p:nvPicPr>
          <p:cNvPr id="37" name="Graphic 36" descr="Shield Tick outline">
            <a:extLst>
              <a:ext uri="{FF2B5EF4-FFF2-40B4-BE49-F238E27FC236}">
                <a16:creationId xmlns:a16="http://schemas.microsoft.com/office/drawing/2014/main" id="{A5755A6D-B5DF-4153-B719-80510B2FB98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354117" y="3852811"/>
            <a:ext cx="436253" cy="436253"/>
          </a:xfrm>
          <a:prstGeom prst="rect">
            <a:avLst/>
          </a:prstGeom>
        </p:spPr>
      </p:pic>
      <p:sp>
        <p:nvSpPr>
          <p:cNvPr id="17" name="Freeform 21">
            <a:extLst>
              <a:ext uri="{FF2B5EF4-FFF2-40B4-BE49-F238E27FC236}">
                <a16:creationId xmlns:a16="http://schemas.microsoft.com/office/drawing/2014/main" id="{D1FAE100-5398-4477-A018-24C1680B38EC}"/>
              </a:ext>
            </a:extLst>
          </p:cNvPr>
          <p:cNvSpPr>
            <a:spLocks/>
          </p:cNvSpPr>
          <p:nvPr/>
        </p:nvSpPr>
        <p:spPr bwMode="auto">
          <a:xfrm>
            <a:off x="6935629" y="3205639"/>
            <a:ext cx="1826843" cy="1737418"/>
          </a:xfrm>
          <a:custGeom>
            <a:avLst/>
            <a:gdLst>
              <a:gd name="T0" fmla="*/ 762 w 1088"/>
              <a:gd name="T1" fmla="*/ 990 h 1045"/>
              <a:gd name="T2" fmla="*/ 751 w 1088"/>
              <a:gd name="T3" fmla="*/ 984 h 1045"/>
              <a:gd name="T4" fmla="*/ 756 w 1088"/>
              <a:gd name="T5" fmla="*/ 968 h 1045"/>
              <a:gd name="T6" fmla="*/ 929 w 1088"/>
              <a:gd name="T7" fmla="*/ 320 h 1045"/>
              <a:gd name="T8" fmla="*/ 308 w 1088"/>
              <a:gd name="T9" fmla="*/ 153 h 1045"/>
              <a:gd name="T10" fmla="*/ 148 w 1088"/>
              <a:gd name="T11" fmla="*/ 749 h 1045"/>
              <a:gd name="T12" fmla="*/ 720 w 1088"/>
              <a:gd name="T13" fmla="*/ 903 h 1045"/>
              <a:gd name="T14" fmla="*/ 866 w 1088"/>
              <a:gd name="T15" fmla="*/ 354 h 1045"/>
              <a:gd name="T16" fmla="*/ 341 w 1088"/>
              <a:gd name="T17" fmla="*/ 213 h 1045"/>
              <a:gd name="T18" fmla="*/ 206 w 1088"/>
              <a:gd name="T19" fmla="*/ 717 h 1045"/>
              <a:gd name="T20" fmla="*/ 201 w 1088"/>
              <a:gd name="T21" fmla="*/ 734 h 1045"/>
              <a:gd name="T22" fmla="*/ 185 w 1088"/>
              <a:gd name="T23" fmla="*/ 729 h 1045"/>
              <a:gd name="T24" fmla="*/ 329 w 1088"/>
              <a:gd name="T25" fmla="*/ 193 h 1045"/>
              <a:gd name="T26" fmla="*/ 887 w 1088"/>
              <a:gd name="T27" fmla="*/ 342 h 1045"/>
              <a:gd name="T28" fmla="*/ 732 w 1088"/>
              <a:gd name="T29" fmla="*/ 923 h 1045"/>
              <a:gd name="T30" fmla="*/ 127 w 1088"/>
              <a:gd name="T31" fmla="*/ 761 h 1045"/>
              <a:gd name="T32" fmla="*/ 296 w 1088"/>
              <a:gd name="T33" fmla="*/ 132 h 1045"/>
              <a:gd name="T34" fmla="*/ 950 w 1088"/>
              <a:gd name="T35" fmla="*/ 308 h 1045"/>
              <a:gd name="T36" fmla="*/ 768 w 1088"/>
              <a:gd name="T37" fmla="*/ 989 h 1045"/>
              <a:gd name="T38" fmla="*/ 762 w 1088"/>
              <a:gd name="T39" fmla="*/ 990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088" h="1045">
                <a:moveTo>
                  <a:pt x="762" y="990"/>
                </a:moveTo>
                <a:cubicBezTo>
                  <a:pt x="758" y="990"/>
                  <a:pt x="753" y="988"/>
                  <a:pt x="751" y="984"/>
                </a:cubicBezTo>
                <a:cubicBezTo>
                  <a:pt x="748" y="979"/>
                  <a:pt x="750" y="971"/>
                  <a:pt x="756" y="968"/>
                </a:cubicBezTo>
                <a:cubicBezTo>
                  <a:pt x="982" y="837"/>
                  <a:pt x="1060" y="546"/>
                  <a:pt x="929" y="320"/>
                </a:cubicBezTo>
                <a:cubicBezTo>
                  <a:pt x="804" y="102"/>
                  <a:pt x="525" y="28"/>
                  <a:pt x="308" y="153"/>
                </a:cubicBezTo>
                <a:cubicBezTo>
                  <a:pt x="99" y="273"/>
                  <a:pt x="27" y="541"/>
                  <a:pt x="148" y="749"/>
                </a:cubicBezTo>
                <a:cubicBezTo>
                  <a:pt x="263" y="949"/>
                  <a:pt x="520" y="1018"/>
                  <a:pt x="720" y="903"/>
                </a:cubicBezTo>
                <a:cubicBezTo>
                  <a:pt x="911" y="792"/>
                  <a:pt x="977" y="546"/>
                  <a:pt x="866" y="354"/>
                </a:cubicBezTo>
                <a:cubicBezTo>
                  <a:pt x="760" y="171"/>
                  <a:pt x="525" y="107"/>
                  <a:pt x="341" y="213"/>
                </a:cubicBezTo>
                <a:cubicBezTo>
                  <a:pt x="165" y="315"/>
                  <a:pt x="104" y="541"/>
                  <a:pt x="206" y="717"/>
                </a:cubicBezTo>
                <a:cubicBezTo>
                  <a:pt x="209" y="723"/>
                  <a:pt x="207" y="730"/>
                  <a:pt x="201" y="734"/>
                </a:cubicBezTo>
                <a:cubicBezTo>
                  <a:pt x="196" y="737"/>
                  <a:pt x="188" y="735"/>
                  <a:pt x="185" y="729"/>
                </a:cubicBezTo>
                <a:cubicBezTo>
                  <a:pt x="77" y="542"/>
                  <a:pt x="141" y="301"/>
                  <a:pt x="329" y="193"/>
                </a:cubicBezTo>
                <a:cubicBezTo>
                  <a:pt x="524" y="80"/>
                  <a:pt x="775" y="147"/>
                  <a:pt x="887" y="342"/>
                </a:cubicBezTo>
                <a:cubicBezTo>
                  <a:pt x="1005" y="545"/>
                  <a:pt x="935" y="806"/>
                  <a:pt x="732" y="923"/>
                </a:cubicBezTo>
                <a:cubicBezTo>
                  <a:pt x="520" y="1045"/>
                  <a:pt x="249" y="973"/>
                  <a:pt x="127" y="761"/>
                </a:cubicBezTo>
                <a:cubicBezTo>
                  <a:pt x="0" y="541"/>
                  <a:pt x="76" y="259"/>
                  <a:pt x="296" y="132"/>
                </a:cubicBezTo>
                <a:cubicBezTo>
                  <a:pt x="524" y="0"/>
                  <a:pt x="818" y="79"/>
                  <a:pt x="950" y="308"/>
                </a:cubicBezTo>
                <a:cubicBezTo>
                  <a:pt x="1088" y="546"/>
                  <a:pt x="1006" y="851"/>
                  <a:pt x="768" y="989"/>
                </a:cubicBezTo>
                <a:cubicBezTo>
                  <a:pt x="766" y="990"/>
                  <a:pt x="764" y="990"/>
                  <a:pt x="762" y="990"/>
                </a:cubicBezTo>
                <a:close/>
              </a:path>
            </a:pathLst>
          </a:custGeom>
          <a:solidFill>
            <a:srgbClr val="A0D8E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8" name="Freeform 22">
            <a:extLst>
              <a:ext uri="{FF2B5EF4-FFF2-40B4-BE49-F238E27FC236}">
                <a16:creationId xmlns:a16="http://schemas.microsoft.com/office/drawing/2014/main" id="{391077FE-002D-4849-B7AC-C4800DFDCB45}"/>
              </a:ext>
            </a:extLst>
          </p:cNvPr>
          <p:cNvSpPr>
            <a:spLocks/>
          </p:cNvSpPr>
          <p:nvPr/>
        </p:nvSpPr>
        <p:spPr bwMode="auto">
          <a:xfrm>
            <a:off x="7718414" y="4797006"/>
            <a:ext cx="555625" cy="333375"/>
          </a:xfrm>
          <a:custGeom>
            <a:avLst/>
            <a:gdLst>
              <a:gd name="T0" fmla="*/ 14 w 389"/>
              <a:gd name="T1" fmla="*/ 234 h 234"/>
              <a:gd name="T2" fmla="*/ 3 w 389"/>
              <a:gd name="T3" fmla="*/ 228 h 234"/>
              <a:gd name="T4" fmla="*/ 8 w 389"/>
              <a:gd name="T5" fmla="*/ 212 h 234"/>
              <a:gd name="T6" fmla="*/ 369 w 389"/>
              <a:gd name="T7" fmla="*/ 3 h 234"/>
              <a:gd name="T8" fmla="*/ 385 w 389"/>
              <a:gd name="T9" fmla="*/ 7 h 234"/>
              <a:gd name="T10" fmla="*/ 381 w 389"/>
              <a:gd name="T11" fmla="*/ 24 h 234"/>
              <a:gd name="T12" fmla="*/ 20 w 389"/>
              <a:gd name="T13" fmla="*/ 232 h 234"/>
              <a:gd name="T14" fmla="*/ 14 w 389"/>
              <a:gd name="T15" fmla="*/ 234 h 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89" h="234">
                <a:moveTo>
                  <a:pt x="14" y="234"/>
                </a:moveTo>
                <a:cubicBezTo>
                  <a:pt x="9" y="234"/>
                  <a:pt x="5" y="232"/>
                  <a:pt x="3" y="228"/>
                </a:cubicBezTo>
                <a:cubicBezTo>
                  <a:pt x="0" y="222"/>
                  <a:pt x="2" y="215"/>
                  <a:pt x="8" y="212"/>
                </a:cubicBezTo>
                <a:cubicBezTo>
                  <a:pt x="369" y="3"/>
                  <a:pt x="369" y="3"/>
                  <a:pt x="369" y="3"/>
                </a:cubicBezTo>
                <a:cubicBezTo>
                  <a:pt x="375" y="0"/>
                  <a:pt x="382" y="2"/>
                  <a:pt x="385" y="7"/>
                </a:cubicBezTo>
                <a:cubicBezTo>
                  <a:pt x="389" y="13"/>
                  <a:pt x="387" y="20"/>
                  <a:pt x="381" y="24"/>
                </a:cubicBezTo>
                <a:cubicBezTo>
                  <a:pt x="20" y="232"/>
                  <a:pt x="20" y="232"/>
                  <a:pt x="20" y="232"/>
                </a:cubicBezTo>
                <a:cubicBezTo>
                  <a:pt x="18" y="234"/>
                  <a:pt x="16" y="234"/>
                  <a:pt x="14" y="234"/>
                </a:cubicBezTo>
                <a:close/>
              </a:path>
            </a:pathLst>
          </a:custGeom>
          <a:solidFill>
            <a:srgbClr val="A0D8E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9" name="Freeform 23">
            <a:extLst>
              <a:ext uri="{FF2B5EF4-FFF2-40B4-BE49-F238E27FC236}">
                <a16:creationId xmlns:a16="http://schemas.microsoft.com/office/drawing/2014/main" id="{8886642A-64D1-4B6C-A411-444C1EB6DBAE}"/>
              </a:ext>
            </a:extLst>
          </p:cNvPr>
          <p:cNvSpPr>
            <a:spLocks noEditPoints="1"/>
          </p:cNvSpPr>
          <p:nvPr/>
        </p:nvSpPr>
        <p:spPr bwMode="auto">
          <a:xfrm>
            <a:off x="7603597" y="5090694"/>
            <a:ext cx="217488" cy="198438"/>
          </a:xfrm>
          <a:custGeom>
            <a:avLst/>
            <a:gdLst>
              <a:gd name="T0" fmla="*/ 77 w 153"/>
              <a:gd name="T1" fmla="*/ 140 h 140"/>
              <a:gd name="T2" fmla="*/ 59 w 153"/>
              <a:gd name="T3" fmla="*/ 137 h 140"/>
              <a:gd name="T4" fmla="*/ 10 w 153"/>
              <a:gd name="T5" fmla="*/ 53 h 140"/>
              <a:gd name="T6" fmla="*/ 42 w 153"/>
              <a:gd name="T7" fmla="*/ 11 h 140"/>
              <a:gd name="T8" fmla="*/ 94 w 153"/>
              <a:gd name="T9" fmla="*/ 5 h 140"/>
              <a:gd name="T10" fmla="*/ 143 w 153"/>
              <a:gd name="T11" fmla="*/ 89 h 140"/>
              <a:gd name="T12" fmla="*/ 143 w 153"/>
              <a:gd name="T13" fmla="*/ 89 h 140"/>
              <a:gd name="T14" fmla="*/ 77 w 153"/>
              <a:gd name="T15" fmla="*/ 140 h 140"/>
              <a:gd name="T16" fmla="*/ 77 w 153"/>
              <a:gd name="T17" fmla="*/ 26 h 140"/>
              <a:gd name="T18" fmla="*/ 54 w 153"/>
              <a:gd name="T19" fmla="*/ 32 h 140"/>
              <a:gd name="T20" fmla="*/ 33 w 153"/>
              <a:gd name="T21" fmla="*/ 59 h 140"/>
              <a:gd name="T22" fmla="*/ 65 w 153"/>
              <a:gd name="T23" fmla="*/ 114 h 140"/>
              <a:gd name="T24" fmla="*/ 120 w 153"/>
              <a:gd name="T25" fmla="*/ 83 h 140"/>
              <a:gd name="T26" fmla="*/ 88 w 153"/>
              <a:gd name="T27" fmla="*/ 28 h 140"/>
              <a:gd name="T28" fmla="*/ 77 w 153"/>
              <a:gd name="T29" fmla="*/ 26 h 140"/>
              <a:gd name="T30" fmla="*/ 131 w 153"/>
              <a:gd name="T31" fmla="*/ 86 h 140"/>
              <a:gd name="T32" fmla="*/ 131 w 153"/>
              <a:gd name="T33" fmla="*/ 86 h 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53" h="140">
                <a:moveTo>
                  <a:pt x="77" y="140"/>
                </a:moveTo>
                <a:cubicBezTo>
                  <a:pt x="71" y="140"/>
                  <a:pt x="65" y="139"/>
                  <a:pt x="59" y="137"/>
                </a:cubicBezTo>
                <a:cubicBezTo>
                  <a:pt x="22" y="128"/>
                  <a:pt x="0" y="90"/>
                  <a:pt x="10" y="53"/>
                </a:cubicBezTo>
                <a:cubicBezTo>
                  <a:pt x="15" y="35"/>
                  <a:pt x="26" y="21"/>
                  <a:pt x="42" y="11"/>
                </a:cubicBezTo>
                <a:cubicBezTo>
                  <a:pt x="58" y="2"/>
                  <a:pt x="77" y="0"/>
                  <a:pt x="94" y="5"/>
                </a:cubicBezTo>
                <a:cubicBezTo>
                  <a:pt x="131" y="14"/>
                  <a:pt x="153" y="52"/>
                  <a:pt x="143" y="89"/>
                </a:cubicBezTo>
                <a:cubicBezTo>
                  <a:pt x="143" y="89"/>
                  <a:pt x="143" y="89"/>
                  <a:pt x="143" y="89"/>
                </a:cubicBezTo>
                <a:cubicBezTo>
                  <a:pt x="135" y="119"/>
                  <a:pt x="107" y="140"/>
                  <a:pt x="77" y="140"/>
                </a:cubicBezTo>
                <a:close/>
                <a:moveTo>
                  <a:pt x="77" y="26"/>
                </a:moveTo>
                <a:cubicBezTo>
                  <a:pt x="69" y="26"/>
                  <a:pt x="61" y="28"/>
                  <a:pt x="54" y="32"/>
                </a:cubicBezTo>
                <a:cubicBezTo>
                  <a:pt x="44" y="38"/>
                  <a:pt x="37" y="48"/>
                  <a:pt x="33" y="59"/>
                </a:cubicBezTo>
                <a:cubicBezTo>
                  <a:pt x="27" y="83"/>
                  <a:pt x="41" y="108"/>
                  <a:pt x="65" y="114"/>
                </a:cubicBezTo>
                <a:cubicBezTo>
                  <a:pt x="89" y="121"/>
                  <a:pt x="113" y="106"/>
                  <a:pt x="120" y="83"/>
                </a:cubicBezTo>
                <a:cubicBezTo>
                  <a:pt x="126" y="59"/>
                  <a:pt x="112" y="34"/>
                  <a:pt x="88" y="28"/>
                </a:cubicBezTo>
                <a:cubicBezTo>
                  <a:pt x="84" y="27"/>
                  <a:pt x="80" y="26"/>
                  <a:pt x="77" y="26"/>
                </a:cubicBezTo>
                <a:close/>
                <a:moveTo>
                  <a:pt x="131" y="86"/>
                </a:moveTo>
                <a:cubicBezTo>
                  <a:pt x="131" y="86"/>
                  <a:pt x="131" y="86"/>
                  <a:pt x="131" y="86"/>
                </a:cubicBezTo>
                <a:close/>
              </a:path>
            </a:pathLst>
          </a:custGeom>
          <a:solidFill>
            <a:srgbClr val="A0D8E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7E85006-B272-44CF-B723-FAAF7CA360EE}"/>
              </a:ext>
            </a:extLst>
          </p:cNvPr>
          <p:cNvSpPr/>
          <p:nvPr/>
        </p:nvSpPr>
        <p:spPr>
          <a:xfrm>
            <a:off x="7996226" y="2760943"/>
            <a:ext cx="295668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fr-FR" sz="1050" b="1" dirty="0">
                <a:latin typeface="Arial" panose="020B0604020202020204" pitchFamily="34" charset="0"/>
                <a:cs typeface="Arial" panose="020B0604020202020204" pitchFamily="34" charset="0"/>
              </a:rPr>
              <a:t>Rendre le dispositif plus efficient </a:t>
            </a:r>
          </a:p>
          <a:p>
            <a:pPr lvl="0" algn="ctr">
              <a:defRPr/>
            </a:pPr>
            <a:r>
              <a:rPr lang="fr-FR" sz="1050" dirty="0">
                <a:latin typeface="Arial" panose="020B0604020202020204" pitchFamily="34" charset="0"/>
                <a:cs typeface="Arial" panose="020B0604020202020204" pitchFamily="34" charset="0"/>
              </a:rPr>
              <a:t>(moins d’indus pour pièces absentes / pas de double paiement lors de la réceptions tardive de la PJ)</a:t>
            </a:r>
          </a:p>
        </p:txBody>
      </p:sp>
      <p:pic>
        <p:nvPicPr>
          <p:cNvPr id="23" name="Graphic 22" descr="Exponential Graph outline">
            <a:extLst>
              <a:ext uri="{FF2B5EF4-FFF2-40B4-BE49-F238E27FC236}">
                <a16:creationId xmlns:a16="http://schemas.microsoft.com/office/drawing/2014/main" id="{A845CAC8-A3EB-45BF-8ED4-A12F8EB447C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347059" y="3681534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30509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512B964-A80A-4FB2-922E-73E2F0F33137}"/>
              </a:ext>
            </a:extLst>
          </p:cNvPr>
          <p:cNvSpPr/>
          <p:nvPr/>
        </p:nvSpPr>
        <p:spPr>
          <a:xfrm>
            <a:off x="9355015" y="6105139"/>
            <a:ext cx="2517928" cy="6297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084563-A5A1-4ACA-BE5F-275931774D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E084563-A5A1-4ACA-BE5F-275931774D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1"/>
          <p:cNvSpPr>
            <a:spLocks noGrp="1"/>
          </p:cNvSpPr>
          <p:nvPr>
            <p:ph type="title"/>
          </p:nvPr>
        </p:nvSpPr>
        <p:spPr/>
        <p:txBody>
          <a:bodyPr vert="horz" anchor="ctr"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fr-FR" sz="2000" dirty="0"/>
              <a:t>Contexte de l’Ordonnance numérique</a:t>
            </a:r>
            <a:endParaRPr lang="fr-FR" sz="2000" b="1" dirty="0">
              <a:solidFill>
                <a:schemeClr val="tx2"/>
              </a:solidFill>
            </a:endParaRPr>
          </a:p>
        </p:txBody>
      </p:sp>
      <p:sp>
        <p:nvSpPr>
          <p:cNvPr id="35" name="TextBox 78">
            <a:extLst>
              <a:ext uri="{FF2B5EF4-FFF2-40B4-BE49-F238E27FC236}">
                <a16:creationId xmlns:a16="http://schemas.microsoft.com/office/drawing/2014/main" id="{721BC59A-022B-4178-84E1-A711CD47439A}"/>
              </a:ext>
            </a:extLst>
          </p:cNvPr>
          <p:cNvSpPr txBox="1"/>
          <p:nvPr/>
        </p:nvSpPr>
        <p:spPr>
          <a:xfrm>
            <a:off x="1097861" y="2055591"/>
            <a:ext cx="104902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63" eaLnBrk="0" fontAlgn="base" hangingPunct="0">
              <a:spcBef>
                <a:spcPts val="200"/>
              </a:spcBef>
              <a:spcAft>
                <a:spcPts val="200"/>
              </a:spcAft>
              <a:buClr>
                <a:srgbClr val="31859C"/>
              </a:buClr>
              <a:buSzPct val="100000"/>
            </a:pPr>
            <a:r>
              <a:rPr lang="fr-FR" sz="1400" b="1" dirty="0">
                <a:latin typeface="+mj-lt"/>
              </a:rPr>
              <a:t>Ma santé 2022 - Virage numérique :</a:t>
            </a:r>
            <a:r>
              <a:rPr lang="fr-FR" sz="1400" dirty="0">
                <a:latin typeface="+mj-lt"/>
              </a:rPr>
              <a:t> L’ordonnance numérique, un des services socles du numérique en santé </a:t>
            </a:r>
          </a:p>
        </p:txBody>
      </p:sp>
      <p:sp>
        <p:nvSpPr>
          <p:cNvPr id="36" name="TextBox 18">
            <a:extLst>
              <a:ext uri="{FF2B5EF4-FFF2-40B4-BE49-F238E27FC236}">
                <a16:creationId xmlns:a16="http://schemas.microsoft.com/office/drawing/2014/main" id="{43494000-FE10-424F-AB81-1D6F9EEABF77}"/>
              </a:ext>
            </a:extLst>
          </p:cNvPr>
          <p:cNvSpPr txBox="1"/>
          <p:nvPr/>
        </p:nvSpPr>
        <p:spPr>
          <a:xfrm>
            <a:off x="1097861" y="5129654"/>
            <a:ext cx="104662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63" eaLnBrk="0" fontAlgn="base" hangingPunct="0">
              <a:spcBef>
                <a:spcPts val="200"/>
              </a:spcBef>
              <a:spcAft>
                <a:spcPts val="200"/>
              </a:spcAft>
              <a:buClr>
                <a:srgbClr val="31859C"/>
              </a:buClr>
              <a:buSzPct val="100000"/>
            </a:pPr>
            <a:r>
              <a:rPr lang="fr-FR" sz="1400" b="1" dirty="0">
                <a:latin typeface="+mj-lt"/>
              </a:rPr>
              <a:t>L’ordonnance 2020-1408 du 18/11/2020 portant sur la mise en œuvre de la prescription électronique pose le principe de la généralisation de la prescription au plus tard au 31/12/2024</a:t>
            </a:r>
            <a:endParaRPr lang="fr-FR" sz="1400" dirty="0">
              <a:latin typeface="+mj-lt"/>
            </a:endParaRPr>
          </a:p>
        </p:txBody>
      </p:sp>
      <p:sp>
        <p:nvSpPr>
          <p:cNvPr id="37" name="TextBox 6">
            <a:extLst>
              <a:ext uri="{FF2B5EF4-FFF2-40B4-BE49-F238E27FC236}">
                <a16:creationId xmlns:a16="http://schemas.microsoft.com/office/drawing/2014/main" id="{DBCBB93A-CFA9-44F7-80CC-FB006AA32862}"/>
              </a:ext>
            </a:extLst>
          </p:cNvPr>
          <p:cNvSpPr txBox="1"/>
          <p:nvPr/>
        </p:nvSpPr>
        <p:spPr>
          <a:xfrm>
            <a:off x="1097862" y="2750931"/>
            <a:ext cx="2275775" cy="1668149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28575" cmpd="dbl"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fr-FR"/>
            </a:defPPr>
            <a:lvl1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b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indent="0" algn="ctr">
              <a:buNone/>
            </a:pPr>
            <a:r>
              <a:rPr lang="fr-FR" sz="1100" dirty="0">
                <a:solidFill>
                  <a:srgbClr val="0C419A"/>
                </a:solidFill>
              </a:rPr>
              <a:t>Socle d’outils standardisés afin de permettre la construction de services numériques sur des fondations robustes</a:t>
            </a:r>
          </a:p>
        </p:txBody>
      </p:sp>
      <p:sp>
        <p:nvSpPr>
          <p:cNvPr id="38" name="Freeform 12">
            <a:extLst>
              <a:ext uri="{FF2B5EF4-FFF2-40B4-BE49-F238E27FC236}">
                <a16:creationId xmlns:a16="http://schemas.microsoft.com/office/drawing/2014/main" id="{943D1AA4-EF47-4345-80DC-5A15918843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70086" y="2578263"/>
            <a:ext cx="911259" cy="2258675"/>
          </a:xfrm>
          <a:custGeom>
            <a:avLst/>
            <a:gdLst>
              <a:gd name="connsiteX0" fmla="*/ 0 w 820739"/>
              <a:gd name="connsiteY0" fmla="*/ 0 h 2653931"/>
              <a:gd name="connsiteX1" fmla="*/ 45184 w 820739"/>
              <a:gd name="connsiteY1" fmla="*/ 21801 h 2653931"/>
              <a:gd name="connsiteX2" fmla="*/ 820739 w 820739"/>
              <a:gd name="connsiteY2" fmla="*/ 1326965 h 2653931"/>
              <a:gd name="connsiteX3" fmla="*/ 45184 w 820739"/>
              <a:gd name="connsiteY3" fmla="*/ 2632129 h 2653931"/>
              <a:gd name="connsiteX4" fmla="*/ 0 w 820739"/>
              <a:gd name="connsiteY4" fmla="*/ 2653931 h 2653931"/>
              <a:gd name="connsiteX5" fmla="*/ 0 w 820739"/>
              <a:gd name="connsiteY5" fmla="*/ 0 h 26539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0739" h="2653931">
                <a:moveTo>
                  <a:pt x="0" y="0"/>
                </a:moveTo>
                <a:lnTo>
                  <a:pt x="45184" y="21801"/>
                </a:lnTo>
                <a:cubicBezTo>
                  <a:pt x="507139" y="273153"/>
                  <a:pt x="820739" y="763378"/>
                  <a:pt x="820739" y="1326965"/>
                </a:cubicBezTo>
                <a:cubicBezTo>
                  <a:pt x="820739" y="1890552"/>
                  <a:pt x="507139" y="2380777"/>
                  <a:pt x="45184" y="2632129"/>
                </a:cubicBezTo>
                <a:lnTo>
                  <a:pt x="0" y="2653931"/>
                </a:lnTo>
                <a:lnTo>
                  <a:pt x="0" y="0"/>
                </a:lnTo>
                <a:close/>
              </a:path>
            </a:pathLst>
          </a:custGeom>
          <a:solidFill>
            <a:srgbClr val="4C6C9C"/>
          </a:solidFill>
          <a:ln w="17463" cap="flat">
            <a:noFill/>
            <a:prstDash val="solid"/>
            <a:miter lim="800000"/>
            <a:headEnd/>
            <a:tailEnd/>
          </a:ln>
        </p:spPr>
        <p:txBody>
          <a:bodyPr vert="horz" wrap="square" lIns="70338" tIns="35169" rIns="70338" bIns="35169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11291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B688A99-FA1F-4A30-ABE6-18C71606B6B7}"/>
              </a:ext>
            </a:extLst>
          </p:cNvPr>
          <p:cNvSpPr/>
          <p:nvPr/>
        </p:nvSpPr>
        <p:spPr>
          <a:xfrm>
            <a:off x="4939311" y="2515941"/>
            <a:ext cx="6748277" cy="3539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129111"/>
            <a:r>
              <a:rPr lang="fr-FR" sz="1200" b="1" dirty="0">
                <a:latin typeface="+mj-lt"/>
                <a:cs typeface="Arial" panose="020B0604020202020204" pitchFamily="34" charset="0"/>
              </a:rPr>
              <a:t>Le Dossier Médical Partagé </a:t>
            </a:r>
          </a:p>
          <a:p>
            <a:pPr defTabSz="1129111"/>
            <a:r>
              <a:rPr lang="fr-FR" sz="1100" i="1" dirty="0">
                <a:latin typeface="+mj-lt"/>
                <a:cs typeface="Arial" panose="020B0604020202020204" pitchFamily="34" charset="0"/>
              </a:rPr>
              <a:t>dont le déploiement doit être poursuivi pour sa création et des leviers mis en œuvre pour son alimentation 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184425D-3316-42EF-B8C3-0894C3E9DC2B}"/>
              </a:ext>
            </a:extLst>
          </p:cNvPr>
          <p:cNvSpPr/>
          <p:nvPr/>
        </p:nvSpPr>
        <p:spPr>
          <a:xfrm>
            <a:off x="5722583" y="3736599"/>
            <a:ext cx="6053029" cy="58689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8575" cmpd="dbl">
            <a:solidFill>
              <a:srgbClr val="1BAABA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fr-FR" sz="1200" b="1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L’ordonnance numérique </a:t>
            </a:r>
            <a:r>
              <a:rPr lang="fr-FR" sz="1200" i="1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(nom historique est « e-prescription »)</a:t>
            </a:r>
          </a:p>
          <a:p>
            <a:pPr>
              <a:spcBef>
                <a:spcPts val="300"/>
              </a:spcBef>
            </a:pPr>
            <a:r>
              <a:rPr lang="fr-FR" sz="1100" i="1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ont la généralisation couvrira à terme toutes les prescriptions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0E758EE9-EB1D-4A78-9456-0D5228108F74}"/>
              </a:ext>
            </a:extLst>
          </p:cNvPr>
          <p:cNvSpPr/>
          <p:nvPr/>
        </p:nvSpPr>
        <p:spPr>
          <a:xfrm>
            <a:off x="5805059" y="3054720"/>
            <a:ext cx="6192000" cy="3539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129111"/>
            <a:r>
              <a:rPr lang="fr-FR" sz="1200" b="1" dirty="0">
                <a:latin typeface="+mj-lt"/>
                <a:cs typeface="Arial" panose="020B0604020202020204" pitchFamily="34" charset="0"/>
              </a:rPr>
              <a:t>Les messageries de l’espace de confiance MS-Santé  </a:t>
            </a:r>
          </a:p>
          <a:p>
            <a:pPr defTabSz="1129111"/>
            <a:r>
              <a:rPr lang="fr-FR" sz="1100" i="1" dirty="0">
                <a:latin typeface="+mj-lt"/>
                <a:cs typeface="Arial" panose="020B0604020202020204" pitchFamily="34" charset="0"/>
              </a:rPr>
              <a:t>dont le déploiement doit être accéléré</a:t>
            </a:r>
          </a:p>
        </p:txBody>
      </p:sp>
      <p:pic>
        <p:nvPicPr>
          <p:cNvPr id="74" name="Picture 34">
            <a:extLst>
              <a:ext uri="{FF2B5EF4-FFF2-40B4-BE49-F238E27FC236}">
                <a16:creationId xmlns:a16="http://schemas.microsoft.com/office/drawing/2014/main" id="{8D1533F6-282B-46E5-B4ED-1E81DD30A24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9379" y="2527597"/>
            <a:ext cx="520206" cy="393755"/>
          </a:xfrm>
          <a:prstGeom prst="rect">
            <a:avLst/>
          </a:prstGeom>
        </p:spPr>
      </p:pic>
      <p:pic>
        <p:nvPicPr>
          <p:cNvPr id="75" name="Image 53">
            <a:extLst>
              <a:ext uri="{FF2B5EF4-FFF2-40B4-BE49-F238E27FC236}">
                <a16:creationId xmlns:a16="http://schemas.microsoft.com/office/drawing/2014/main" id="{83D1C0CC-765A-4DD5-B59F-708E2D293CC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97355" y="3045463"/>
            <a:ext cx="543849" cy="393979"/>
          </a:xfrm>
          <a:prstGeom prst="rect">
            <a:avLst/>
          </a:prstGeom>
        </p:spPr>
      </p:pic>
      <p:grpSp>
        <p:nvGrpSpPr>
          <p:cNvPr id="76" name="Groupe 21504">
            <a:extLst>
              <a:ext uri="{FF2B5EF4-FFF2-40B4-BE49-F238E27FC236}">
                <a16:creationId xmlns:a16="http://schemas.microsoft.com/office/drawing/2014/main" id="{BBA3177B-570A-4E71-AB2C-B6111A6167E2}"/>
              </a:ext>
            </a:extLst>
          </p:cNvPr>
          <p:cNvGrpSpPr/>
          <p:nvPr/>
        </p:nvGrpSpPr>
        <p:grpSpPr>
          <a:xfrm>
            <a:off x="4870449" y="3797785"/>
            <a:ext cx="557543" cy="504000"/>
            <a:chOff x="3482159" y="2662510"/>
            <a:chExt cx="652634" cy="587460"/>
          </a:xfrm>
        </p:grpSpPr>
        <p:sp>
          <p:nvSpPr>
            <p:cNvPr id="77" name="Ellipse 42">
              <a:extLst>
                <a:ext uri="{FF2B5EF4-FFF2-40B4-BE49-F238E27FC236}">
                  <a16:creationId xmlns:a16="http://schemas.microsoft.com/office/drawing/2014/main" id="{546ED2D0-09E0-43AA-BAA6-DA23C08E6682}"/>
                </a:ext>
              </a:extLst>
            </p:cNvPr>
            <p:cNvSpPr/>
            <p:nvPr/>
          </p:nvSpPr>
          <p:spPr>
            <a:xfrm>
              <a:off x="3482159" y="2662510"/>
              <a:ext cx="652634" cy="587460"/>
            </a:xfrm>
            <a:prstGeom prst="ellipse">
              <a:avLst/>
            </a:prstGeom>
            <a:solidFill>
              <a:srgbClr val="5B9BD5">
                <a:lumMod val="50000"/>
              </a:srgbClr>
            </a:solidFill>
            <a:ln w="1746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70338" tIns="35169" rIns="70338" bIns="35169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129111"/>
              <a:endParaRPr lang="fr-FR" sz="12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Freeform 40">
              <a:extLst>
                <a:ext uri="{FF2B5EF4-FFF2-40B4-BE49-F238E27FC236}">
                  <a16:creationId xmlns:a16="http://schemas.microsoft.com/office/drawing/2014/main" id="{A93CBE5C-5AA5-4E05-A9E6-DB48DCB6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06266" y="2826043"/>
              <a:ext cx="225122" cy="328055"/>
            </a:xfrm>
            <a:custGeom>
              <a:avLst/>
              <a:gdLst>
                <a:gd name="T0" fmla="*/ 170 w 224"/>
                <a:gd name="T1" fmla="*/ 0 h 264"/>
                <a:gd name="T2" fmla="*/ 200 w 224"/>
                <a:gd name="T3" fmla="*/ 30 h 264"/>
                <a:gd name="T4" fmla="*/ 188 w 224"/>
                <a:gd name="T5" fmla="*/ 104 h 264"/>
                <a:gd name="T6" fmla="*/ 183 w 224"/>
                <a:gd name="T7" fmla="*/ 18 h 264"/>
                <a:gd name="T8" fmla="*/ 56 w 224"/>
                <a:gd name="T9" fmla="*/ 13 h 264"/>
                <a:gd name="T10" fmla="*/ 75 w 224"/>
                <a:gd name="T11" fmla="*/ 37 h 264"/>
                <a:gd name="T12" fmla="*/ 12 w 224"/>
                <a:gd name="T13" fmla="*/ 112 h 264"/>
                <a:gd name="T14" fmla="*/ 17 w 224"/>
                <a:gd name="T15" fmla="*/ 240 h 264"/>
                <a:gd name="T16" fmla="*/ 67 w 224"/>
                <a:gd name="T17" fmla="*/ 245 h 264"/>
                <a:gd name="T18" fmla="*/ 29 w 224"/>
                <a:gd name="T19" fmla="*/ 257 h 264"/>
                <a:gd name="T20" fmla="*/ 0 w 224"/>
                <a:gd name="T21" fmla="*/ 228 h 264"/>
                <a:gd name="T22" fmla="*/ 0 w 224"/>
                <a:gd name="T23" fmla="*/ 108 h 264"/>
                <a:gd name="T24" fmla="*/ 34 w 224"/>
                <a:gd name="T25" fmla="*/ 3 h 264"/>
                <a:gd name="T26" fmla="*/ 34 w 224"/>
                <a:gd name="T27" fmla="*/ 3 h 264"/>
                <a:gd name="T28" fmla="*/ 34 w 224"/>
                <a:gd name="T29" fmla="*/ 3 h 264"/>
                <a:gd name="T30" fmla="*/ 36 w 224"/>
                <a:gd name="T31" fmla="*/ 2 h 264"/>
                <a:gd name="T32" fmla="*/ 36 w 224"/>
                <a:gd name="T33" fmla="*/ 2 h 264"/>
                <a:gd name="T34" fmla="*/ 36 w 224"/>
                <a:gd name="T35" fmla="*/ 2 h 264"/>
                <a:gd name="T36" fmla="*/ 36 w 224"/>
                <a:gd name="T37" fmla="*/ 2 h 264"/>
                <a:gd name="T38" fmla="*/ 38 w 224"/>
                <a:gd name="T39" fmla="*/ 0 h 264"/>
                <a:gd name="T40" fmla="*/ 38 w 224"/>
                <a:gd name="T41" fmla="*/ 0 h 264"/>
                <a:gd name="T42" fmla="*/ 38 w 224"/>
                <a:gd name="T43" fmla="*/ 0 h 264"/>
                <a:gd name="T44" fmla="*/ 38 w 224"/>
                <a:gd name="T45" fmla="*/ 0 h 264"/>
                <a:gd name="T46" fmla="*/ 38 w 224"/>
                <a:gd name="T47" fmla="*/ 0 h 264"/>
                <a:gd name="T48" fmla="*/ 39 w 224"/>
                <a:gd name="T49" fmla="*/ 0 h 264"/>
                <a:gd name="T50" fmla="*/ 40 w 224"/>
                <a:gd name="T51" fmla="*/ 0 h 264"/>
                <a:gd name="T52" fmla="*/ 37 w 224"/>
                <a:gd name="T53" fmla="*/ 180 h 264"/>
                <a:gd name="T54" fmla="*/ 101 w 224"/>
                <a:gd name="T55" fmla="*/ 170 h 264"/>
                <a:gd name="T56" fmla="*/ 37 w 224"/>
                <a:gd name="T57" fmla="*/ 143 h 264"/>
                <a:gd name="T58" fmla="*/ 101 w 224"/>
                <a:gd name="T59" fmla="*/ 153 h 264"/>
                <a:gd name="T60" fmla="*/ 37 w 224"/>
                <a:gd name="T61" fmla="*/ 143 h 264"/>
                <a:gd name="T62" fmla="*/ 37 w 224"/>
                <a:gd name="T63" fmla="*/ 127 h 264"/>
                <a:gd name="T64" fmla="*/ 166 w 224"/>
                <a:gd name="T65" fmla="*/ 117 h 264"/>
                <a:gd name="T66" fmla="*/ 104 w 224"/>
                <a:gd name="T67" fmla="*/ 86 h 264"/>
                <a:gd name="T68" fmla="*/ 166 w 224"/>
                <a:gd name="T69" fmla="*/ 96 h 264"/>
                <a:gd name="T70" fmla="*/ 104 w 224"/>
                <a:gd name="T71" fmla="*/ 86 h 264"/>
                <a:gd name="T72" fmla="*/ 104 w 224"/>
                <a:gd name="T73" fmla="*/ 69 h 264"/>
                <a:gd name="T74" fmla="*/ 166 w 224"/>
                <a:gd name="T75" fmla="*/ 59 h 264"/>
                <a:gd name="T76" fmla="*/ 104 w 224"/>
                <a:gd name="T77" fmla="*/ 34 h 264"/>
                <a:gd name="T78" fmla="*/ 166 w 224"/>
                <a:gd name="T79" fmla="*/ 44 h 264"/>
                <a:gd name="T80" fmla="*/ 104 w 224"/>
                <a:gd name="T81" fmla="*/ 34 h 264"/>
                <a:gd name="T82" fmla="*/ 94 w 224"/>
                <a:gd name="T83" fmla="*/ 217 h 264"/>
                <a:gd name="T84" fmla="*/ 224 w 224"/>
                <a:gd name="T85" fmla="*/ 147 h 264"/>
                <a:gd name="T86" fmla="*/ 90 w 224"/>
                <a:gd name="T87" fmla="*/ 222 h 264"/>
                <a:gd name="T88" fmla="*/ 88 w 224"/>
                <a:gd name="T89" fmla="*/ 264 h 264"/>
                <a:gd name="T90" fmla="*/ 90 w 224"/>
                <a:gd name="T91" fmla="*/ 222 h 264"/>
                <a:gd name="T92" fmla="*/ 188 w 224"/>
                <a:gd name="T93" fmla="*/ 205 h 264"/>
                <a:gd name="T94" fmla="*/ 183 w 224"/>
                <a:gd name="T95" fmla="*/ 240 h 264"/>
                <a:gd name="T96" fmla="*/ 147 w 224"/>
                <a:gd name="T97" fmla="*/ 245 h 264"/>
                <a:gd name="T98" fmla="*/ 145 w 224"/>
                <a:gd name="T99" fmla="*/ 257 h 264"/>
                <a:gd name="T100" fmla="*/ 191 w 224"/>
                <a:gd name="T101" fmla="*/ 248 h 264"/>
                <a:gd name="T102" fmla="*/ 200 w 224"/>
                <a:gd name="T103" fmla="*/ 192 h 264"/>
                <a:gd name="T104" fmla="*/ 62 w 224"/>
                <a:gd name="T105" fmla="*/ 34 h 264"/>
                <a:gd name="T106" fmla="*/ 22 w 224"/>
                <a:gd name="T107" fmla="*/ 81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24" h="264">
                  <a:moveTo>
                    <a:pt x="40" y="0"/>
                  </a:moveTo>
                  <a:cubicBezTo>
                    <a:pt x="170" y="0"/>
                    <a:pt x="170" y="0"/>
                    <a:pt x="170" y="0"/>
                  </a:cubicBezTo>
                  <a:cubicBezTo>
                    <a:pt x="179" y="0"/>
                    <a:pt x="186" y="3"/>
                    <a:pt x="191" y="9"/>
                  </a:cubicBezTo>
                  <a:cubicBezTo>
                    <a:pt x="197" y="14"/>
                    <a:pt x="200" y="21"/>
                    <a:pt x="200" y="30"/>
                  </a:cubicBezTo>
                  <a:cubicBezTo>
                    <a:pt x="200" y="92"/>
                    <a:pt x="200" y="92"/>
                    <a:pt x="200" y="92"/>
                  </a:cubicBezTo>
                  <a:cubicBezTo>
                    <a:pt x="188" y="104"/>
                    <a:pt x="188" y="104"/>
                    <a:pt x="188" y="104"/>
                  </a:cubicBezTo>
                  <a:cubicBezTo>
                    <a:pt x="188" y="30"/>
                    <a:pt x="188" y="30"/>
                    <a:pt x="188" y="30"/>
                  </a:cubicBezTo>
                  <a:cubicBezTo>
                    <a:pt x="188" y="25"/>
                    <a:pt x="186" y="21"/>
                    <a:pt x="183" y="18"/>
                  </a:cubicBezTo>
                  <a:cubicBezTo>
                    <a:pt x="179" y="14"/>
                    <a:pt x="175" y="13"/>
                    <a:pt x="170" y="13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7" y="30"/>
                    <a:pt x="77" y="34"/>
                    <a:pt x="75" y="37"/>
                  </a:cubicBezTo>
                  <a:cubicBezTo>
                    <a:pt x="75" y="37"/>
                    <a:pt x="75" y="37"/>
                    <a:pt x="75" y="37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2" y="228"/>
                    <a:pt x="12" y="228"/>
                    <a:pt x="12" y="228"/>
                  </a:cubicBezTo>
                  <a:cubicBezTo>
                    <a:pt x="12" y="232"/>
                    <a:pt x="14" y="236"/>
                    <a:pt x="17" y="240"/>
                  </a:cubicBezTo>
                  <a:cubicBezTo>
                    <a:pt x="20" y="243"/>
                    <a:pt x="25" y="245"/>
                    <a:pt x="29" y="245"/>
                  </a:cubicBezTo>
                  <a:cubicBezTo>
                    <a:pt x="67" y="245"/>
                    <a:pt x="67" y="245"/>
                    <a:pt x="67" y="245"/>
                  </a:cubicBezTo>
                  <a:cubicBezTo>
                    <a:pt x="62" y="257"/>
                    <a:pt x="62" y="257"/>
                    <a:pt x="62" y="257"/>
                  </a:cubicBezTo>
                  <a:cubicBezTo>
                    <a:pt x="29" y="257"/>
                    <a:pt x="29" y="257"/>
                    <a:pt x="29" y="257"/>
                  </a:cubicBezTo>
                  <a:cubicBezTo>
                    <a:pt x="21" y="257"/>
                    <a:pt x="14" y="254"/>
                    <a:pt x="9" y="248"/>
                  </a:cubicBezTo>
                  <a:cubicBezTo>
                    <a:pt x="3" y="243"/>
                    <a:pt x="0" y="236"/>
                    <a:pt x="0" y="228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0" y="109"/>
                    <a:pt x="0" y="108"/>
                    <a:pt x="0" y="108"/>
                  </a:cubicBezTo>
                  <a:cubicBezTo>
                    <a:pt x="34" y="5"/>
                    <a:pt x="34" y="5"/>
                    <a:pt x="34" y="5"/>
                  </a:cubicBezTo>
                  <a:cubicBezTo>
                    <a:pt x="34" y="4"/>
                    <a:pt x="34" y="4"/>
                    <a:pt x="34" y="3"/>
                  </a:cubicBezTo>
                  <a:cubicBezTo>
                    <a:pt x="34" y="3"/>
                    <a:pt x="34" y="3"/>
                    <a:pt x="34" y="3"/>
                  </a:cubicBezTo>
                  <a:cubicBezTo>
                    <a:pt x="34" y="3"/>
                    <a:pt x="34" y="3"/>
                    <a:pt x="34" y="3"/>
                  </a:cubicBezTo>
                  <a:cubicBezTo>
                    <a:pt x="34" y="3"/>
                    <a:pt x="34" y="3"/>
                    <a:pt x="34" y="3"/>
                  </a:cubicBezTo>
                  <a:cubicBezTo>
                    <a:pt x="34" y="3"/>
                    <a:pt x="34" y="3"/>
                    <a:pt x="34" y="3"/>
                  </a:cubicBezTo>
                  <a:cubicBezTo>
                    <a:pt x="34" y="3"/>
                    <a:pt x="34" y="3"/>
                    <a:pt x="34" y="3"/>
                  </a:cubicBezTo>
                  <a:cubicBezTo>
                    <a:pt x="35" y="3"/>
                    <a:pt x="35" y="2"/>
                    <a:pt x="36" y="2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7" y="1"/>
                    <a:pt x="38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lose/>
                  <a:moveTo>
                    <a:pt x="37" y="170"/>
                  </a:moveTo>
                  <a:cubicBezTo>
                    <a:pt x="37" y="180"/>
                    <a:pt x="37" y="180"/>
                    <a:pt x="37" y="180"/>
                  </a:cubicBezTo>
                  <a:cubicBezTo>
                    <a:pt x="101" y="180"/>
                    <a:pt x="101" y="180"/>
                    <a:pt x="101" y="180"/>
                  </a:cubicBezTo>
                  <a:cubicBezTo>
                    <a:pt x="101" y="170"/>
                    <a:pt x="101" y="170"/>
                    <a:pt x="101" y="170"/>
                  </a:cubicBezTo>
                  <a:cubicBezTo>
                    <a:pt x="37" y="170"/>
                    <a:pt x="37" y="170"/>
                    <a:pt x="37" y="170"/>
                  </a:cubicBezTo>
                  <a:close/>
                  <a:moveTo>
                    <a:pt x="37" y="143"/>
                  </a:moveTo>
                  <a:cubicBezTo>
                    <a:pt x="37" y="153"/>
                    <a:pt x="37" y="153"/>
                    <a:pt x="37" y="153"/>
                  </a:cubicBezTo>
                  <a:cubicBezTo>
                    <a:pt x="101" y="153"/>
                    <a:pt x="101" y="153"/>
                    <a:pt x="101" y="153"/>
                  </a:cubicBezTo>
                  <a:cubicBezTo>
                    <a:pt x="101" y="143"/>
                    <a:pt x="101" y="143"/>
                    <a:pt x="101" y="143"/>
                  </a:cubicBezTo>
                  <a:cubicBezTo>
                    <a:pt x="37" y="143"/>
                    <a:pt x="37" y="143"/>
                    <a:pt x="37" y="143"/>
                  </a:cubicBezTo>
                  <a:close/>
                  <a:moveTo>
                    <a:pt x="37" y="117"/>
                  </a:moveTo>
                  <a:cubicBezTo>
                    <a:pt x="37" y="127"/>
                    <a:pt x="37" y="127"/>
                    <a:pt x="37" y="127"/>
                  </a:cubicBezTo>
                  <a:cubicBezTo>
                    <a:pt x="166" y="127"/>
                    <a:pt x="166" y="127"/>
                    <a:pt x="166" y="127"/>
                  </a:cubicBezTo>
                  <a:cubicBezTo>
                    <a:pt x="166" y="117"/>
                    <a:pt x="166" y="117"/>
                    <a:pt x="166" y="117"/>
                  </a:cubicBezTo>
                  <a:cubicBezTo>
                    <a:pt x="37" y="117"/>
                    <a:pt x="37" y="117"/>
                    <a:pt x="37" y="117"/>
                  </a:cubicBezTo>
                  <a:close/>
                  <a:moveTo>
                    <a:pt x="104" y="86"/>
                  </a:moveTo>
                  <a:cubicBezTo>
                    <a:pt x="104" y="96"/>
                    <a:pt x="104" y="96"/>
                    <a:pt x="104" y="96"/>
                  </a:cubicBezTo>
                  <a:cubicBezTo>
                    <a:pt x="166" y="96"/>
                    <a:pt x="166" y="96"/>
                    <a:pt x="166" y="96"/>
                  </a:cubicBezTo>
                  <a:cubicBezTo>
                    <a:pt x="166" y="86"/>
                    <a:pt x="166" y="86"/>
                    <a:pt x="166" y="86"/>
                  </a:cubicBezTo>
                  <a:cubicBezTo>
                    <a:pt x="104" y="86"/>
                    <a:pt x="104" y="86"/>
                    <a:pt x="104" y="86"/>
                  </a:cubicBezTo>
                  <a:close/>
                  <a:moveTo>
                    <a:pt x="104" y="59"/>
                  </a:moveTo>
                  <a:cubicBezTo>
                    <a:pt x="104" y="69"/>
                    <a:pt x="104" y="69"/>
                    <a:pt x="104" y="69"/>
                  </a:cubicBezTo>
                  <a:cubicBezTo>
                    <a:pt x="166" y="69"/>
                    <a:pt x="166" y="69"/>
                    <a:pt x="166" y="69"/>
                  </a:cubicBezTo>
                  <a:cubicBezTo>
                    <a:pt x="166" y="59"/>
                    <a:pt x="166" y="59"/>
                    <a:pt x="166" y="59"/>
                  </a:cubicBezTo>
                  <a:cubicBezTo>
                    <a:pt x="104" y="59"/>
                    <a:pt x="104" y="59"/>
                    <a:pt x="104" y="59"/>
                  </a:cubicBezTo>
                  <a:close/>
                  <a:moveTo>
                    <a:pt x="104" y="34"/>
                  </a:moveTo>
                  <a:cubicBezTo>
                    <a:pt x="104" y="44"/>
                    <a:pt x="104" y="44"/>
                    <a:pt x="104" y="44"/>
                  </a:cubicBezTo>
                  <a:cubicBezTo>
                    <a:pt x="166" y="44"/>
                    <a:pt x="166" y="44"/>
                    <a:pt x="166" y="44"/>
                  </a:cubicBezTo>
                  <a:cubicBezTo>
                    <a:pt x="166" y="34"/>
                    <a:pt x="166" y="34"/>
                    <a:pt x="166" y="34"/>
                  </a:cubicBezTo>
                  <a:cubicBezTo>
                    <a:pt x="104" y="34"/>
                    <a:pt x="104" y="34"/>
                    <a:pt x="104" y="34"/>
                  </a:cubicBezTo>
                  <a:close/>
                  <a:moveTo>
                    <a:pt x="194" y="117"/>
                  </a:moveTo>
                  <a:cubicBezTo>
                    <a:pt x="94" y="217"/>
                    <a:pt x="94" y="217"/>
                    <a:pt x="94" y="217"/>
                  </a:cubicBezTo>
                  <a:cubicBezTo>
                    <a:pt x="124" y="248"/>
                    <a:pt x="124" y="248"/>
                    <a:pt x="124" y="248"/>
                  </a:cubicBezTo>
                  <a:cubicBezTo>
                    <a:pt x="224" y="147"/>
                    <a:pt x="224" y="147"/>
                    <a:pt x="224" y="147"/>
                  </a:cubicBezTo>
                  <a:cubicBezTo>
                    <a:pt x="194" y="117"/>
                    <a:pt x="194" y="117"/>
                    <a:pt x="194" y="117"/>
                  </a:cubicBezTo>
                  <a:close/>
                  <a:moveTo>
                    <a:pt x="90" y="222"/>
                  </a:moveTo>
                  <a:cubicBezTo>
                    <a:pt x="78" y="255"/>
                    <a:pt x="78" y="255"/>
                    <a:pt x="78" y="255"/>
                  </a:cubicBezTo>
                  <a:cubicBezTo>
                    <a:pt x="88" y="264"/>
                    <a:pt x="88" y="264"/>
                    <a:pt x="88" y="264"/>
                  </a:cubicBezTo>
                  <a:cubicBezTo>
                    <a:pt x="120" y="252"/>
                    <a:pt x="120" y="252"/>
                    <a:pt x="120" y="252"/>
                  </a:cubicBezTo>
                  <a:cubicBezTo>
                    <a:pt x="90" y="222"/>
                    <a:pt x="90" y="222"/>
                    <a:pt x="90" y="222"/>
                  </a:cubicBezTo>
                  <a:close/>
                  <a:moveTo>
                    <a:pt x="200" y="192"/>
                  </a:moveTo>
                  <a:cubicBezTo>
                    <a:pt x="188" y="205"/>
                    <a:pt x="188" y="205"/>
                    <a:pt x="188" y="205"/>
                  </a:cubicBezTo>
                  <a:cubicBezTo>
                    <a:pt x="188" y="228"/>
                    <a:pt x="188" y="228"/>
                    <a:pt x="188" y="228"/>
                  </a:cubicBezTo>
                  <a:cubicBezTo>
                    <a:pt x="188" y="232"/>
                    <a:pt x="186" y="236"/>
                    <a:pt x="183" y="240"/>
                  </a:cubicBezTo>
                  <a:cubicBezTo>
                    <a:pt x="179" y="243"/>
                    <a:pt x="175" y="245"/>
                    <a:pt x="170" y="245"/>
                  </a:cubicBezTo>
                  <a:cubicBezTo>
                    <a:pt x="147" y="245"/>
                    <a:pt x="147" y="245"/>
                    <a:pt x="147" y="245"/>
                  </a:cubicBezTo>
                  <a:cubicBezTo>
                    <a:pt x="140" y="252"/>
                    <a:pt x="140" y="252"/>
                    <a:pt x="140" y="252"/>
                  </a:cubicBezTo>
                  <a:cubicBezTo>
                    <a:pt x="145" y="257"/>
                    <a:pt x="145" y="257"/>
                    <a:pt x="145" y="257"/>
                  </a:cubicBezTo>
                  <a:cubicBezTo>
                    <a:pt x="170" y="257"/>
                    <a:pt x="170" y="257"/>
                    <a:pt x="170" y="257"/>
                  </a:cubicBezTo>
                  <a:cubicBezTo>
                    <a:pt x="179" y="257"/>
                    <a:pt x="186" y="254"/>
                    <a:pt x="191" y="248"/>
                  </a:cubicBezTo>
                  <a:cubicBezTo>
                    <a:pt x="197" y="243"/>
                    <a:pt x="200" y="236"/>
                    <a:pt x="200" y="228"/>
                  </a:cubicBezTo>
                  <a:cubicBezTo>
                    <a:pt x="200" y="192"/>
                    <a:pt x="200" y="192"/>
                    <a:pt x="200" y="192"/>
                  </a:cubicBezTo>
                  <a:close/>
                  <a:moveTo>
                    <a:pt x="22" y="81"/>
                  </a:moveTo>
                  <a:cubicBezTo>
                    <a:pt x="62" y="34"/>
                    <a:pt x="62" y="34"/>
                    <a:pt x="62" y="34"/>
                  </a:cubicBezTo>
                  <a:cubicBezTo>
                    <a:pt x="43" y="17"/>
                    <a:pt x="43" y="17"/>
                    <a:pt x="43" y="17"/>
                  </a:cubicBezTo>
                  <a:lnTo>
                    <a:pt x="22" y="8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200" dirty="0"/>
            </a:p>
          </p:txBody>
        </p:sp>
        <p:grpSp>
          <p:nvGrpSpPr>
            <p:cNvPr id="79" name="Groupe 21503">
              <a:extLst>
                <a:ext uri="{FF2B5EF4-FFF2-40B4-BE49-F238E27FC236}">
                  <a16:creationId xmlns:a16="http://schemas.microsoft.com/office/drawing/2014/main" id="{FBCFA3E8-BB4E-4973-A4D6-65A11AC11C6F}"/>
                </a:ext>
              </a:extLst>
            </p:cNvPr>
            <p:cNvGrpSpPr/>
            <p:nvPr/>
          </p:nvGrpSpPr>
          <p:grpSpPr>
            <a:xfrm>
              <a:off x="3573455" y="2751849"/>
              <a:ext cx="258501" cy="254334"/>
              <a:chOff x="1839913" y="7037388"/>
              <a:chExt cx="344487" cy="344488"/>
            </a:xfrm>
            <a:solidFill>
              <a:schemeClr val="bg1"/>
            </a:solidFill>
          </p:grpSpPr>
          <p:sp>
            <p:nvSpPr>
              <p:cNvPr id="80" name="Freeform 137">
                <a:extLst>
                  <a:ext uri="{FF2B5EF4-FFF2-40B4-BE49-F238E27FC236}">
                    <a16:creationId xmlns:a16="http://schemas.microsoft.com/office/drawing/2014/main" id="{BA57A8DC-A68D-46E3-8B75-B8E5055CC88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39913" y="7037388"/>
                <a:ext cx="344487" cy="344488"/>
              </a:xfrm>
              <a:custGeom>
                <a:avLst/>
                <a:gdLst>
                  <a:gd name="T0" fmla="*/ 61 w 121"/>
                  <a:gd name="T1" fmla="*/ 0 h 121"/>
                  <a:gd name="T2" fmla="*/ 0 w 121"/>
                  <a:gd name="T3" fmla="*/ 60 h 121"/>
                  <a:gd name="T4" fmla="*/ 61 w 121"/>
                  <a:gd name="T5" fmla="*/ 121 h 121"/>
                  <a:gd name="T6" fmla="*/ 121 w 121"/>
                  <a:gd name="T7" fmla="*/ 60 h 121"/>
                  <a:gd name="T8" fmla="*/ 61 w 121"/>
                  <a:gd name="T9" fmla="*/ 0 h 121"/>
                  <a:gd name="T10" fmla="*/ 61 w 121"/>
                  <a:gd name="T11" fmla="*/ 113 h 121"/>
                  <a:gd name="T12" fmla="*/ 8 w 121"/>
                  <a:gd name="T13" fmla="*/ 60 h 121"/>
                  <a:gd name="T14" fmla="*/ 61 w 121"/>
                  <a:gd name="T15" fmla="*/ 7 h 121"/>
                  <a:gd name="T16" fmla="*/ 114 w 121"/>
                  <a:gd name="T17" fmla="*/ 60 h 121"/>
                  <a:gd name="T18" fmla="*/ 61 w 121"/>
                  <a:gd name="T19" fmla="*/ 113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1" h="121">
                    <a:moveTo>
                      <a:pt x="61" y="0"/>
                    </a:moveTo>
                    <a:cubicBezTo>
                      <a:pt x="27" y="0"/>
                      <a:pt x="0" y="27"/>
                      <a:pt x="0" y="60"/>
                    </a:cubicBezTo>
                    <a:cubicBezTo>
                      <a:pt x="0" y="94"/>
                      <a:pt x="27" y="121"/>
                      <a:pt x="61" y="121"/>
                    </a:cubicBezTo>
                    <a:cubicBezTo>
                      <a:pt x="94" y="121"/>
                      <a:pt x="121" y="94"/>
                      <a:pt x="121" y="60"/>
                    </a:cubicBezTo>
                    <a:cubicBezTo>
                      <a:pt x="121" y="27"/>
                      <a:pt x="94" y="0"/>
                      <a:pt x="61" y="0"/>
                    </a:cubicBezTo>
                    <a:close/>
                    <a:moveTo>
                      <a:pt x="61" y="113"/>
                    </a:moveTo>
                    <a:cubicBezTo>
                      <a:pt x="31" y="113"/>
                      <a:pt x="8" y="89"/>
                      <a:pt x="8" y="60"/>
                    </a:cubicBezTo>
                    <a:cubicBezTo>
                      <a:pt x="8" y="31"/>
                      <a:pt x="31" y="7"/>
                      <a:pt x="61" y="7"/>
                    </a:cubicBezTo>
                    <a:cubicBezTo>
                      <a:pt x="90" y="7"/>
                      <a:pt x="114" y="31"/>
                      <a:pt x="114" y="60"/>
                    </a:cubicBezTo>
                    <a:cubicBezTo>
                      <a:pt x="114" y="89"/>
                      <a:pt x="90" y="113"/>
                      <a:pt x="61" y="1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200" dirty="0"/>
              </a:p>
            </p:txBody>
          </p:sp>
          <p:sp>
            <p:nvSpPr>
              <p:cNvPr id="81" name="Freeform 138">
                <a:extLst>
                  <a:ext uri="{FF2B5EF4-FFF2-40B4-BE49-F238E27FC236}">
                    <a16:creationId xmlns:a16="http://schemas.microsoft.com/office/drawing/2014/main" id="{EA5410BC-28D4-4344-86E1-2F78565C41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82788" y="7167563"/>
                <a:ext cx="39687" cy="77788"/>
              </a:xfrm>
              <a:custGeom>
                <a:avLst/>
                <a:gdLst>
                  <a:gd name="T0" fmla="*/ 9 w 14"/>
                  <a:gd name="T1" fmla="*/ 0 h 27"/>
                  <a:gd name="T2" fmla="*/ 5 w 14"/>
                  <a:gd name="T3" fmla="*/ 2 h 27"/>
                  <a:gd name="T4" fmla="*/ 2 w 14"/>
                  <a:gd name="T5" fmla="*/ 9 h 27"/>
                  <a:gd name="T6" fmla="*/ 0 w 14"/>
                  <a:gd name="T7" fmla="*/ 19 h 27"/>
                  <a:gd name="T8" fmla="*/ 2 w 14"/>
                  <a:gd name="T9" fmla="*/ 25 h 27"/>
                  <a:gd name="T10" fmla="*/ 6 w 14"/>
                  <a:gd name="T11" fmla="*/ 27 h 27"/>
                  <a:gd name="T12" fmla="*/ 10 w 14"/>
                  <a:gd name="T13" fmla="*/ 25 h 27"/>
                  <a:gd name="T14" fmla="*/ 13 w 14"/>
                  <a:gd name="T15" fmla="*/ 17 h 27"/>
                  <a:gd name="T16" fmla="*/ 14 w 14"/>
                  <a:gd name="T17" fmla="*/ 7 h 27"/>
                  <a:gd name="T18" fmla="*/ 13 w 14"/>
                  <a:gd name="T19" fmla="*/ 2 h 27"/>
                  <a:gd name="T20" fmla="*/ 9 w 14"/>
                  <a:gd name="T2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4" h="27">
                    <a:moveTo>
                      <a:pt x="9" y="0"/>
                    </a:moveTo>
                    <a:cubicBezTo>
                      <a:pt x="8" y="0"/>
                      <a:pt x="6" y="1"/>
                      <a:pt x="5" y="2"/>
                    </a:cubicBezTo>
                    <a:cubicBezTo>
                      <a:pt x="4" y="4"/>
                      <a:pt x="2" y="6"/>
                      <a:pt x="2" y="9"/>
                    </a:cubicBezTo>
                    <a:cubicBezTo>
                      <a:pt x="1" y="13"/>
                      <a:pt x="0" y="16"/>
                      <a:pt x="0" y="19"/>
                    </a:cubicBezTo>
                    <a:cubicBezTo>
                      <a:pt x="0" y="21"/>
                      <a:pt x="1" y="23"/>
                      <a:pt x="2" y="25"/>
                    </a:cubicBezTo>
                    <a:cubicBezTo>
                      <a:pt x="3" y="26"/>
                      <a:pt x="4" y="27"/>
                      <a:pt x="6" y="27"/>
                    </a:cubicBezTo>
                    <a:cubicBezTo>
                      <a:pt x="7" y="27"/>
                      <a:pt x="8" y="26"/>
                      <a:pt x="10" y="25"/>
                    </a:cubicBezTo>
                    <a:cubicBezTo>
                      <a:pt x="11" y="24"/>
                      <a:pt x="12" y="21"/>
                      <a:pt x="13" y="17"/>
                    </a:cubicBezTo>
                    <a:cubicBezTo>
                      <a:pt x="14" y="14"/>
                      <a:pt x="14" y="10"/>
                      <a:pt x="14" y="7"/>
                    </a:cubicBezTo>
                    <a:cubicBezTo>
                      <a:pt x="14" y="5"/>
                      <a:pt x="14" y="3"/>
                      <a:pt x="13" y="2"/>
                    </a:cubicBezTo>
                    <a:cubicBezTo>
                      <a:pt x="12" y="1"/>
                      <a:pt x="10" y="0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200" dirty="0"/>
              </a:p>
            </p:txBody>
          </p:sp>
          <p:sp>
            <p:nvSpPr>
              <p:cNvPr id="82" name="Freeform 139">
                <a:extLst>
                  <a:ext uri="{FF2B5EF4-FFF2-40B4-BE49-F238E27FC236}">
                    <a16:creationId xmlns:a16="http://schemas.microsoft.com/office/drawing/2014/main" id="{D2065F7E-24ED-4CF1-BE46-A78195B3B7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85950" y="7080251"/>
                <a:ext cx="258762" cy="258763"/>
              </a:xfrm>
              <a:custGeom>
                <a:avLst/>
                <a:gdLst>
                  <a:gd name="T0" fmla="*/ 45 w 91"/>
                  <a:gd name="T1" fmla="*/ 0 h 91"/>
                  <a:gd name="T2" fmla="*/ 0 w 91"/>
                  <a:gd name="T3" fmla="*/ 45 h 91"/>
                  <a:gd name="T4" fmla="*/ 45 w 91"/>
                  <a:gd name="T5" fmla="*/ 91 h 91"/>
                  <a:gd name="T6" fmla="*/ 91 w 91"/>
                  <a:gd name="T7" fmla="*/ 45 h 91"/>
                  <a:gd name="T8" fmla="*/ 45 w 91"/>
                  <a:gd name="T9" fmla="*/ 0 h 91"/>
                  <a:gd name="T10" fmla="*/ 54 w 91"/>
                  <a:gd name="T11" fmla="*/ 58 h 91"/>
                  <a:gd name="T12" fmla="*/ 56 w 91"/>
                  <a:gd name="T13" fmla="*/ 58 h 91"/>
                  <a:gd name="T14" fmla="*/ 60 w 91"/>
                  <a:gd name="T15" fmla="*/ 57 h 91"/>
                  <a:gd name="T16" fmla="*/ 65 w 91"/>
                  <a:gd name="T17" fmla="*/ 50 h 91"/>
                  <a:gd name="T18" fmla="*/ 67 w 91"/>
                  <a:gd name="T19" fmla="*/ 39 h 91"/>
                  <a:gd name="T20" fmla="*/ 61 w 91"/>
                  <a:gd name="T21" fmla="*/ 23 h 91"/>
                  <a:gd name="T22" fmla="*/ 46 w 91"/>
                  <a:gd name="T23" fmla="*/ 18 h 91"/>
                  <a:gd name="T24" fmla="*/ 33 w 91"/>
                  <a:gd name="T25" fmla="*/ 21 h 91"/>
                  <a:gd name="T26" fmla="*/ 23 w 91"/>
                  <a:gd name="T27" fmla="*/ 31 h 91"/>
                  <a:gd name="T28" fmla="*/ 20 w 91"/>
                  <a:gd name="T29" fmla="*/ 46 h 91"/>
                  <a:gd name="T30" fmla="*/ 27 w 91"/>
                  <a:gd name="T31" fmla="*/ 65 h 91"/>
                  <a:gd name="T32" fmla="*/ 45 w 91"/>
                  <a:gd name="T33" fmla="*/ 72 h 91"/>
                  <a:gd name="T34" fmla="*/ 55 w 91"/>
                  <a:gd name="T35" fmla="*/ 71 h 91"/>
                  <a:gd name="T36" fmla="*/ 65 w 91"/>
                  <a:gd name="T37" fmla="*/ 65 h 91"/>
                  <a:gd name="T38" fmla="*/ 73 w 91"/>
                  <a:gd name="T39" fmla="*/ 65 h 91"/>
                  <a:gd name="T40" fmla="*/ 67 w 91"/>
                  <a:gd name="T41" fmla="*/ 71 h 91"/>
                  <a:gd name="T42" fmla="*/ 57 w 91"/>
                  <a:gd name="T43" fmla="*/ 76 h 91"/>
                  <a:gd name="T44" fmla="*/ 45 w 91"/>
                  <a:gd name="T45" fmla="*/ 78 h 91"/>
                  <a:gd name="T46" fmla="*/ 29 w 91"/>
                  <a:gd name="T47" fmla="*/ 74 h 91"/>
                  <a:gd name="T48" fmla="*/ 18 w 91"/>
                  <a:gd name="T49" fmla="*/ 62 h 91"/>
                  <a:gd name="T50" fmla="*/ 14 w 91"/>
                  <a:gd name="T51" fmla="*/ 46 h 91"/>
                  <a:gd name="T52" fmla="*/ 18 w 91"/>
                  <a:gd name="T53" fmla="*/ 28 h 91"/>
                  <a:gd name="T54" fmla="*/ 29 w 91"/>
                  <a:gd name="T55" fmla="*/ 16 h 91"/>
                  <a:gd name="T56" fmla="*/ 46 w 91"/>
                  <a:gd name="T57" fmla="*/ 12 h 91"/>
                  <a:gd name="T58" fmla="*/ 65 w 91"/>
                  <a:gd name="T59" fmla="*/ 20 h 91"/>
                  <a:gd name="T60" fmla="*/ 73 w 91"/>
                  <a:gd name="T61" fmla="*/ 39 h 91"/>
                  <a:gd name="T62" fmla="*/ 70 w 91"/>
                  <a:gd name="T63" fmla="*/ 53 h 91"/>
                  <a:gd name="T64" fmla="*/ 61 w 91"/>
                  <a:gd name="T65" fmla="*/ 62 h 91"/>
                  <a:gd name="T66" fmla="*/ 53 w 91"/>
                  <a:gd name="T67" fmla="*/ 65 h 91"/>
                  <a:gd name="T68" fmla="*/ 49 w 91"/>
                  <a:gd name="T69" fmla="*/ 64 h 91"/>
                  <a:gd name="T70" fmla="*/ 47 w 91"/>
                  <a:gd name="T71" fmla="*/ 60 h 91"/>
                  <a:gd name="T72" fmla="*/ 42 w 91"/>
                  <a:gd name="T73" fmla="*/ 64 h 91"/>
                  <a:gd name="T74" fmla="*/ 38 w 91"/>
                  <a:gd name="T75" fmla="*/ 65 h 91"/>
                  <a:gd name="T76" fmla="*/ 29 w 91"/>
                  <a:gd name="T77" fmla="*/ 61 h 91"/>
                  <a:gd name="T78" fmla="*/ 25 w 91"/>
                  <a:gd name="T79" fmla="*/ 48 h 91"/>
                  <a:gd name="T80" fmla="*/ 30 w 91"/>
                  <a:gd name="T81" fmla="*/ 31 h 91"/>
                  <a:gd name="T82" fmla="*/ 42 w 91"/>
                  <a:gd name="T83" fmla="*/ 24 h 91"/>
                  <a:gd name="T84" fmla="*/ 47 w 91"/>
                  <a:gd name="T85" fmla="*/ 25 h 91"/>
                  <a:gd name="T86" fmla="*/ 51 w 91"/>
                  <a:gd name="T87" fmla="*/ 29 h 91"/>
                  <a:gd name="T88" fmla="*/ 51 w 91"/>
                  <a:gd name="T89" fmla="*/ 25 h 91"/>
                  <a:gd name="T90" fmla="*/ 59 w 91"/>
                  <a:gd name="T91" fmla="*/ 25 h 91"/>
                  <a:gd name="T92" fmla="*/ 54 w 91"/>
                  <a:gd name="T93" fmla="*/ 55 h 91"/>
                  <a:gd name="T94" fmla="*/ 54 w 91"/>
                  <a:gd name="T95" fmla="*/ 57 h 91"/>
                  <a:gd name="T96" fmla="*/ 54 w 91"/>
                  <a:gd name="T97" fmla="*/ 58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91" h="91">
                    <a:moveTo>
                      <a:pt x="45" y="0"/>
                    </a:moveTo>
                    <a:cubicBezTo>
                      <a:pt x="20" y="0"/>
                      <a:pt x="0" y="20"/>
                      <a:pt x="0" y="45"/>
                    </a:cubicBezTo>
                    <a:cubicBezTo>
                      <a:pt x="0" y="70"/>
                      <a:pt x="20" y="91"/>
                      <a:pt x="45" y="91"/>
                    </a:cubicBezTo>
                    <a:cubicBezTo>
                      <a:pt x="70" y="91"/>
                      <a:pt x="91" y="70"/>
                      <a:pt x="91" y="45"/>
                    </a:cubicBezTo>
                    <a:cubicBezTo>
                      <a:pt x="91" y="20"/>
                      <a:pt x="70" y="0"/>
                      <a:pt x="45" y="0"/>
                    </a:cubicBezTo>
                    <a:close/>
                    <a:moveTo>
                      <a:pt x="54" y="58"/>
                    </a:moveTo>
                    <a:cubicBezTo>
                      <a:pt x="55" y="58"/>
                      <a:pt x="55" y="58"/>
                      <a:pt x="56" y="58"/>
                    </a:cubicBezTo>
                    <a:cubicBezTo>
                      <a:pt x="57" y="58"/>
                      <a:pt x="58" y="58"/>
                      <a:pt x="60" y="57"/>
                    </a:cubicBezTo>
                    <a:cubicBezTo>
                      <a:pt x="62" y="55"/>
                      <a:pt x="64" y="53"/>
                      <a:pt x="65" y="50"/>
                    </a:cubicBezTo>
                    <a:cubicBezTo>
                      <a:pt x="66" y="47"/>
                      <a:pt x="67" y="44"/>
                      <a:pt x="67" y="39"/>
                    </a:cubicBezTo>
                    <a:cubicBezTo>
                      <a:pt x="67" y="33"/>
                      <a:pt x="65" y="27"/>
                      <a:pt x="61" y="23"/>
                    </a:cubicBezTo>
                    <a:cubicBezTo>
                      <a:pt x="57" y="20"/>
                      <a:pt x="52" y="18"/>
                      <a:pt x="46" y="18"/>
                    </a:cubicBezTo>
                    <a:cubicBezTo>
                      <a:pt x="41" y="18"/>
                      <a:pt x="36" y="19"/>
                      <a:pt x="33" y="21"/>
                    </a:cubicBezTo>
                    <a:cubicBezTo>
                      <a:pt x="29" y="23"/>
                      <a:pt x="26" y="27"/>
                      <a:pt x="23" y="31"/>
                    </a:cubicBezTo>
                    <a:cubicBezTo>
                      <a:pt x="21" y="35"/>
                      <a:pt x="20" y="40"/>
                      <a:pt x="20" y="46"/>
                    </a:cubicBezTo>
                    <a:cubicBezTo>
                      <a:pt x="20" y="54"/>
                      <a:pt x="23" y="60"/>
                      <a:pt x="27" y="65"/>
                    </a:cubicBezTo>
                    <a:cubicBezTo>
                      <a:pt x="32" y="70"/>
                      <a:pt x="38" y="72"/>
                      <a:pt x="45" y="72"/>
                    </a:cubicBezTo>
                    <a:cubicBezTo>
                      <a:pt x="49" y="72"/>
                      <a:pt x="52" y="72"/>
                      <a:pt x="55" y="71"/>
                    </a:cubicBezTo>
                    <a:cubicBezTo>
                      <a:pt x="59" y="69"/>
                      <a:pt x="62" y="68"/>
                      <a:pt x="65" y="65"/>
                    </a:cubicBezTo>
                    <a:cubicBezTo>
                      <a:pt x="73" y="65"/>
                      <a:pt x="73" y="65"/>
                      <a:pt x="73" y="65"/>
                    </a:cubicBezTo>
                    <a:cubicBezTo>
                      <a:pt x="71" y="68"/>
                      <a:pt x="69" y="70"/>
                      <a:pt x="67" y="71"/>
                    </a:cubicBezTo>
                    <a:cubicBezTo>
                      <a:pt x="64" y="73"/>
                      <a:pt x="61" y="75"/>
                      <a:pt x="57" y="76"/>
                    </a:cubicBezTo>
                    <a:cubicBezTo>
                      <a:pt x="54" y="77"/>
                      <a:pt x="50" y="78"/>
                      <a:pt x="45" y="78"/>
                    </a:cubicBezTo>
                    <a:cubicBezTo>
                      <a:pt x="39" y="78"/>
                      <a:pt x="34" y="77"/>
                      <a:pt x="29" y="74"/>
                    </a:cubicBezTo>
                    <a:cubicBezTo>
                      <a:pt x="25" y="71"/>
                      <a:pt x="21" y="67"/>
                      <a:pt x="18" y="62"/>
                    </a:cubicBezTo>
                    <a:cubicBezTo>
                      <a:pt x="16" y="57"/>
                      <a:pt x="14" y="52"/>
                      <a:pt x="14" y="46"/>
                    </a:cubicBezTo>
                    <a:cubicBezTo>
                      <a:pt x="14" y="39"/>
                      <a:pt x="16" y="33"/>
                      <a:pt x="18" y="28"/>
                    </a:cubicBezTo>
                    <a:cubicBezTo>
                      <a:pt x="21" y="23"/>
                      <a:pt x="25" y="19"/>
                      <a:pt x="29" y="16"/>
                    </a:cubicBezTo>
                    <a:cubicBezTo>
                      <a:pt x="34" y="13"/>
                      <a:pt x="39" y="12"/>
                      <a:pt x="46" y="12"/>
                    </a:cubicBezTo>
                    <a:cubicBezTo>
                      <a:pt x="54" y="12"/>
                      <a:pt x="60" y="14"/>
                      <a:pt x="65" y="20"/>
                    </a:cubicBezTo>
                    <a:cubicBezTo>
                      <a:pt x="70" y="25"/>
                      <a:pt x="73" y="31"/>
                      <a:pt x="73" y="39"/>
                    </a:cubicBezTo>
                    <a:cubicBezTo>
                      <a:pt x="73" y="44"/>
                      <a:pt x="72" y="49"/>
                      <a:pt x="70" y="53"/>
                    </a:cubicBezTo>
                    <a:cubicBezTo>
                      <a:pt x="68" y="57"/>
                      <a:pt x="65" y="60"/>
                      <a:pt x="61" y="62"/>
                    </a:cubicBezTo>
                    <a:cubicBezTo>
                      <a:pt x="58" y="64"/>
                      <a:pt x="56" y="65"/>
                      <a:pt x="53" y="65"/>
                    </a:cubicBezTo>
                    <a:cubicBezTo>
                      <a:pt x="51" y="65"/>
                      <a:pt x="50" y="64"/>
                      <a:pt x="49" y="64"/>
                    </a:cubicBezTo>
                    <a:cubicBezTo>
                      <a:pt x="48" y="63"/>
                      <a:pt x="48" y="62"/>
                      <a:pt x="47" y="60"/>
                    </a:cubicBezTo>
                    <a:cubicBezTo>
                      <a:pt x="45" y="62"/>
                      <a:pt x="44" y="63"/>
                      <a:pt x="42" y="64"/>
                    </a:cubicBezTo>
                    <a:cubicBezTo>
                      <a:pt x="41" y="64"/>
                      <a:pt x="39" y="65"/>
                      <a:pt x="38" y="65"/>
                    </a:cubicBezTo>
                    <a:cubicBezTo>
                      <a:pt x="34" y="65"/>
                      <a:pt x="31" y="63"/>
                      <a:pt x="29" y="61"/>
                    </a:cubicBezTo>
                    <a:cubicBezTo>
                      <a:pt x="27" y="58"/>
                      <a:pt x="25" y="54"/>
                      <a:pt x="25" y="48"/>
                    </a:cubicBezTo>
                    <a:cubicBezTo>
                      <a:pt x="25" y="42"/>
                      <a:pt x="27" y="36"/>
                      <a:pt x="30" y="31"/>
                    </a:cubicBezTo>
                    <a:cubicBezTo>
                      <a:pt x="33" y="26"/>
                      <a:pt x="37" y="24"/>
                      <a:pt x="42" y="24"/>
                    </a:cubicBezTo>
                    <a:cubicBezTo>
                      <a:pt x="44" y="24"/>
                      <a:pt x="45" y="24"/>
                      <a:pt x="47" y="25"/>
                    </a:cubicBezTo>
                    <a:cubicBezTo>
                      <a:pt x="48" y="26"/>
                      <a:pt x="49" y="27"/>
                      <a:pt x="51" y="29"/>
                    </a:cubicBezTo>
                    <a:cubicBezTo>
                      <a:pt x="51" y="25"/>
                      <a:pt x="51" y="25"/>
                      <a:pt x="51" y="25"/>
                    </a:cubicBezTo>
                    <a:cubicBezTo>
                      <a:pt x="59" y="25"/>
                      <a:pt x="59" y="25"/>
                      <a:pt x="59" y="25"/>
                    </a:cubicBezTo>
                    <a:cubicBezTo>
                      <a:pt x="54" y="55"/>
                      <a:pt x="54" y="55"/>
                      <a:pt x="54" y="55"/>
                    </a:cubicBezTo>
                    <a:cubicBezTo>
                      <a:pt x="54" y="56"/>
                      <a:pt x="54" y="56"/>
                      <a:pt x="54" y="57"/>
                    </a:cubicBezTo>
                    <a:cubicBezTo>
                      <a:pt x="54" y="57"/>
                      <a:pt x="54" y="58"/>
                      <a:pt x="54" y="5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200" dirty="0"/>
              </a:p>
            </p:txBody>
          </p:sp>
        </p:grpSp>
      </p:grpSp>
      <p:sp>
        <p:nvSpPr>
          <p:cNvPr id="83" name="Rectangle: Rounded Corners 38">
            <a:extLst>
              <a:ext uri="{FF2B5EF4-FFF2-40B4-BE49-F238E27FC236}">
                <a16:creationId xmlns:a16="http://schemas.microsoft.com/office/drawing/2014/main" id="{53893B4E-04B2-4688-9934-102581946D6D}"/>
              </a:ext>
            </a:extLst>
          </p:cNvPr>
          <p:cNvSpPr/>
          <p:nvPr/>
        </p:nvSpPr>
        <p:spPr>
          <a:xfrm>
            <a:off x="1046501" y="1644622"/>
            <a:ext cx="10979088" cy="426030"/>
          </a:xfrm>
          <a:prstGeom prst="roundRect">
            <a:avLst>
              <a:gd name="adj" fmla="val 6951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b="1" dirty="0">
                <a:solidFill>
                  <a:srgbClr val="0C419A"/>
                </a:solidFill>
              </a:rPr>
              <a:t>L’Ordonnance numérique, un projet d’actualité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E120D7D1-27DA-4DBE-BF6E-6EF64584ED75}"/>
              </a:ext>
            </a:extLst>
          </p:cNvPr>
          <p:cNvSpPr/>
          <p:nvPr/>
        </p:nvSpPr>
        <p:spPr>
          <a:xfrm>
            <a:off x="5044052" y="4484737"/>
            <a:ext cx="6828891" cy="5232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129111"/>
            <a:r>
              <a:rPr lang="fr-FR" sz="1200" b="1" dirty="0">
                <a:latin typeface="+mj-lt"/>
                <a:cs typeface="Arial" panose="020B0604020202020204" pitchFamily="34" charset="0"/>
              </a:rPr>
              <a:t> Les outils de coordination</a:t>
            </a:r>
          </a:p>
          <a:p>
            <a:pPr defTabSz="1129111"/>
            <a:r>
              <a:rPr lang="fr-FR" sz="1100" i="1" dirty="0">
                <a:latin typeface="+mj-lt"/>
                <a:cs typeface="Arial" panose="020B0604020202020204" pitchFamily="34" charset="0"/>
              </a:rPr>
              <a:t>Développement d’outils numériques de coordination de parcours de santé en région avec </a:t>
            </a:r>
            <a:br>
              <a:rPr lang="fr-FR" sz="1100" i="1" dirty="0">
                <a:latin typeface="+mj-lt"/>
                <a:cs typeface="Arial" panose="020B0604020202020204" pitchFamily="34" charset="0"/>
              </a:rPr>
            </a:br>
            <a:r>
              <a:rPr lang="fr-FR" sz="1100" i="1" dirty="0">
                <a:latin typeface="+mj-lt"/>
                <a:cs typeface="Arial" panose="020B0604020202020204" pitchFamily="34" charset="0"/>
              </a:rPr>
              <a:t>le programme « e-parcours »</a:t>
            </a:r>
          </a:p>
        </p:txBody>
      </p:sp>
      <p:pic>
        <p:nvPicPr>
          <p:cNvPr id="98" name="Picture 60">
            <a:extLst>
              <a:ext uri="{FF2B5EF4-FFF2-40B4-BE49-F238E27FC236}">
                <a16:creationId xmlns:a16="http://schemas.microsoft.com/office/drawing/2014/main" id="{9404DCA6-CF90-4F22-B5E2-F10021ADF24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92173" y="4394094"/>
            <a:ext cx="487412" cy="442844"/>
          </a:xfrm>
          <a:prstGeom prst="rect">
            <a:avLst/>
          </a:prstGeom>
        </p:spPr>
      </p:pic>
      <p:grpSp>
        <p:nvGrpSpPr>
          <p:cNvPr id="51" name="Group 16">
            <a:extLst>
              <a:ext uri="{FF2B5EF4-FFF2-40B4-BE49-F238E27FC236}">
                <a16:creationId xmlns:a16="http://schemas.microsoft.com/office/drawing/2014/main" id="{F5F72767-FDB6-44F4-AB8B-FF0D818B58FD}"/>
              </a:ext>
            </a:extLst>
          </p:cNvPr>
          <p:cNvGrpSpPr>
            <a:grpSpLocks noChangeAspect="1"/>
          </p:cNvGrpSpPr>
          <p:nvPr/>
        </p:nvGrpSpPr>
        <p:grpSpPr>
          <a:xfrm>
            <a:off x="649000" y="2058989"/>
            <a:ext cx="512585" cy="374807"/>
            <a:chOff x="6275391" y="4131255"/>
            <a:chExt cx="1261206" cy="1037081"/>
          </a:xfrm>
        </p:grpSpPr>
        <p:sp>
          <p:nvSpPr>
            <p:cNvPr id="52" name="Freeform: Shape 35">
              <a:extLst>
                <a:ext uri="{FF2B5EF4-FFF2-40B4-BE49-F238E27FC236}">
                  <a16:creationId xmlns:a16="http://schemas.microsoft.com/office/drawing/2014/main" id="{B238D0ED-D2E8-4948-B45D-2D65619E0760}"/>
                </a:ext>
              </a:extLst>
            </p:cNvPr>
            <p:cNvSpPr/>
            <p:nvPr/>
          </p:nvSpPr>
          <p:spPr>
            <a:xfrm rot="5280000">
              <a:off x="6387453" y="4019193"/>
              <a:ext cx="1037081" cy="1261206"/>
            </a:xfrm>
            <a:custGeom>
              <a:avLst/>
              <a:gdLst>
                <a:gd name="connsiteX0" fmla="*/ 1382775 w 1382775"/>
                <a:gd name="connsiteY0" fmla="*/ 990221 h 1681608"/>
                <a:gd name="connsiteX1" fmla="*/ 691388 w 1382775"/>
                <a:gd name="connsiteY1" fmla="*/ 1681608 h 1681608"/>
                <a:gd name="connsiteX2" fmla="*/ 0 w 1382775"/>
                <a:gd name="connsiteY2" fmla="*/ 990220 h 1681608"/>
                <a:gd name="connsiteX3" fmla="*/ 422268 w 1382775"/>
                <a:gd name="connsiteY3" fmla="*/ 353166 h 1681608"/>
                <a:gd name="connsiteX4" fmla="*/ 484054 w 1382775"/>
                <a:gd name="connsiteY4" fmla="*/ 333986 h 1681608"/>
                <a:gd name="connsiteX5" fmla="*/ 677767 w 1382775"/>
                <a:gd name="connsiteY5" fmla="*/ 0 h 1681608"/>
                <a:gd name="connsiteX6" fmla="*/ 865498 w 1382775"/>
                <a:gd name="connsiteY6" fmla="*/ 323674 h 1681608"/>
                <a:gd name="connsiteX7" fmla="*/ 960507 w 1382775"/>
                <a:gd name="connsiteY7" fmla="*/ 353167 h 1681608"/>
                <a:gd name="connsiteX8" fmla="*/ 1382775 w 1382775"/>
                <a:gd name="connsiteY8" fmla="*/ 990221 h 1681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82775" h="1681608">
                  <a:moveTo>
                    <a:pt x="1382775" y="990221"/>
                  </a:moveTo>
                  <a:cubicBezTo>
                    <a:pt x="1382775" y="1372063"/>
                    <a:pt x="1073230" y="1681608"/>
                    <a:pt x="691388" y="1681608"/>
                  </a:cubicBezTo>
                  <a:cubicBezTo>
                    <a:pt x="309545" y="1681607"/>
                    <a:pt x="0" y="1372062"/>
                    <a:pt x="0" y="990220"/>
                  </a:cubicBezTo>
                  <a:cubicBezTo>
                    <a:pt x="0" y="703839"/>
                    <a:pt x="174119" y="458124"/>
                    <a:pt x="422268" y="353166"/>
                  </a:cubicBezTo>
                  <a:lnTo>
                    <a:pt x="484054" y="333986"/>
                  </a:lnTo>
                  <a:lnTo>
                    <a:pt x="677767" y="0"/>
                  </a:lnTo>
                  <a:lnTo>
                    <a:pt x="865498" y="323674"/>
                  </a:lnTo>
                  <a:lnTo>
                    <a:pt x="960507" y="353167"/>
                  </a:lnTo>
                  <a:cubicBezTo>
                    <a:pt x="1208656" y="458125"/>
                    <a:pt x="1382775" y="703840"/>
                    <a:pt x="1382775" y="990221"/>
                  </a:cubicBezTo>
                  <a:close/>
                </a:path>
              </a:pathLst>
            </a:custGeom>
            <a:solidFill>
              <a:srgbClr val="4C6C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 dirty="0"/>
            </a:p>
          </p:txBody>
        </p:sp>
        <p:sp>
          <p:nvSpPr>
            <p:cNvPr id="53" name="Oval 44">
              <a:extLst>
                <a:ext uri="{FF2B5EF4-FFF2-40B4-BE49-F238E27FC236}">
                  <a16:creationId xmlns:a16="http://schemas.microsoft.com/office/drawing/2014/main" id="{D451E164-17CB-4BB0-8273-06ED3A862D91}"/>
                </a:ext>
              </a:extLst>
            </p:cNvPr>
            <p:cNvSpPr/>
            <p:nvPr/>
          </p:nvSpPr>
          <p:spPr>
            <a:xfrm>
              <a:off x="6374780" y="4238599"/>
              <a:ext cx="822397" cy="82239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27000" dist="1143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</p:grpSp>
      <p:grpSp>
        <p:nvGrpSpPr>
          <p:cNvPr id="54" name="Group 16">
            <a:extLst>
              <a:ext uri="{FF2B5EF4-FFF2-40B4-BE49-F238E27FC236}">
                <a16:creationId xmlns:a16="http://schemas.microsoft.com/office/drawing/2014/main" id="{A0DFDBCB-661F-49A4-83B0-7D91C415322F}"/>
              </a:ext>
            </a:extLst>
          </p:cNvPr>
          <p:cNvGrpSpPr>
            <a:grpSpLocks noChangeAspect="1"/>
          </p:cNvGrpSpPr>
          <p:nvPr/>
        </p:nvGrpSpPr>
        <p:grpSpPr>
          <a:xfrm>
            <a:off x="638023" y="5094842"/>
            <a:ext cx="512585" cy="374807"/>
            <a:chOff x="6275391" y="4131255"/>
            <a:chExt cx="1261206" cy="1037081"/>
          </a:xfrm>
        </p:grpSpPr>
        <p:sp>
          <p:nvSpPr>
            <p:cNvPr id="55" name="Freeform: Shape 35">
              <a:extLst>
                <a:ext uri="{FF2B5EF4-FFF2-40B4-BE49-F238E27FC236}">
                  <a16:creationId xmlns:a16="http://schemas.microsoft.com/office/drawing/2014/main" id="{73DB965E-72B6-4EB9-8A8F-2195E4216C76}"/>
                </a:ext>
              </a:extLst>
            </p:cNvPr>
            <p:cNvSpPr/>
            <p:nvPr/>
          </p:nvSpPr>
          <p:spPr>
            <a:xfrm rot="5280000">
              <a:off x="6387453" y="4019193"/>
              <a:ext cx="1037081" cy="1261206"/>
            </a:xfrm>
            <a:custGeom>
              <a:avLst/>
              <a:gdLst>
                <a:gd name="connsiteX0" fmla="*/ 1382775 w 1382775"/>
                <a:gd name="connsiteY0" fmla="*/ 990221 h 1681608"/>
                <a:gd name="connsiteX1" fmla="*/ 691388 w 1382775"/>
                <a:gd name="connsiteY1" fmla="*/ 1681608 h 1681608"/>
                <a:gd name="connsiteX2" fmla="*/ 0 w 1382775"/>
                <a:gd name="connsiteY2" fmla="*/ 990220 h 1681608"/>
                <a:gd name="connsiteX3" fmla="*/ 422268 w 1382775"/>
                <a:gd name="connsiteY3" fmla="*/ 353166 h 1681608"/>
                <a:gd name="connsiteX4" fmla="*/ 484054 w 1382775"/>
                <a:gd name="connsiteY4" fmla="*/ 333986 h 1681608"/>
                <a:gd name="connsiteX5" fmla="*/ 677767 w 1382775"/>
                <a:gd name="connsiteY5" fmla="*/ 0 h 1681608"/>
                <a:gd name="connsiteX6" fmla="*/ 865498 w 1382775"/>
                <a:gd name="connsiteY6" fmla="*/ 323674 h 1681608"/>
                <a:gd name="connsiteX7" fmla="*/ 960507 w 1382775"/>
                <a:gd name="connsiteY7" fmla="*/ 353167 h 1681608"/>
                <a:gd name="connsiteX8" fmla="*/ 1382775 w 1382775"/>
                <a:gd name="connsiteY8" fmla="*/ 990221 h 1681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82775" h="1681608">
                  <a:moveTo>
                    <a:pt x="1382775" y="990221"/>
                  </a:moveTo>
                  <a:cubicBezTo>
                    <a:pt x="1382775" y="1372063"/>
                    <a:pt x="1073230" y="1681608"/>
                    <a:pt x="691388" y="1681608"/>
                  </a:cubicBezTo>
                  <a:cubicBezTo>
                    <a:pt x="309545" y="1681607"/>
                    <a:pt x="0" y="1372062"/>
                    <a:pt x="0" y="990220"/>
                  </a:cubicBezTo>
                  <a:cubicBezTo>
                    <a:pt x="0" y="703839"/>
                    <a:pt x="174119" y="458124"/>
                    <a:pt x="422268" y="353166"/>
                  </a:cubicBezTo>
                  <a:lnTo>
                    <a:pt x="484054" y="333986"/>
                  </a:lnTo>
                  <a:lnTo>
                    <a:pt x="677767" y="0"/>
                  </a:lnTo>
                  <a:lnTo>
                    <a:pt x="865498" y="323674"/>
                  </a:lnTo>
                  <a:lnTo>
                    <a:pt x="960507" y="353167"/>
                  </a:lnTo>
                  <a:cubicBezTo>
                    <a:pt x="1208656" y="458125"/>
                    <a:pt x="1382775" y="703840"/>
                    <a:pt x="1382775" y="990221"/>
                  </a:cubicBezTo>
                  <a:close/>
                </a:path>
              </a:pathLst>
            </a:custGeom>
            <a:solidFill>
              <a:srgbClr val="4C6C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 dirty="0"/>
            </a:p>
          </p:txBody>
        </p:sp>
        <p:sp>
          <p:nvSpPr>
            <p:cNvPr id="56" name="Oval 44">
              <a:extLst>
                <a:ext uri="{FF2B5EF4-FFF2-40B4-BE49-F238E27FC236}">
                  <a16:creationId xmlns:a16="http://schemas.microsoft.com/office/drawing/2014/main" id="{0B078903-5801-4503-A3CA-E64A7DD16F09}"/>
                </a:ext>
              </a:extLst>
            </p:cNvPr>
            <p:cNvSpPr/>
            <p:nvPr/>
          </p:nvSpPr>
          <p:spPr>
            <a:xfrm>
              <a:off x="6374778" y="4238600"/>
              <a:ext cx="822396" cy="82239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27000" dist="1143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</p:grpSp>
      <p:sp>
        <p:nvSpPr>
          <p:cNvPr id="57" name="Freeform 40">
            <a:extLst>
              <a:ext uri="{FF2B5EF4-FFF2-40B4-BE49-F238E27FC236}">
                <a16:creationId xmlns:a16="http://schemas.microsoft.com/office/drawing/2014/main" id="{FF88DC1F-F527-4AEA-9213-9030DC33270F}"/>
              </a:ext>
            </a:extLst>
          </p:cNvPr>
          <p:cNvSpPr>
            <a:spLocks noEditPoints="1"/>
          </p:cNvSpPr>
          <p:nvPr/>
        </p:nvSpPr>
        <p:spPr bwMode="auto">
          <a:xfrm>
            <a:off x="758586" y="5184775"/>
            <a:ext cx="165339" cy="199053"/>
          </a:xfrm>
          <a:custGeom>
            <a:avLst/>
            <a:gdLst>
              <a:gd name="T0" fmla="*/ 170 w 224"/>
              <a:gd name="T1" fmla="*/ 0 h 264"/>
              <a:gd name="T2" fmla="*/ 200 w 224"/>
              <a:gd name="T3" fmla="*/ 30 h 264"/>
              <a:gd name="T4" fmla="*/ 188 w 224"/>
              <a:gd name="T5" fmla="*/ 104 h 264"/>
              <a:gd name="T6" fmla="*/ 183 w 224"/>
              <a:gd name="T7" fmla="*/ 18 h 264"/>
              <a:gd name="T8" fmla="*/ 56 w 224"/>
              <a:gd name="T9" fmla="*/ 13 h 264"/>
              <a:gd name="T10" fmla="*/ 75 w 224"/>
              <a:gd name="T11" fmla="*/ 37 h 264"/>
              <a:gd name="T12" fmla="*/ 12 w 224"/>
              <a:gd name="T13" fmla="*/ 112 h 264"/>
              <a:gd name="T14" fmla="*/ 17 w 224"/>
              <a:gd name="T15" fmla="*/ 240 h 264"/>
              <a:gd name="T16" fmla="*/ 67 w 224"/>
              <a:gd name="T17" fmla="*/ 245 h 264"/>
              <a:gd name="T18" fmla="*/ 29 w 224"/>
              <a:gd name="T19" fmla="*/ 257 h 264"/>
              <a:gd name="T20" fmla="*/ 0 w 224"/>
              <a:gd name="T21" fmla="*/ 228 h 264"/>
              <a:gd name="T22" fmla="*/ 0 w 224"/>
              <a:gd name="T23" fmla="*/ 108 h 264"/>
              <a:gd name="T24" fmla="*/ 34 w 224"/>
              <a:gd name="T25" fmla="*/ 3 h 264"/>
              <a:gd name="T26" fmla="*/ 34 w 224"/>
              <a:gd name="T27" fmla="*/ 3 h 264"/>
              <a:gd name="T28" fmla="*/ 34 w 224"/>
              <a:gd name="T29" fmla="*/ 3 h 264"/>
              <a:gd name="T30" fmla="*/ 36 w 224"/>
              <a:gd name="T31" fmla="*/ 2 h 264"/>
              <a:gd name="T32" fmla="*/ 36 w 224"/>
              <a:gd name="T33" fmla="*/ 2 h 264"/>
              <a:gd name="T34" fmla="*/ 36 w 224"/>
              <a:gd name="T35" fmla="*/ 2 h 264"/>
              <a:gd name="T36" fmla="*/ 36 w 224"/>
              <a:gd name="T37" fmla="*/ 2 h 264"/>
              <a:gd name="T38" fmla="*/ 38 w 224"/>
              <a:gd name="T39" fmla="*/ 0 h 264"/>
              <a:gd name="T40" fmla="*/ 38 w 224"/>
              <a:gd name="T41" fmla="*/ 0 h 264"/>
              <a:gd name="T42" fmla="*/ 38 w 224"/>
              <a:gd name="T43" fmla="*/ 0 h 264"/>
              <a:gd name="T44" fmla="*/ 38 w 224"/>
              <a:gd name="T45" fmla="*/ 0 h 264"/>
              <a:gd name="T46" fmla="*/ 38 w 224"/>
              <a:gd name="T47" fmla="*/ 0 h 264"/>
              <a:gd name="T48" fmla="*/ 39 w 224"/>
              <a:gd name="T49" fmla="*/ 0 h 264"/>
              <a:gd name="T50" fmla="*/ 40 w 224"/>
              <a:gd name="T51" fmla="*/ 0 h 264"/>
              <a:gd name="T52" fmla="*/ 37 w 224"/>
              <a:gd name="T53" fmla="*/ 180 h 264"/>
              <a:gd name="T54" fmla="*/ 101 w 224"/>
              <a:gd name="T55" fmla="*/ 170 h 264"/>
              <a:gd name="T56" fmla="*/ 37 w 224"/>
              <a:gd name="T57" fmla="*/ 143 h 264"/>
              <a:gd name="T58" fmla="*/ 101 w 224"/>
              <a:gd name="T59" fmla="*/ 153 h 264"/>
              <a:gd name="T60" fmla="*/ 37 w 224"/>
              <a:gd name="T61" fmla="*/ 143 h 264"/>
              <a:gd name="T62" fmla="*/ 37 w 224"/>
              <a:gd name="T63" fmla="*/ 127 h 264"/>
              <a:gd name="T64" fmla="*/ 166 w 224"/>
              <a:gd name="T65" fmla="*/ 117 h 264"/>
              <a:gd name="T66" fmla="*/ 104 w 224"/>
              <a:gd name="T67" fmla="*/ 86 h 264"/>
              <a:gd name="T68" fmla="*/ 166 w 224"/>
              <a:gd name="T69" fmla="*/ 96 h 264"/>
              <a:gd name="T70" fmla="*/ 104 w 224"/>
              <a:gd name="T71" fmla="*/ 86 h 264"/>
              <a:gd name="T72" fmla="*/ 104 w 224"/>
              <a:gd name="T73" fmla="*/ 69 h 264"/>
              <a:gd name="T74" fmla="*/ 166 w 224"/>
              <a:gd name="T75" fmla="*/ 59 h 264"/>
              <a:gd name="T76" fmla="*/ 104 w 224"/>
              <a:gd name="T77" fmla="*/ 34 h 264"/>
              <a:gd name="T78" fmla="*/ 166 w 224"/>
              <a:gd name="T79" fmla="*/ 44 h 264"/>
              <a:gd name="T80" fmla="*/ 104 w 224"/>
              <a:gd name="T81" fmla="*/ 34 h 264"/>
              <a:gd name="T82" fmla="*/ 94 w 224"/>
              <a:gd name="T83" fmla="*/ 217 h 264"/>
              <a:gd name="T84" fmla="*/ 224 w 224"/>
              <a:gd name="T85" fmla="*/ 147 h 264"/>
              <a:gd name="T86" fmla="*/ 90 w 224"/>
              <a:gd name="T87" fmla="*/ 222 h 264"/>
              <a:gd name="T88" fmla="*/ 88 w 224"/>
              <a:gd name="T89" fmla="*/ 264 h 264"/>
              <a:gd name="T90" fmla="*/ 90 w 224"/>
              <a:gd name="T91" fmla="*/ 222 h 264"/>
              <a:gd name="T92" fmla="*/ 188 w 224"/>
              <a:gd name="T93" fmla="*/ 205 h 264"/>
              <a:gd name="T94" fmla="*/ 183 w 224"/>
              <a:gd name="T95" fmla="*/ 240 h 264"/>
              <a:gd name="T96" fmla="*/ 147 w 224"/>
              <a:gd name="T97" fmla="*/ 245 h 264"/>
              <a:gd name="T98" fmla="*/ 145 w 224"/>
              <a:gd name="T99" fmla="*/ 257 h 264"/>
              <a:gd name="T100" fmla="*/ 191 w 224"/>
              <a:gd name="T101" fmla="*/ 248 h 264"/>
              <a:gd name="T102" fmla="*/ 200 w 224"/>
              <a:gd name="T103" fmla="*/ 192 h 264"/>
              <a:gd name="T104" fmla="*/ 62 w 224"/>
              <a:gd name="T105" fmla="*/ 34 h 264"/>
              <a:gd name="T106" fmla="*/ 22 w 224"/>
              <a:gd name="T107" fmla="*/ 81 h 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24" h="264">
                <a:moveTo>
                  <a:pt x="40" y="0"/>
                </a:moveTo>
                <a:cubicBezTo>
                  <a:pt x="170" y="0"/>
                  <a:pt x="170" y="0"/>
                  <a:pt x="170" y="0"/>
                </a:cubicBezTo>
                <a:cubicBezTo>
                  <a:pt x="179" y="0"/>
                  <a:pt x="186" y="3"/>
                  <a:pt x="191" y="9"/>
                </a:cubicBezTo>
                <a:cubicBezTo>
                  <a:pt x="197" y="14"/>
                  <a:pt x="200" y="21"/>
                  <a:pt x="200" y="30"/>
                </a:cubicBezTo>
                <a:cubicBezTo>
                  <a:pt x="200" y="92"/>
                  <a:pt x="200" y="92"/>
                  <a:pt x="200" y="92"/>
                </a:cubicBezTo>
                <a:cubicBezTo>
                  <a:pt x="188" y="104"/>
                  <a:pt x="188" y="104"/>
                  <a:pt x="188" y="104"/>
                </a:cubicBezTo>
                <a:cubicBezTo>
                  <a:pt x="188" y="30"/>
                  <a:pt x="188" y="30"/>
                  <a:pt x="188" y="30"/>
                </a:cubicBezTo>
                <a:cubicBezTo>
                  <a:pt x="188" y="25"/>
                  <a:pt x="186" y="21"/>
                  <a:pt x="183" y="18"/>
                </a:cubicBezTo>
                <a:cubicBezTo>
                  <a:pt x="179" y="14"/>
                  <a:pt x="175" y="13"/>
                  <a:pt x="170" y="13"/>
                </a:cubicBezTo>
                <a:cubicBezTo>
                  <a:pt x="56" y="13"/>
                  <a:pt x="56" y="13"/>
                  <a:pt x="56" y="13"/>
                </a:cubicBezTo>
                <a:cubicBezTo>
                  <a:pt x="75" y="28"/>
                  <a:pt x="75" y="28"/>
                  <a:pt x="75" y="28"/>
                </a:cubicBezTo>
                <a:cubicBezTo>
                  <a:pt x="77" y="30"/>
                  <a:pt x="77" y="34"/>
                  <a:pt x="75" y="37"/>
                </a:cubicBezTo>
                <a:cubicBezTo>
                  <a:pt x="75" y="37"/>
                  <a:pt x="75" y="37"/>
                  <a:pt x="75" y="37"/>
                </a:cubicBezTo>
                <a:cubicBezTo>
                  <a:pt x="12" y="112"/>
                  <a:pt x="12" y="112"/>
                  <a:pt x="12" y="112"/>
                </a:cubicBezTo>
                <a:cubicBezTo>
                  <a:pt x="12" y="228"/>
                  <a:pt x="12" y="228"/>
                  <a:pt x="12" y="228"/>
                </a:cubicBezTo>
                <a:cubicBezTo>
                  <a:pt x="12" y="232"/>
                  <a:pt x="14" y="236"/>
                  <a:pt x="17" y="240"/>
                </a:cubicBezTo>
                <a:cubicBezTo>
                  <a:pt x="20" y="243"/>
                  <a:pt x="25" y="245"/>
                  <a:pt x="29" y="245"/>
                </a:cubicBezTo>
                <a:cubicBezTo>
                  <a:pt x="67" y="245"/>
                  <a:pt x="67" y="245"/>
                  <a:pt x="67" y="245"/>
                </a:cubicBezTo>
                <a:cubicBezTo>
                  <a:pt x="62" y="257"/>
                  <a:pt x="62" y="257"/>
                  <a:pt x="62" y="257"/>
                </a:cubicBezTo>
                <a:cubicBezTo>
                  <a:pt x="29" y="257"/>
                  <a:pt x="29" y="257"/>
                  <a:pt x="29" y="257"/>
                </a:cubicBezTo>
                <a:cubicBezTo>
                  <a:pt x="21" y="257"/>
                  <a:pt x="14" y="254"/>
                  <a:pt x="9" y="248"/>
                </a:cubicBezTo>
                <a:cubicBezTo>
                  <a:pt x="3" y="243"/>
                  <a:pt x="0" y="236"/>
                  <a:pt x="0" y="228"/>
                </a:cubicBezTo>
                <a:cubicBezTo>
                  <a:pt x="0" y="110"/>
                  <a:pt x="0" y="110"/>
                  <a:pt x="0" y="110"/>
                </a:cubicBezTo>
                <a:cubicBezTo>
                  <a:pt x="0" y="109"/>
                  <a:pt x="0" y="108"/>
                  <a:pt x="0" y="108"/>
                </a:cubicBezTo>
                <a:cubicBezTo>
                  <a:pt x="34" y="5"/>
                  <a:pt x="34" y="5"/>
                  <a:pt x="34" y="5"/>
                </a:cubicBezTo>
                <a:cubicBezTo>
                  <a:pt x="34" y="4"/>
                  <a:pt x="34" y="4"/>
                  <a:pt x="34" y="3"/>
                </a:cubicBezTo>
                <a:cubicBezTo>
                  <a:pt x="34" y="3"/>
                  <a:pt x="34" y="3"/>
                  <a:pt x="34" y="3"/>
                </a:cubicBezTo>
                <a:cubicBezTo>
                  <a:pt x="34" y="3"/>
                  <a:pt x="34" y="3"/>
                  <a:pt x="34" y="3"/>
                </a:cubicBezTo>
                <a:cubicBezTo>
                  <a:pt x="34" y="3"/>
                  <a:pt x="34" y="3"/>
                  <a:pt x="34" y="3"/>
                </a:cubicBezTo>
                <a:cubicBezTo>
                  <a:pt x="34" y="3"/>
                  <a:pt x="34" y="3"/>
                  <a:pt x="34" y="3"/>
                </a:cubicBezTo>
                <a:cubicBezTo>
                  <a:pt x="34" y="3"/>
                  <a:pt x="34" y="3"/>
                  <a:pt x="34" y="3"/>
                </a:cubicBezTo>
                <a:cubicBezTo>
                  <a:pt x="35" y="3"/>
                  <a:pt x="35" y="2"/>
                  <a:pt x="36" y="2"/>
                </a:cubicBezTo>
                <a:cubicBezTo>
                  <a:pt x="36" y="2"/>
                  <a:pt x="36" y="2"/>
                  <a:pt x="36" y="2"/>
                </a:cubicBezTo>
                <a:cubicBezTo>
                  <a:pt x="36" y="2"/>
                  <a:pt x="36" y="2"/>
                  <a:pt x="36" y="2"/>
                </a:cubicBezTo>
                <a:cubicBezTo>
                  <a:pt x="36" y="2"/>
                  <a:pt x="36" y="2"/>
                  <a:pt x="36" y="2"/>
                </a:cubicBezTo>
                <a:cubicBezTo>
                  <a:pt x="36" y="2"/>
                  <a:pt x="36" y="2"/>
                  <a:pt x="36" y="2"/>
                </a:cubicBezTo>
                <a:cubicBezTo>
                  <a:pt x="36" y="2"/>
                  <a:pt x="36" y="2"/>
                  <a:pt x="36" y="2"/>
                </a:cubicBezTo>
                <a:cubicBezTo>
                  <a:pt x="36" y="2"/>
                  <a:pt x="36" y="2"/>
                  <a:pt x="36" y="2"/>
                </a:cubicBezTo>
                <a:cubicBezTo>
                  <a:pt x="36" y="1"/>
                  <a:pt x="36" y="1"/>
                  <a:pt x="36" y="1"/>
                </a:cubicBezTo>
                <a:cubicBezTo>
                  <a:pt x="36" y="1"/>
                  <a:pt x="37" y="1"/>
                  <a:pt x="38" y="0"/>
                </a:cubicBezTo>
                <a:cubicBezTo>
                  <a:pt x="38" y="0"/>
                  <a:pt x="38" y="0"/>
                  <a:pt x="38" y="0"/>
                </a:cubicBezTo>
                <a:cubicBezTo>
                  <a:pt x="38" y="0"/>
                  <a:pt x="38" y="0"/>
                  <a:pt x="38" y="0"/>
                </a:cubicBezTo>
                <a:cubicBezTo>
                  <a:pt x="38" y="0"/>
                  <a:pt x="38" y="0"/>
                  <a:pt x="38" y="0"/>
                </a:cubicBezTo>
                <a:cubicBezTo>
                  <a:pt x="38" y="0"/>
                  <a:pt x="38" y="0"/>
                  <a:pt x="38" y="0"/>
                </a:cubicBezTo>
                <a:cubicBezTo>
                  <a:pt x="38" y="0"/>
                  <a:pt x="38" y="0"/>
                  <a:pt x="38" y="0"/>
                </a:cubicBezTo>
                <a:cubicBezTo>
                  <a:pt x="38" y="0"/>
                  <a:pt x="38" y="0"/>
                  <a:pt x="38" y="0"/>
                </a:cubicBezTo>
                <a:cubicBezTo>
                  <a:pt x="38" y="0"/>
                  <a:pt x="38" y="0"/>
                  <a:pt x="38" y="0"/>
                </a:cubicBezTo>
                <a:cubicBezTo>
                  <a:pt x="38" y="0"/>
                  <a:pt x="38" y="0"/>
                  <a:pt x="38" y="0"/>
                </a:cubicBezTo>
                <a:cubicBezTo>
                  <a:pt x="39" y="0"/>
                  <a:pt x="39" y="0"/>
                  <a:pt x="39" y="0"/>
                </a:cubicBezTo>
                <a:cubicBezTo>
                  <a:pt x="39" y="0"/>
                  <a:pt x="39" y="0"/>
                  <a:pt x="39" y="0"/>
                </a:cubicBezTo>
                <a:cubicBezTo>
                  <a:pt x="39" y="0"/>
                  <a:pt x="39" y="0"/>
                  <a:pt x="40" y="0"/>
                </a:cubicBezTo>
                <a:cubicBezTo>
                  <a:pt x="40" y="0"/>
                  <a:pt x="40" y="0"/>
                  <a:pt x="40" y="0"/>
                </a:cubicBezTo>
                <a:close/>
                <a:moveTo>
                  <a:pt x="37" y="170"/>
                </a:moveTo>
                <a:cubicBezTo>
                  <a:pt x="37" y="180"/>
                  <a:pt x="37" y="180"/>
                  <a:pt x="37" y="180"/>
                </a:cubicBezTo>
                <a:cubicBezTo>
                  <a:pt x="101" y="180"/>
                  <a:pt x="101" y="180"/>
                  <a:pt x="101" y="180"/>
                </a:cubicBezTo>
                <a:cubicBezTo>
                  <a:pt x="101" y="170"/>
                  <a:pt x="101" y="170"/>
                  <a:pt x="101" y="170"/>
                </a:cubicBezTo>
                <a:cubicBezTo>
                  <a:pt x="37" y="170"/>
                  <a:pt x="37" y="170"/>
                  <a:pt x="37" y="170"/>
                </a:cubicBezTo>
                <a:close/>
                <a:moveTo>
                  <a:pt x="37" y="143"/>
                </a:moveTo>
                <a:cubicBezTo>
                  <a:pt x="37" y="153"/>
                  <a:pt x="37" y="153"/>
                  <a:pt x="37" y="153"/>
                </a:cubicBezTo>
                <a:cubicBezTo>
                  <a:pt x="101" y="153"/>
                  <a:pt x="101" y="153"/>
                  <a:pt x="101" y="153"/>
                </a:cubicBezTo>
                <a:cubicBezTo>
                  <a:pt x="101" y="143"/>
                  <a:pt x="101" y="143"/>
                  <a:pt x="101" y="143"/>
                </a:cubicBezTo>
                <a:cubicBezTo>
                  <a:pt x="37" y="143"/>
                  <a:pt x="37" y="143"/>
                  <a:pt x="37" y="143"/>
                </a:cubicBezTo>
                <a:close/>
                <a:moveTo>
                  <a:pt x="37" y="117"/>
                </a:moveTo>
                <a:cubicBezTo>
                  <a:pt x="37" y="127"/>
                  <a:pt x="37" y="127"/>
                  <a:pt x="37" y="127"/>
                </a:cubicBezTo>
                <a:cubicBezTo>
                  <a:pt x="166" y="127"/>
                  <a:pt x="166" y="127"/>
                  <a:pt x="166" y="127"/>
                </a:cubicBezTo>
                <a:cubicBezTo>
                  <a:pt x="166" y="117"/>
                  <a:pt x="166" y="117"/>
                  <a:pt x="166" y="117"/>
                </a:cubicBezTo>
                <a:cubicBezTo>
                  <a:pt x="37" y="117"/>
                  <a:pt x="37" y="117"/>
                  <a:pt x="37" y="117"/>
                </a:cubicBezTo>
                <a:close/>
                <a:moveTo>
                  <a:pt x="104" y="86"/>
                </a:moveTo>
                <a:cubicBezTo>
                  <a:pt x="104" y="96"/>
                  <a:pt x="104" y="96"/>
                  <a:pt x="104" y="96"/>
                </a:cubicBezTo>
                <a:cubicBezTo>
                  <a:pt x="166" y="96"/>
                  <a:pt x="166" y="96"/>
                  <a:pt x="166" y="96"/>
                </a:cubicBezTo>
                <a:cubicBezTo>
                  <a:pt x="166" y="86"/>
                  <a:pt x="166" y="86"/>
                  <a:pt x="166" y="86"/>
                </a:cubicBezTo>
                <a:cubicBezTo>
                  <a:pt x="104" y="86"/>
                  <a:pt x="104" y="86"/>
                  <a:pt x="104" y="86"/>
                </a:cubicBezTo>
                <a:close/>
                <a:moveTo>
                  <a:pt x="104" y="59"/>
                </a:moveTo>
                <a:cubicBezTo>
                  <a:pt x="104" y="69"/>
                  <a:pt x="104" y="69"/>
                  <a:pt x="104" y="69"/>
                </a:cubicBezTo>
                <a:cubicBezTo>
                  <a:pt x="166" y="69"/>
                  <a:pt x="166" y="69"/>
                  <a:pt x="166" y="69"/>
                </a:cubicBezTo>
                <a:cubicBezTo>
                  <a:pt x="166" y="59"/>
                  <a:pt x="166" y="59"/>
                  <a:pt x="166" y="59"/>
                </a:cubicBezTo>
                <a:cubicBezTo>
                  <a:pt x="104" y="59"/>
                  <a:pt x="104" y="59"/>
                  <a:pt x="104" y="59"/>
                </a:cubicBezTo>
                <a:close/>
                <a:moveTo>
                  <a:pt x="104" y="34"/>
                </a:moveTo>
                <a:cubicBezTo>
                  <a:pt x="104" y="44"/>
                  <a:pt x="104" y="44"/>
                  <a:pt x="104" y="44"/>
                </a:cubicBezTo>
                <a:cubicBezTo>
                  <a:pt x="166" y="44"/>
                  <a:pt x="166" y="44"/>
                  <a:pt x="166" y="44"/>
                </a:cubicBezTo>
                <a:cubicBezTo>
                  <a:pt x="166" y="34"/>
                  <a:pt x="166" y="34"/>
                  <a:pt x="166" y="34"/>
                </a:cubicBezTo>
                <a:cubicBezTo>
                  <a:pt x="104" y="34"/>
                  <a:pt x="104" y="34"/>
                  <a:pt x="104" y="34"/>
                </a:cubicBezTo>
                <a:close/>
                <a:moveTo>
                  <a:pt x="194" y="117"/>
                </a:moveTo>
                <a:cubicBezTo>
                  <a:pt x="94" y="217"/>
                  <a:pt x="94" y="217"/>
                  <a:pt x="94" y="217"/>
                </a:cubicBezTo>
                <a:cubicBezTo>
                  <a:pt x="124" y="248"/>
                  <a:pt x="124" y="248"/>
                  <a:pt x="124" y="248"/>
                </a:cubicBezTo>
                <a:cubicBezTo>
                  <a:pt x="224" y="147"/>
                  <a:pt x="224" y="147"/>
                  <a:pt x="224" y="147"/>
                </a:cubicBezTo>
                <a:cubicBezTo>
                  <a:pt x="194" y="117"/>
                  <a:pt x="194" y="117"/>
                  <a:pt x="194" y="117"/>
                </a:cubicBezTo>
                <a:close/>
                <a:moveTo>
                  <a:pt x="90" y="222"/>
                </a:moveTo>
                <a:cubicBezTo>
                  <a:pt x="78" y="255"/>
                  <a:pt x="78" y="255"/>
                  <a:pt x="78" y="255"/>
                </a:cubicBezTo>
                <a:cubicBezTo>
                  <a:pt x="88" y="264"/>
                  <a:pt x="88" y="264"/>
                  <a:pt x="88" y="264"/>
                </a:cubicBezTo>
                <a:cubicBezTo>
                  <a:pt x="120" y="252"/>
                  <a:pt x="120" y="252"/>
                  <a:pt x="120" y="252"/>
                </a:cubicBezTo>
                <a:cubicBezTo>
                  <a:pt x="90" y="222"/>
                  <a:pt x="90" y="222"/>
                  <a:pt x="90" y="222"/>
                </a:cubicBezTo>
                <a:close/>
                <a:moveTo>
                  <a:pt x="200" y="192"/>
                </a:moveTo>
                <a:cubicBezTo>
                  <a:pt x="188" y="205"/>
                  <a:pt x="188" y="205"/>
                  <a:pt x="188" y="205"/>
                </a:cubicBezTo>
                <a:cubicBezTo>
                  <a:pt x="188" y="228"/>
                  <a:pt x="188" y="228"/>
                  <a:pt x="188" y="228"/>
                </a:cubicBezTo>
                <a:cubicBezTo>
                  <a:pt x="188" y="232"/>
                  <a:pt x="186" y="236"/>
                  <a:pt x="183" y="240"/>
                </a:cubicBezTo>
                <a:cubicBezTo>
                  <a:pt x="179" y="243"/>
                  <a:pt x="175" y="245"/>
                  <a:pt x="170" y="245"/>
                </a:cubicBezTo>
                <a:cubicBezTo>
                  <a:pt x="147" y="245"/>
                  <a:pt x="147" y="245"/>
                  <a:pt x="147" y="245"/>
                </a:cubicBezTo>
                <a:cubicBezTo>
                  <a:pt x="140" y="252"/>
                  <a:pt x="140" y="252"/>
                  <a:pt x="140" y="252"/>
                </a:cubicBezTo>
                <a:cubicBezTo>
                  <a:pt x="145" y="257"/>
                  <a:pt x="145" y="257"/>
                  <a:pt x="145" y="257"/>
                </a:cubicBezTo>
                <a:cubicBezTo>
                  <a:pt x="170" y="257"/>
                  <a:pt x="170" y="257"/>
                  <a:pt x="170" y="257"/>
                </a:cubicBezTo>
                <a:cubicBezTo>
                  <a:pt x="179" y="257"/>
                  <a:pt x="186" y="254"/>
                  <a:pt x="191" y="248"/>
                </a:cubicBezTo>
                <a:cubicBezTo>
                  <a:pt x="197" y="243"/>
                  <a:pt x="200" y="236"/>
                  <a:pt x="200" y="228"/>
                </a:cubicBezTo>
                <a:cubicBezTo>
                  <a:pt x="200" y="192"/>
                  <a:pt x="200" y="192"/>
                  <a:pt x="200" y="192"/>
                </a:cubicBezTo>
                <a:close/>
                <a:moveTo>
                  <a:pt x="22" y="81"/>
                </a:moveTo>
                <a:cubicBezTo>
                  <a:pt x="62" y="34"/>
                  <a:pt x="62" y="34"/>
                  <a:pt x="62" y="34"/>
                </a:cubicBezTo>
                <a:cubicBezTo>
                  <a:pt x="43" y="17"/>
                  <a:pt x="43" y="17"/>
                  <a:pt x="43" y="17"/>
                </a:cubicBezTo>
                <a:lnTo>
                  <a:pt x="22" y="81"/>
                </a:lnTo>
                <a:close/>
              </a:path>
            </a:pathLst>
          </a:custGeom>
          <a:solidFill>
            <a:srgbClr val="4C6C9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200" dirty="0"/>
          </a:p>
        </p:txBody>
      </p:sp>
      <p:pic>
        <p:nvPicPr>
          <p:cNvPr id="6" name="Graphic 5" descr="Heart with pulse with solid fill">
            <a:extLst>
              <a:ext uri="{FF2B5EF4-FFF2-40B4-BE49-F238E27FC236}">
                <a16:creationId xmlns:a16="http://schemas.microsoft.com/office/drawing/2014/main" id="{3AB296F7-4F38-4873-B0A6-311F223A5EE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6885" y="2113868"/>
            <a:ext cx="277304" cy="277304"/>
          </a:xfrm>
          <a:prstGeom prst="rect">
            <a:avLst/>
          </a:prstGeom>
        </p:spPr>
      </p:pic>
      <p:sp>
        <p:nvSpPr>
          <p:cNvPr id="32" name="Rectangle à coins arrondis 16">
            <a:extLst>
              <a:ext uri="{FF2B5EF4-FFF2-40B4-BE49-F238E27FC236}">
                <a16:creationId xmlns:a16="http://schemas.microsoft.com/office/drawing/2014/main" id="{49712064-3BE3-418F-B18A-645AC33F1629}"/>
              </a:ext>
            </a:extLst>
          </p:cNvPr>
          <p:cNvSpPr/>
          <p:nvPr/>
        </p:nvSpPr>
        <p:spPr>
          <a:xfrm>
            <a:off x="1097861" y="5735813"/>
            <a:ext cx="10596799" cy="629769"/>
          </a:xfrm>
          <a:prstGeom prst="roundRect">
            <a:avLst>
              <a:gd name="adj" fmla="val 5329"/>
            </a:avLst>
          </a:prstGeom>
          <a:solidFill>
            <a:srgbClr val="2A9CA9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600" b="1" kern="0" dirty="0">
                <a:solidFill>
                  <a:srgbClr val="FFFFFF"/>
                </a:solidFill>
                <a:latin typeface="Arial" panose="020B0604020202020204"/>
                <a:sym typeface="Arial"/>
              </a:rPr>
              <a:t>Le déploiement se fera progressivement pour chaque type de prescription et en impliquant l’ensemble des acteurs (Professionnels, organismes d’assurance maladie …)</a:t>
            </a:r>
          </a:p>
        </p:txBody>
      </p:sp>
    </p:spTree>
    <p:extLst>
      <p:ext uri="{BB962C8B-B14F-4D97-AF65-F5344CB8AC3E}">
        <p14:creationId xmlns:p14="http://schemas.microsoft.com/office/powerpoint/2010/main" val="9840817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D950A27-55BB-4984-BD61-D4C932AF23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F602E6-4D9D-42E9-B849-2FB7AAFA31EC}" type="slidenum">
              <a:rPr lang="fr-FR" smtClean="0"/>
              <a:t>5</a:t>
            </a:fld>
            <a:endParaRPr lang="fr-FR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F408C0C6-8F1B-4EEF-80A2-C351BD69B058}"/>
              </a:ext>
            </a:extLst>
          </p:cNvPr>
          <p:cNvSpPr txBox="1">
            <a:spLocks/>
          </p:cNvSpPr>
          <p:nvPr/>
        </p:nvSpPr>
        <p:spPr>
          <a:xfrm>
            <a:off x="498660" y="494778"/>
            <a:ext cx="11196000" cy="1114817"/>
          </a:xfrm>
          <a:prstGeom prst="rect">
            <a:avLst/>
          </a:prstGeom>
          <a:solidFill>
            <a:schemeClr val="tx1"/>
          </a:solidFill>
          <a:ln w="3175">
            <a:solidFill>
              <a:schemeClr val="tx1"/>
            </a:solidFill>
            <a:prstDash val="solid"/>
          </a:ln>
        </p:spPr>
        <p:txBody>
          <a:bodyPr vert="horz" lIns="432000" tIns="72000" rIns="72000" bIns="7200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dirty="0"/>
              <a:t>Avec l’ordonnance numérique, comment se passe la prise en charge du patient ?</a:t>
            </a:r>
          </a:p>
        </p:txBody>
      </p:sp>
      <p:grpSp>
        <p:nvGrpSpPr>
          <p:cNvPr id="145" name="Groupe 144"/>
          <p:cNvGrpSpPr/>
          <p:nvPr/>
        </p:nvGrpSpPr>
        <p:grpSpPr>
          <a:xfrm>
            <a:off x="6444537" y="1879605"/>
            <a:ext cx="5207561" cy="4477651"/>
            <a:chOff x="6324797" y="2298699"/>
            <a:chExt cx="5207561" cy="4477651"/>
          </a:xfrm>
        </p:grpSpPr>
        <p:sp>
          <p:nvSpPr>
            <p:cNvPr id="92" name="Text Placeholder 15">
              <a:extLst>
                <a:ext uri="{FF2B5EF4-FFF2-40B4-BE49-F238E27FC236}">
                  <a16:creationId xmlns:a16="http://schemas.microsoft.com/office/drawing/2014/main" id="{1678EFB2-9998-48CF-8A13-B47DB55FE185}"/>
                </a:ext>
              </a:extLst>
            </p:cNvPr>
            <p:cNvSpPr txBox="1">
              <a:spLocks/>
            </p:cNvSpPr>
            <p:nvPr/>
          </p:nvSpPr>
          <p:spPr>
            <a:xfrm>
              <a:off x="6324797" y="2298699"/>
              <a:ext cx="5207561" cy="4477651"/>
            </a:xfrm>
            <a:prstGeom prst="rect">
              <a:avLst/>
            </a:prstGeom>
            <a:solidFill>
              <a:srgbClr val="FFFFCC">
                <a:alpha val="40000"/>
              </a:srgbClr>
            </a:solidFill>
          </p:spPr>
          <p:txBody>
            <a:bodyPr/>
            <a:lstStyle>
              <a:lvl1pPr marL="342900" indent="-342900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6000" lvl="0" indent="0">
                <a:spcBef>
                  <a:spcPts val="0"/>
                </a:spcBef>
                <a:spcAft>
                  <a:spcPts val="1000"/>
                </a:spcAft>
                <a:buNone/>
                <a:defRPr/>
              </a:pPr>
              <a:r>
                <a:rPr lang="fr-FR" sz="1100" b="1" dirty="0">
                  <a:sym typeface="Arial"/>
                </a:rPr>
                <a:t>Pendant la consultation, rien ne change. Le médecin :</a:t>
              </a:r>
            </a:p>
            <a:p>
              <a:pPr marL="252000" lvl="0" indent="-216000">
                <a:spcBef>
                  <a:spcPts val="0"/>
                </a:spcBef>
                <a:spcAft>
                  <a:spcPts val="1000"/>
                </a:spcAft>
                <a:defRPr/>
              </a:pPr>
              <a:r>
                <a:rPr lang="fr-FR" sz="1100" dirty="0">
                  <a:sym typeface="Arial"/>
                </a:rPr>
                <a:t>Rédige la prescription à partir de son Logiciel d’Aide à la Prescription (LAP)  compatible e-prescription unifiée ; elle est enregistrée dans la base e-prescription</a:t>
              </a:r>
            </a:p>
            <a:p>
              <a:pPr marL="252000" lvl="0" indent="-216000">
                <a:spcBef>
                  <a:spcPts val="0"/>
                </a:spcBef>
                <a:spcAft>
                  <a:spcPts val="1000"/>
                </a:spcAft>
                <a:defRPr/>
              </a:pPr>
              <a:r>
                <a:rPr lang="fr-FR" sz="1100" dirty="0">
                  <a:sym typeface="Arial"/>
                </a:rPr>
                <a:t>Imprime l’ordonnance papier avec un QR Code, la signe et la remet au patient</a:t>
              </a:r>
            </a:p>
            <a:p>
              <a:pPr marL="252000" indent="-216000">
                <a:spcBef>
                  <a:spcPts val="0"/>
                </a:spcBef>
                <a:spcAft>
                  <a:spcPts val="1000"/>
                </a:spcAft>
                <a:defRPr/>
              </a:pPr>
              <a:r>
                <a:rPr lang="fr-FR" sz="1100" dirty="0">
                  <a:sym typeface="Arial"/>
                </a:rPr>
                <a:t>En parallèle, enregistre l’ordonnance numérique dans le DMP du patient facilement, depuis son logiciel métier ; le patient peut ainsi la retrouver dans Mon espace santé.</a:t>
              </a:r>
            </a:p>
            <a:p>
              <a:pPr marL="36000" indent="0">
                <a:spcBef>
                  <a:spcPts val="0"/>
                </a:spcBef>
                <a:spcAft>
                  <a:spcPts val="1000"/>
                </a:spcAft>
                <a:buNone/>
                <a:defRPr/>
              </a:pPr>
              <a:r>
                <a:rPr lang="fr-FR" sz="1100" b="1" dirty="0">
                  <a:sym typeface="Arial"/>
                </a:rPr>
                <a:t>En sortie de consultation :</a:t>
              </a:r>
            </a:p>
            <a:p>
              <a:pPr marL="207450" indent="-171450">
                <a:spcBef>
                  <a:spcPts val="0"/>
                </a:spcBef>
                <a:spcAft>
                  <a:spcPts val="1000"/>
                </a:spcAft>
                <a:defRPr/>
              </a:pPr>
              <a:r>
                <a:rPr lang="fr-FR" sz="1100" dirty="0">
                  <a:sym typeface="Arial"/>
                </a:rPr>
                <a:t>Le patient présente l’ordonnance papier* avec le QR code chez le prescrit de son choix.</a:t>
              </a:r>
            </a:p>
            <a:p>
              <a:pPr marL="207450" indent="-171450">
                <a:spcBef>
                  <a:spcPts val="0"/>
                </a:spcBef>
                <a:spcAft>
                  <a:spcPts val="1000"/>
                </a:spcAft>
                <a:defRPr/>
              </a:pPr>
              <a:r>
                <a:rPr lang="fr-FR" sz="1100" dirty="0">
                  <a:sym typeface="Arial"/>
                </a:rPr>
                <a:t>Si le prescrit est équipé**, il lit la prescription directement via son logiciel à partir du QR code qu’il a scanné, exécute les actes et les enregistre dans la base. </a:t>
              </a:r>
            </a:p>
            <a:p>
              <a:pPr marL="36000" indent="0">
                <a:spcBef>
                  <a:spcPts val="0"/>
                </a:spcBef>
                <a:spcAft>
                  <a:spcPts val="1000"/>
                </a:spcAft>
                <a:buNone/>
                <a:defRPr/>
              </a:pPr>
              <a:r>
                <a:rPr lang="fr-FR" sz="1100" b="1" dirty="0">
                  <a:sym typeface="Arial"/>
                </a:rPr>
                <a:t>Par la suite (nouvelle consultation par exemple) :</a:t>
              </a:r>
            </a:p>
            <a:p>
              <a:pPr marL="207450" indent="-171450">
                <a:spcBef>
                  <a:spcPts val="0"/>
                </a:spcBef>
                <a:spcAft>
                  <a:spcPts val="1000"/>
                </a:spcAft>
                <a:defRPr/>
              </a:pPr>
              <a:r>
                <a:rPr lang="fr-FR" sz="1100" dirty="0">
                  <a:sym typeface="Arial"/>
                </a:rPr>
                <a:t>Le médecin prescripteur peut consulter les données d’exécution ou de la délivrance (si accord du patient)</a:t>
              </a:r>
            </a:p>
            <a:p>
              <a:pPr marL="252000" lvl="0" indent="-216000">
                <a:spcBef>
                  <a:spcPts val="0"/>
                </a:spcBef>
                <a:spcAft>
                  <a:spcPts val="1000"/>
                </a:spcAft>
                <a:defRPr/>
              </a:pPr>
              <a:endParaRPr lang="fr-FR" sz="1100" dirty="0">
                <a:sym typeface="Arial"/>
              </a:endParaRPr>
            </a:p>
          </p:txBody>
        </p:sp>
        <p:sp>
          <p:nvSpPr>
            <p:cNvPr id="93" name="Oval 32">
              <a:extLst>
                <a:ext uri="{FF2B5EF4-FFF2-40B4-BE49-F238E27FC236}">
                  <a16:creationId xmlns:a16="http://schemas.microsoft.com/office/drawing/2014/main" id="{445E29E9-0EAE-49B3-AA7C-360014069276}"/>
                </a:ext>
              </a:extLst>
            </p:cNvPr>
            <p:cNvSpPr/>
            <p:nvPr/>
          </p:nvSpPr>
          <p:spPr>
            <a:xfrm>
              <a:off x="6354862" y="2668921"/>
              <a:ext cx="194621" cy="217148"/>
            </a:xfrm>
            <a:prstGeom prst="ellipse">
              <a:avLst/>
            </a:prstGeom>
            <a:solidFill>
              <a:srgbClr val="00B0F0"/>
            </a:solidFill>
            <a:ln w="25400" cap="flat" cmpd="sng" algn="ctr">
              <a:noFill/>
              <a:prstDash val="solid"/>
            </a:ln>
            <a:effectLst/>
          </p:spPr>
          <p:txBody>
            <a:bodyPr lIns="0" rIns="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115" name="Oval 54">
              <a:extLst>
                <a:ext uri="{FF2B5EF4-FFF2-40B4-BE49-F238E27FC236}">
                  <a16:creationId xmlns:a16="http://schemas.microsoft.com/office/drawing/2014/main" id="{A7668FF3-B86F-4A0C-B370-24AAEA91604F}"/>
                </a:ext>
              </a:extLst>
            </p:cNvPr>
            <p:cNvSpPr/>
            <p:nvPr/>
          </p:nvSpPr>
          <p:spPr>
            <a:xfrm>
              <a:off x="6354862" y="3269318"/>
              <a:ext cx="194621" cy="217148"/>
            </a:xfrm>
            <a:prstGeom prst="ellipse">
              <a:avLst/>
            </a:prstGeom>
            <a:solidFill>
              <a:srgbClr val="00B0F0"/>
            </a:solidFill>
            <a:ln w="25400" cap="flat" cmpd="sng" algn="ctr">
              <a:noFill/>
              <a:prstDash val="solid"/>
            </a:ln>
            <a:effectLst/>
          </p:spPr>
          <p:txBody>
            <a:bodyPr lIns="0" rIns="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117" name="Oval 54">
              <a:extLst>
                <a:ext uri="{FF2B5EF4-FFF2-40B4-BE49-F238E27FC236}">
                  <a16:creationId xmlns:a16="http://schemas.microsoft.com/office/drawing/2014/main" id="{A7668FF3-B86F-4A0C-B370-24AAEA91604F}"/>
                </a:ext>
              </a:extLst>
            </p:cNvPr>
            <p:cNvSpPr/>
            <p:nvPr/>
          </p:nvSpPr>
          <p:spPr>
            <a:xfrm>
              <a:off x="6354862" y="3728605"/>
              <a:ext cx="194621" cy="217148"/>
            </a:xfrm>
            <a:prstGeom prst="ellipse">
              <a:avLst/>
            </a:prstGeom>
            <a:solidFill>
              <a:srgbClr val="00B0F0"/>
            </a:solidFill>
            <a:ln w="25400" cap="flat" cmpd="sng" algn="ctr">
              <a:noFill/>
              <a:prstDash val="solid"/>
            </a:ln>
            <a:effectLst/>
          </p:spPr>
          <p:txBody>
            <a:bodyPr lIns="0" rIns="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142" name="Oval 54">
              <a:extLst>
                <a:ext uri="{FF2B5EF4-FFF2-40B4-BE49-F238E27FC236}">
                  <a16:creationId xmlns:a16="http://schemas.microsoft.com/office/drawing/2014/main" id="{A7668FF3-B86F-4A0C-B370-24AAEA91604F}"/>
                </a:ext>
              </a:extLst>
            </p:cNvPr>
            <p:cNvSpPr/>
            <p:nvPr/>
          </p:nvSpPr>
          <p:spPr>
            <a:xfrm>
              <a:off x="6360785" y="4667131"/>
              <a:ext cx="214458" cy="217148"/>
            </a:xfrm>
            <a:prstGeom prst="ellipse">
              <a:avLst/>
            </a:prstGeom>
            <a:solidFill>
              <a:schemeClr val="bg2"/>
            </a:solidFill>
            <a:ln w="25400" cap="flat" cmpd="sng" algn="ctr">
              <a:noFill/>
              <a:prstDash val="solid"/>
            </a:ln>
            <a:effectLst/>
          </p:spPr>
          <p:txBody>
            <a:bodyPr lIns="0" rIns="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</a:t>
              </a:r>
            </a:p>
          </p:txBody>
        </p:sp>
        <p:sp>
          <p:nvSpPr>
            <p:cNvPr id="143" name="Oval 54">
              <a:extLst>
                <a:ext uri="{FF2B5EF4-FFF2-40B4-BE49-F238E27FC236}">
                  <a16:creationId xmlns:a16="http://schemas.microsoft.com/office/drawing/2014/main" id="{A7668FF3-B86F-4A0C-B370-24AAEA91604F}"/>
                </a:ext>
              </a:extLst>
            </p:cNvPr>
            <p:cNvSpPr/>
            <p:nvPr/>
          </p:nvSpPr>
          <p:spPr>
            <a:xfrm>
              <a:off x="6360785" y="5132989"/>
              <a:ext cx="214458" cy="217148"/>
            </a:xfrm>
            <a:prstGeom prst="ellipse">
              <a:avLst/>
            </a:prstGeom>
            <a:solidFill>
              <a:schemeClr val="bg2"/>
            </a:solidFill>
            <a:ln w="25400" cap="flat" cmpd="sng" algn="ctr">
              <a:noFill/>
              <a:prstDash val="solid"/>
            </a:ln>
            <a:effectLst/>
          </p:spPr>
          <p:txBody>
            <a:bodyPr lIns="0" rIns="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</a:t>
              </a:r>
            </a:p>
          </p:txBody>
        </p:sp>
        <p:sp>
          <p:nvSpPr>
            <p:cNvPr id="144" name="Oval 54">
              <a:extLst>
                <a:ext uri="{FF2B5EF4-FFF2-40B4-BE49-F238E27FC236}">
                  <a16:creationId xmlns:a16="http://schemas.microsoft.com/office/drawing/2014/main" id="{A7668FF3-B86F-4A0C-B370-24AAEA91604F}"/>
                </a:ext>
              </a:extLst>
            </p:cNvPr>
            <p:cNvSpPr/>
            <p:nvPr/>
          </p:nvSpPr>
          <p:spPr>
            <a:xfrm>
              <a:off x="6370090" y="6048468"/>
              <a:ext cx="214458" cy="217148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lIns="0" rIns="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6</a:t>
              </a:r>
            </a:p>
          </p:txBody>
        </p:sp>
      </p:grpSp>
      <p:grpSp>
        <p:nvGrpSpPr>
          <p:cNvPr id="9" name="Groupe 8"/>
          <p:cNvGrpSpPr/>
          <p:nvPr/>
        </p:nvGrpSpPr>
        <p:grpSpPr>
          <a:xfrm>
            <a:off x="589465" y="2000865"/>
            <a:ext cx="5267480" cy="4235467"/>
            <a:chOff x="589465" y="2000865"/>
            <a:chExt cx="5267480" cy="4235467"/>
          </a:xfrm>
        </p:grpSpPr>
        <p:grpSp>
          <p:nvGrpSpPr>
            <p:cNvPr id="7" name="Groupe 6"/>
            <p:cNvGrpSpPr/>
            <p:nvPr/>
          </p:nvGrpSpPr>
          <p:grpSpPr>
            <a:xfrm>
              <a:off x="589465" y="2000865"/>
              <a:ext cx="5267480" cy="4235467"/>
              <a:chOff x="444325" y="2160519"/>
              <a:chExt cx="5267480" cy="4235467"/>
            </a:xfrm>
          </p:grpSpPr>
          <p:grpSp>
            <p:nvGrpSpPr>
              <p:cNvPr id="49" name="Group 78">
                <a:extLst>
                  <a:ext uri="{FF2B5EF4-FFF2-40B4-BE49-F238E27FC236}">
                    <a16:creationId xmlns:a16="http://schemas.microsoft.com/office/drawing/2014/main" id="{2BA2DE1E-BBE3-40DD-B8AC-ECF506892094}"/>
                  </a:ext>
                </a:extLst>
              </p:cNvPr>
              <p:cNvGrpSpPr/>
              <p:nvPr/>
            </p:nvGrpSpPr>
            <p:grpSpPr>
              <a:xfrm>
                <a:off x="444325" y="2160519"/>
                <a:ext cx="5267480" cy="4235467"/>
                <a:chOff x="664533" y="707045"/>
                <a:chExt cx="7895841" cy="5313068"/>
              </a:xfrm>
            </p:grpSpPr>
            <p:sp>
              <p:nvSpPr>
                <p:cNvPr id="56" name="Isosceles Triangle 79">
                  <a:extLst>
                    <a:ext uri="{FF2B5EF4-FFF2-40B4-BE49-F238E27FC236}">
                      <a16:creationId xmlns:a16="http://schemas.microsoft.com/office/drawing/2014/main" id="{14B270B1-57DE-40BF-B96A-E1A321BF2143}"/>
                    </a:ext>
                  </a:extLst>
                </p:cNvPr>
                <p:cNvSpPr/>
                <p:nvPr/>
              </p:nvSpPr>
              <p:spPr>
                <a:xfrm>
                  <a:off x="1505125" y="1299115"/>
                  <a:ext cx="6336703" cy="3421743"/>
                </a:xfrm>
                <a:prstGeom prst="triangle">
                  <a:avLst>
                    <a:gd name="adj" fmla="val 48136"/>
                  </a:avLst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75000"/>
                    </a:sysClr>
                  </a:solidFill>
                  <a:prstDash val="sysDash"/>
                </a:ln>
                <a:effectLst/>
              </p:spPr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fr-FR" sz="900" kern="0">
                    <a:solidFill>
                      <a:prstClr val="white"/>
                    </a:solidFill>
                    <a:cs typeface="Arial" panose="020B0604020202020204" pitchFamily="34" charset="0"/>
                    <a:sym typeface="Arial"/>
                  </a:endParaRPr>
                </a:p>
              </p:txBody>
            </p:sp>
            <p:sp>
              <p:nvSpPr>
                <p:cNvPr id="58" name="TextBox 88">
                  <a:extLst>
                    <a:ext uri="{FF2B5EF4-FFF2-40B4-BE49-F238E27FC236}">
                      <a16:creationId xmlns:a16="http://schemas.microsoft.com/office/drawing/2014/main" id="{3B0AFF11-0FE5-41D1-8279-A68B3C65DF60}"/>
                    </a:ext>
                  </a:extLst>
                </p:cNvPr>
                <p:cNvSpPr txBox="1"/>
                <p:nvPr/>
              </p:nvSpPr>
              <p:spPr>
                <a:xfrm>
                  <a:off x="4065043" y="1444175"/>
                  <a:ext cx="1054298" cy="40674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fr-FR" sz="1000" b="1" kern="0" dirty="0">
                      <a:solidFill>
                        <a:prstClr val="black">
                          <a:lumMod val="95000"/>
                          <a:lumOff val="5000"/>
                        </a:prstClr>
                      </a:solidFill>
                      <a:cs typeface="Arial" panose="020B0604020202020204" pitchFamily="34" charset="0"/>
                      <a:sym typeface="Arial"/>
                    </a:rPr>
                    <a:t>Patient</a:t>
                  </a:r>
                  <a:endParaRPr lang="fr-FR" sz="900" b="1" kern="0" dirty="0">
                    <a:solidFill>
                      <a:prstClr val="black">
                        <a:lumMod val="95000"/>
                        <a:lumOff val="5000"/>
                      </a:prstClr>
                    </a:solidFill>
                    <a:cs typeface="Arial" panose="020B0604020202020204" pitchFamily="34" charset="0"/>
                    <a:sym typeface="Arial"/>
                  </a:endParaRPr>
                </a:p>
              </p:txBody>
            </p:sp>
            <p:sp>
              <p:nvSpPr>
                <p:cNvPr id="59" name="TextBox 89">
                  <a:extLst>
                    <a:ext uri="{FF2B5EF4-FFF2-40B4-BE49-F238E27FC236}">
                      <a16:creationId xmlns:a16="http://schemas.microsoft.com/office/drawing/2014/main" id="{D5ADA7BC-FE4E-4E04-8959-5962BCB0FB08}"/>
                    </a:ext>
                  </a:extLst>
                </p:cNvPr>
                <p:cNvSpPr txBox="1"/>
                <p:nvPr/>
              </p:nvSpPr>
              <p:spPr>
                <a:xfrm>
                  <a:off x="664533" y="4901313"/>
                  <a:ext cx="1196370" cy="40674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fr-FR" sz="1000" b="1" kern="0">
                      <a:solidFill>
                        <a:prstClr val="black">
                          <a:lumMod val="95000"/>
                          <a:lumOff val="5000"/>
                        </a:prstClr>
                      </a:solidFill>
                      <a:cs typeface="Arial" panose="020B0604020202020204" pitchFamily="34" charset="0"/>
                      <a:sym typeface="Arial"/>
                    </a:rPr>
                    <a:t>Médecin</a:t>
                  </a:r>
                </a:p>
              </p:txBody>
            </p:sp>
            <p:sp>
              <p:nvSpPr>
                <p:cNvPr id="60" name="TextBox 90">
                  <a:extLst>
                    <a:ext uri="{FF2B5EF4-FFF2-40B4-BE49-F238E27FC236}">
                      <a16:creationId xmlns:a16="http://schemas.microsoft.com/office/drawing/2014/main" id="{A5A44CDE-90CD-412B-8085-9A2D53626654}"/>
                    </a:ext>
                  </a:extLst>
                </p:cNvPr>
                <p:cNvSpPr txBox="1"/>
                <p:nvPr/>
              </p:nvSpPr>
              <p:spPr>
                <a:xfrm>
                  <a:off x="7378802" y="4901313"/>
                  <a:ext cx="1181572" cy="40674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fr-FR" sz="1000" b="1" kern="0" dirty="0">
                      <a:solidFill>
                        <a:prstClr val="black">
                          <a:lumMod val="95000"/>
                          <a:lumOff val="5000"/>
                        </a:prstClr>
                      </a:solidFill>
                      <a:cs typeface="Arial" panose="020B0604020202020204" pitchFamily="34" charset="0"/>
                      <a:sym typeface="Arial"/>
                    </a:rPr>
                    <a:t>Prescrits</a:t>
                  </a:r>
                </a:p>
              </p:txBody>
            </p:sp>
            <p:sp>
              <p:nvSpPr>
                <p:cNvPr id="61" name="TextBox 91">
                  <a:extLst>
                    <a:ext uri="{FF2B5EF4-FFF2-40B4-BE49-F238E27FC236}">
                      <a16:creationId xmlns:a16="http://schemas.microsoft.com/office/drawing/2014/main" id="{DE64216E-3738-4D7D-A663-6B409155B251}"/>
                    </a:ext>
                  </a:extLst>
                </p:cNvPr>
                <p:cNvSpPr txBox="1"/>
                <p:nvPr/>
              </p:nvSpPr>
              <p:spPr>
                <a:xfrm>
                  <a:off x="3819438" y="5711248"/>
                  <a:ext cx="2310797" cy="3088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fr-FR" sz="1000" kern="0" dirty="0">
                      <a:solidFill>
                        <a:prstClr val="black">
                          <a:lumMod val="95000"/>
                          <a:lumOff val="5000"/>
                        </a:prstClr>
                      </a:solidFill>
                      <a:cs typeface="Arial" panose="020B0604020202020204" pitchFamily="34" charset="0"/>
                      <a:sym typeface="Arial"/>
                    </a:rPr>
                    <a:t>Base e- prescription</a:t>
                  </a:r>
                </a:p>
              </p:txBody>
            </p:sp>
            <p:sp>
              <p:nvSpPr>
                <p:cNvPr id="63" name="Oval 96">
                  <a:extLst>
                    <a:ext uri="{FF2B5EF4-FFF2-40B4-BE49-F238E27FC236}">
                      <a16:creationId xmlns:a16="http://schemas.microsoft.com/office/drawing/2014/main" id="{D02A4172-F113-423B-A696-D61F61F6F31C}"/>
                    </a:ext>
                  </a:extLst>
                </p:cNvPr>
                <p:cNvSpPr/>
                <p:nvPr/>
              </p:nvSpPr>
              <p:spPr>
                <a:xfrm>
                  <a:off x="1042234" y="4109525"/>
                  <a:ext cx="917643" cy="791786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rgbClr val="4C6C9C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fr-FR" sz="900" kern="0">
                    <a:solidFill>
                      <a:prstClr val="white"/>
                    </a:solidFill>
                    <a:cs typeface="Arial" panose="020B0604020202020204" pitchFamily="34" charset="0"/>
                    <a:sym typeface="Arial"/>
                  </a:endParaRPr>
                </a:p>
              </p:txBody>
            </p:sp>
            <p:sp>
              <p:nvSpPr>
                <p:cNvPr id="64" name="Oval 97">
                  <a:extLst>
                    <a:ext uri="{FF2B5EF4-FFF2-40B4-BE49-F238E27FC236}">
                      <a16:creationId xmlns:a16="http://schemas.microsoft.com/office/drawing/2014/main" id="{ADBB83C7-21A8-4E72-8408-2C38905C110F}"/>
                    </a:ext>
                  </a:extLst>
                </p:cNvPr>
                <p:cNvSpPr/>
                <p:nvPr/>
              </p:nvSpPr>
              <p:spPr>
                <a:xfrm>
                  <a:off x="4120023" y="707045"/>
                  <a:ext cx="917643" cy="791786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rgbClr val="4C6C9C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fr-FR" sz="900" kern="0">
                    <a:solidFill>
                      <a:prstClr val="white"/>
                    </a:solidFill>
                    <a:cs typeface="Arial" panose="020B0604020202020204" pitchFamily="34" charset="0"/>
                    <a:sym typeface="Arial"/>
                  </a:endParaRPr>
                </a:p>
              </p:txBody>
            </p:sp>
            <p:sp>
              <p:nvSpPr>
                <p:cNvPr id="65" name="Oval 98">
                  <a:extLst>
                    <a:ext uri="{FF2B5EF4-FFF2-40B4-BE49-F238E27FC236}">
                      <a16:creationId xmlns:a16="http://schemas.microsoft.com/office/drawing/2014/main" id="{E7C5304C-DF88-4E7C-81B1-CE6CA0CD3E63}"/>
                    </a:ext>
                  </a:extLst>
                </p:cNvPr>
                <p:cNvSpPr/>
                <p:nvPr/>
              </p:nvSpPr>
              <p:spPr>
                <a:xfrm>
                  <a:off x="7503772" y="4137041"/>
                  <a:ext cx="917643" cy="791786"/>
                </a:xfrm>
                <a:prstGeom prst="ellips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rgbClr val="4C6C9C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fr-FR" sz="900" kern="0">
                    <a:solidFill>
                      <a:prstClr val="white"/>
                    </a:solidFill>
                    <a:cs typeface="Arial" panose="020B0604020202020204" pitchFamily="34" charset="0"/>
                    <a:sym typeface="Arial"/>
                  </a:endParaRPr>
                </a:p>
              </p:txBody>
            </p:sp>
            <p:pic>
              <p:nvPicPr>
                <p:cNvPr id="66" name="Graphic 99" descr="Doctor">
                  <a:extLst>
                    <a:ext uri="{FF2B5EF4-FFF2-40B4-BE49-F238E27FC236}">
                      <a16:creationId xmlns:a16="http://schemas.microsoft.com/office/drawing/2014/main" id="{7D62F45F-453E-48B9-A0FB-4325FE1052B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02849" y="4164384"/>
                  <a:ext cx="633233" cy="633233"/>
                </a:xfrm>
                <a:prstGeom prst="rect">
                  <a:avLst/>
                </a:prstGeom>
              </p:spPr>
            </p:pic>
            <p:grpSp>
              <p:nvGrpSpPr>
                <p:cNvPr id="67" name="Group 100">
                  <a:extLst>
                    <a:ext uri="{FF2B5EF4-FFF2-40B4-BE49-F238E27FC236}">
                      <a16:creationId xmlns:a16="http://schemas.microsoft.com/office/drawing/2014/main" id="{EBBF6E99-E2B9-4F6C-9192-F03953F71425}"/>
                    </a:ext>
                  </a:extLst>
                </p:cNvPr>
                <p:cNvGrpSpPr/>
                <p:nvPr/>
              </p:nvGrpSpPr>
              <p:grpSpPr>
                <a:xfrm>
                  <a:off x="4326983" y="784656"/>
                  <a:ext cx="540544" cy="544803"/>
                  <a:chOff x="2241550" y="339725"/>
                  <a:chExt cx="393700" cy="447676"/>
                </a:xfrm>
                <a:solidFill>
                  <a:srgbClr val="4C6C9C"/>
                </a:solidFill>
              </p:grpSpPr>
              <p:sp>
                <p:nvSpPr>
                  <p:cNvPr id="71" name="Freeform 39">
                    <a:extLst>
                      <a:ext uri="{FF2B5EF4-FFF2-40B4-BE49-F238E27FC236}">
                        <a16:creationId xmlns:a16="http://schemas.microsoft.com/office/drawing/2014/main" id="{67CC2ED5-1AB7-4B13-98FD-7D557829B38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241550" y="515938"/>
                    <a:ext cx="393700" cy="271463"/>
                  </a:xfrm>
                  <a:custGeom>
                    <a:avLst/>
                    <a:gdLst>
                      <a:gd name="T0" fmla="*/ 88 w 119"/>
                      <a:gd name="T1" fmla="*/ 0 h 82"/>
                      <a:gd name="T2" fmla="*/ 119 w 119"/>
                      <a:gd name="T3" fmla="*/ 32 h 82"/>
                      <a:gd name="T4" fmla="*/ 119 w 119"/>
                      <a:gd name="T5" fmla="*/ 82 h 82"/>
                      <a:gd name="T6" fmla="*/ 100 w 119"/>
                      <a:gd name="T7" fmla="*/ 82 h 82"/>
                      <a:gd name="T8" fmla="*/ 100 w 119"/>
                      <a:gd name="T9" fmla="*/ 33 h 82"/>
                      <a:gd name="T10" fmla="*/ 91 w 119"/>
                      <a:gd name="T11" fmla="*/ 33 h 82"/>
                      <a:gd name="T12" fmla="*/ 91 w 119"/>
                      <a:gd name="T13" fmla="*/ 82 h 82"/>
                      <a:gd name="T14" fmla="*/ 28 w 119"/>
                      <a:gd name="T15" fmla="*/ 82 h 82"/>
                      <a:gd name="T16" fmla="*/ 28 w 119"/>
                      <a:gd name="T17" fmla="*/ 33 h 82"/>
                      <a:gd name="T18" fmla="*/ 19 w 119"/>
                      <a:gd name="T19" fmla="*/ 33 h 82"/>
                      <a:gd name="T20" fmla="*/ 19 w 119"/>
                      <a:gd name="T21" fmla="*/ 82 h 82"/>
                      <a:gd name="T22" fmla="*/ 0 w 119"/>
                      <a:gd name="T23" fmla="*/ 82 h 82"/>
                      <a:gd name="T24" fmla="*/ 0 w 119"/>
                      <a:gd name="T25" fmla="*/ 31 h 82"/>
                      <a:gd name="T26" fmla="*/ 31 w 119"/>
                      <a:gd name="T27" fmla="*/ 0 h 82"/>
                      <a:gd name="T28" fmla="*/ 88 w 119"/>
                      <a:gd name="T29" fmla="*/ 0 h 8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19" h="82">
                        <a:moveTo>
                          <a:pt x="88" y="0"/>
                        </a:moveTo>
                        <a:cubicBezTo>
                          <a:pt x="107" y="0"/>
                          <a:pt x="119" y="16"/>
                          <a:pt x="119" y="32"/>
                        </a:cubicBezTo>
                        <a:cubicBezTo>
                          <a:pt x="119" y="82"/>
                          <a:pt x="119" y="82"/>
                          <a:pt x="119" y="82"/>
                        </a:cubicBezTo>
                        <a:cubicBezTo>
                          <a:pt x="100" y="82"/>
                          <a:pt x="100" y="82"/>
                          <a:pt x="100" y="82"/>
                        </a:cubicBezTo>
                        <a:cubicBezTo>
                          <a:pt x="100" y="33"/>
                          <a:pt x="100" y="33"/>
                          <a:pt x="100" y="33"/>
                        </a:cubicBezTo>
                        <a:cubicBezTo>
                          <a:pt x="91" y="33"/>
                          <a:pt x="91" y="33"/>
                          <a:pt x="91" y="33"/>
                        </a:cubicBezTo>
                        <a:cubicBezTo>
                          <a:pt x="91" y="82"/>
                          <a:pt x="91" y="82"/>
                          <a:pt x="91" y="82"/>
                        </a:cubicBezTo>
                        <a:cubicBezTo>
                          <a:pt x="28" y="82"/>
                          <a:pt x="28" y="82"/>
                          <a:pt x="28" y="82"/>
                        </a:cubicBezTo>
                        <a:cubicBezTo>
                          <a:pt x="28" y="33"/>
                          <a:pt x="28" y="33"/>
                          <a:pt x="28" y="33"/>
                        </a:cubicBezTo>
                        <a:cubicBezTo>
                          <a:pt x="19" y="33"/>
                          <a:pt x="19" y="33"/>
                          <a:pt x="19" y="33"/>
                        </a:cubicBezTo>
                        <a:cubicBezTo>
                          <a:pt x="19" y="82"/>
                          <a:pt x="19" y="82"/>
                          <a:pt x="19" y="82"/>
                        </a:cubicBezTo>
                        <a:cubicBezTo>
                          <a:pt x="0" y="82"/>
                          <a:pt x="0" y="82"/>
                          <a:pt x="0" y="82"/>
                        </a:cubicBezTo>
                        <a:cubicBezTo>
                          <a:pt x="0" y="31"/>
                          <a:pt x="0" y="31"/>
                          <a:pt x="0" y="31"/>
                        </a:cubicBezTo>
                        <a:cubicBezTo>
                          <a:pt x="0" y="14"/>
                          <a:pt x="14" y="0"/>
                          <a:pt x="31" y="0"/>
                        </a:cubicBezTo>
                        <a:cubicBezTo>
                          <a:pt x="88" y="0"/>
                          <a:pt x="88" y="0"/>
                          <a:pt x="88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fr-FR" sz="900" kern="0">
                      <a:solidFill>
                        <a:prstClr val="black"/>
                      </a:solidFill>
                      <a:cs typeface="Arial" panose="020B0604020202020204" pitchFamily="34" charset="0"/>
                      <a:sym typeface="Arial"/>
                    </a:endParaRPr>
                  </a:p>
                </p:txBody>
              </p:sp>
              <p:sp>
                <p:nvSpPr>
                  <p:cNvPr id="72" name="Oval 40">
                    <a:extLst>
                      <a:ext uri="{FF2B5EF4-FFF2-40B4-BE49-F238E27FC236}">
                        <a16:creationId xmlns:a16="http://schemas.microsoft.com/office/drawing/2014/main" id="{88E95DCC-D314-40E0-B9C7-77B73704B2CE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360613" y="339725"/>
                    <a:ext cx="158750" cy="160338"/>
                  </a:xfrm>
                  <a:prstGeom prst="ellipse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fr-FR" sz="900" kern="0">
                      <a:solidFill>
                        <a:prstClr val="black"/>
                      </a:solidFill>
                      <a:cs typeface="Arial" panose="020B0604020202020204" pitchFamily="34" charset="0"/>
                      <a:sym typeface="Arial"/>
                    </a:endParaRPr>
                  </a:p>
                </p:txBody>
              </p:sp>
            </p:grpSp>
            <p:grpSp>
              <p:nvGrpSpPr>
                <p:cNvPr id="68" name="Group 101">
                  <a:extLst>
                    <a:ext uri="{FF2B5EF4-FFF2-40B4-BE49-F238E27FC236}">
                      <a16:creationId xmlns:a16="http://schemas.microsoft.com/office/drawing/2014/main" id="{CC3A34FE-E7A4-4E24-903B-795B0CC52DEC}"/>
                    </a:ext>
                  </a:extLst>
                </p:cNvPr>
                <p:cNvGrpSpPr/>
                <p:nvPr/>
              </p:nvGrpSpPr>
              <p:grpSpPr>
                <a:xfrm>
                  <a:off x="7645090" y="4224492"/>
                  <a:ext cx="671833" cy="699275"/>
                  <a:chOff x="6798642" y="3391678"/>
                  <a:chExt cx="352800" cy="352800"/>
                </a:xfrm>
              </p:grpSpPr>
              <p:pic>
                <p:nvPicPr>
                  <p:cNvPr id="69" name="Graphic 102" descr="Female Profile">
                    <a:extLst>
                      <a:ext uri="{FF2B5EF4-FFF2-40B4-BE49-F238E27FC236}">
                        <a16:creationId xmlns:a16="http://schemas.microsoft.com/office/drawing/2014/main" id="{E8ACC948-03CC-42D5-B417-1660A275E15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5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798642" y="3391678"/>
                    <a:ext cx="352800" cy="352800"/>
                  </a:xfrm>
                  <a:prstGeom prst="rect">
                    <a:avLst/>
                  </a:prstGeom>
                </p:spPr>
              </p:pic>
              <p:pic>
                <p:nvPicPr>
                  <p:cNvPr id="70" name="Picture 103">
                    <a:extLst>
                      <a:ext uri="{FF2B5EF4-FFF2-40B4-BE49-F238E27FC236}">
                        <a16:creationId xmlns:a16="http://schemas.microsoft.com/office/drawing/2014/main" id="{05CCD97D-5FE2-44AF-AA0C-72BC7083B97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" cstate="print">
                    <a:biLevel thresh="25000"/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6934444" y="3586310"/>
                    <a:ext cx="146718" cy="108000"/>
                  </a:xfrm>
                  <a:prstGeom prst="rect">
                    <a:avLst/>
                  </a:prstGeom>
                </p:spPr>
              </p:pic>
            </p:grpSp>
          </p:grpSp>
          <p:pic>
            <p:nvPicPr>
              <p:cNvPr id="51" name="Picture 2" descr="Mon espace santé — Wikipédia">
                <a:extLst>
                  <a:ext uri="{FF2B5EF4-FFF2-40B4-BE49-F238E27FC236}">
                    <a16:creationId xmlns:a16="http://schemas.microsoft.com/office/drawing/2014/main" id="{AB0A2FF1-2A72-4E60-AAD5-E0C092E2AE6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41883" y="2697301"/>
                <a:ext cx="486594" cy="37509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54" name="Graphic 36" descr="Database outline">
                <a:extLst>
                  <a:ext uri="{FF2B5EF4-FFF2-40B4-BE49-F238E27FC236}">
                    <a16:creationId xmlns:a16="http://schemas.microsoft.com/office/drawing/2014/main" id="{D248BF91-16E5-4C14-87D4-B36577A5311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2718321" y="5082995"/>
                <a:ext cx="1004112" cy="1081307"/>
              </a:xfrm>
              <a:prstGeom prst="rect">
                <a:avLst/>
              </a:prstGeom>
              <a:solidFill>
                <a:schemeClr val="bg1"/>
              </a:solidFill>
            </p:spPr>
          </p:pic>
          <p:pic>
            <p:nvPicPr>
              <p:cNvPr id="55" name="Graphic 7" descr="Qr Code with solid fill">
                <a:extLst>
                  <a:ext uri="{FF2B5EF4-FFF2-40B4-BE49-F238E27FC236}">
                    <a16:creationId xmlns:a16="http://schemas.microsoft.com/office/drawing/2014/main" id="{C6D9512E-00EC-4BE0-B4CA-883C50ADC83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2712876" y="3784821"/>
                <a:ext cx="709227" cy="763752"/>
              </a:xfrm>
              <a:prstGeom prst="rect">
                <a:avLst/>
              </a:prstGeom>
            </p:spPr>
          </p:pic>
          <p:pic>
            <p:nvPicPr>
              <p:cNvPr id="50" name="Picture 2" descr="Le DMP - Le Dossier Médical qui garde en mémoire toutes vos informations de  santé - Centre Hospitalier de Bastia">
                <a:extLst>
                  <a:ext uri="{FF2B5EF4-FFF2-40B4-BE49-F238E27FC236}">
                    <a16:creationId xmlns:a16="http://schemas.microsoft.com/office/drawing/2014/main" id="{85C6FAA7-33EE-467D-B911-5636A8E9987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8218" r="14623"/>
              <a:stretch/>
            </p:blipFill>
            <p:spPr bwMode="auto">
              <a:xfrm>
                <a:off x="1345154" y="3911476"/>
                <a:ext cx="357851" cy="404247"/>
              </a:xfrm>
              <a:prstGeom prst="rect">
                <a:avLst/>
              </a:prstGeom>
              <a:solidFill>
                <a:schemeClr val="bg1"/>
              </a:solidFill>
            </p:spPr>
          </p:pic>
          <p:sp>
            <p:nvSpPr>
              <p:cNvPr id="76" name="Oval 54">
                <a:extLst>
                  <a:ext uri="{FF2B5EF4-FFF2-40B4-BE49-F238E27FC236}">
                    <a16:creationId xmlns:a16="http://schemas.microsoft.com/office/drawing/2014/main" id="{A7668FF3-B86F-4A0C-B370-24AAEA91604F}"/>
                  </a:ext>
                </a:extLst>
              </p:cNvPr>
              <p:cNvSpPr/>
              <p:nvPr/>
            </p:nvSpPr>
            <p:spPr>
              <a:xfrm>
                <a:off x="1051482" y="4538396"/>
                <a:ext cx="235281" cy="245187"/>
              </a:xfrm>
              <a:prstGeom prst="ellipse">
                <a:avLst/>
              </a:prstGeom>
              <a:solidFill>
                <a:srgbClr val="00B0F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rIns="0" rtlCol="0" anchor="ctr"/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2</a:t>
                </a:r>
              </a:p>
            </p:txBody>
          </p:sp>
          <p:pic>
            <p:nvPicPr>
              <p:cNvPr id="77" name="Picture 52">
                <a:extLst>
                  <a:ext uri="{FF2B5EF4-FFF2-40B4-BE49-F238E27FC236}">
                    <a16:creationId xmlns:a16="http://schemas.microsoft.com/office/drawing/2014/main" id="{EB5D119D-35DA-4128-831F-216BD45722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1386842" y="4403131"/>
                <a:ext cx="327696" cy="390276"/>
              </a:xfrm>
              <a:prstGeom prst="roundRect">
                <a:avLst/>
              </a:prstGeom>
            </p:spPr>
          </p:pic>
          <p:sp>
            <p:nvSpPr>
              <p:cNvPr id="114" name="Flèche vers le haut 113"/>
              <p:cNvSpPr/>
              <p:nvPr/>
            </p:nvSpPr>
            <p:spPr>
              <a:xfrm rot="2358508">
                <a:off x="1782004" y="3128498"/>
                <a:ext cx="364910" cy="625904"/>
              </a:xfrm>
              <a:prstGeom prst="up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116" name="Oval 54">
                <a:extLst>
                  <a:ext uri="{FF2B5EF4-FFF2-40B4-BE49-F238E27FC236}">
                    <a16:creationId xmlns:a16="http://schemas.microsoft.com/office/drawing/2014/main" id="{A7668FF3-B86F-4A0C-B370-24AAEA91604F}"/>
                  </a:ext>
                </a:extLst>
              </p:cNvPr>
              <p:cNvSpPr/>
              <p:nvPr/>
            </p:nvSpPr>
            <p:spPr>
              <a:xfrm>
                <a:off x="1112631" y="4193129"/>
                <a:ext cx="235281" cy="245187"/>
              </a:xfrm>
              <a:prstGeom prst="ellipse">
                <a:avLst/>
              </a:prstGeom>
              <a:solidFill>
                <a:srgbClr val="00B0F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rIns="0" rtlCol="0" anchor="ctr"/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3</a:t>
                </a:r>
              </a:p>
            </p:txBody>
          </p:sp>
          <p:sp>
            <p:nvSpPr>
              <p:cNvPr id="118" name="Oval 54">
                <a:extLst>
                  <a:ext uri="{FF2B5EF4-FFF2-40B4-BE49-F238E27FC236}">
                    <a16:creationId xmlns:a16="http://schemas.microsoft.com/office/drawing/2014/main" id="{A7668FF3-B86F-4A0C-B370-24AAEA91604F}"/>
                  </a:ext>
                </a:extLst>
              </p:cNvPr>
              <p:cNvSpPr/>
              <p:nvPr/>
            </p:nvSpPr>
            <p:spPr>
              <a:xfrm>
                <a:off x="3341334" y="2611226"/>
                <a:ext cx="235281" cy="245187"/>
              </a:xfrm>
              <a:prstGeom prst="ellipse">
                <a:avLst/>
              </a:prstGeom>
              <a:solidFill>
                <a:schemeClr val="bg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rIns="0" rtlCol="0" anchor="ctr"/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4</a:t>
                </a:r>
              </a:p>
            </p:txBody>
          </p:sp>
          <p:grpSp>
            <p:nvGrpSpPr>
              <p:cNvPr id="126" name="Groupe 125"/>
              <p:cNvGrpSpPr/>
              <p:nvPr/>
            </p:nvGrpSpPr>
            <p:grpSpPr>
              <a:xfrm>
                <a:off x="1286765" y="5729858"/>
                <a:ext cx="1600858" cy="245187"/>
                <a:chOff x="1568951" y="5392175"/>
                <a:chExt cx="1459178" cy="217148"/>
              </a:xfrm>
            </p:grpSpPr>
            <p:sp>
              <p:nvSpPr>
                <p:cNvPr id="122" name="Oval 54">
                  <a:extLst>
                    <a:ext uri="{FF2B5EF4-FFF2-40B4-BE49-F238E27FC236}">
                      <a16:creationId xmlns:a16="http://schemas.microsoft.com/office/drawing/2014/main" id="{A7668FF3-B86F-4A0C-B370-24AAEA91604F}"/>
                    </a:ext>
                  </a:extLst>
                </p:cNvPr>
                <p:cNvSpPr/>
                <p:nvPr/>
              </p:nvSpPr>
              <p:spPr>
                <a:xfrm>
                  <a:off x="1568951" y="5392175"/>
                  <a:ext cx="214458" cy="217148"/>
                </a:xfrm>
                <a:prstGeom prst="ellipse">
                  <a:avLst/>
                </a:prstGeom>
                <a:solidFill>
                  <a:schemeClr val="accent1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rIns="0" rtlCol="0" anchor="ctr"/>
                <a:lstStyle>
                  <a:defPPr>
                    <a:defRPr lang="fr-FR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fr-FR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rPr>
                    <a:t>6</a:t>
                  </a:r>
                </a:p>
              </p:txBody>
            </p:sp>
            <p:cxnSp>
              <p:nvCxnSpPr>
                <p:cNvPr id="124" name="Connecteur droit avec flèche 123"/>
                <p:cNvCxnSpPr/>
                <p:nvPr/>
              </p:nvCxnSpPr>
              <p:spPr>
                <a:xfrm flipV="1">
                  <a:off x="1899561" y="5500749"/>
                  <a:ext cx="1128568" cy="1"/>
                </a:xfrm>
                <a:prstGeom prst="straightConnector1">
                  <a:avLst/>
                </a:prstGeom>
                <a:ln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7" name="Groupe 126"/>
              <p:cNvGrpSpPr/>
              <p:nvPr/>
            </p:nvGrpSpPr>
            <p:grpSpPr>
              <a:xfrm>
                <a:off x="1272092" y="5457224"/>
                <a:ext cx="1615530" cy="245187"/>
                <a:chOff x="1568951" y="5392175"/>
                <a:chExt cx="1472552" cy="217148"/>
              </a:xfrm>
            </p:grpSpPr>
            <p:sp>
              <p:nvSpPr>
                <p:cNvPr id="128" name="Oval 54">
                  <a:extLst>
                    <a:ext uri="{FF2B5EF4-FFF2-40B4-BE49-F238E27FC236}">
                      <a16:creationId xmlns:a16="http://schemas.microsoft.com/office/drawing/2014/main" id="{A7668FF3-B86F-4A0C-B370-24AAEA91604F}"/>
                    </a:ext>
                  </a:extLst>
                </p:cNvPr>
                <p:cNvSpPr/>
                <p:nvPr/>
              </p:nvSpPr>
              <p:spPr>
                <a:xfrm>
                  <a:off x="1568951" y="5392175"/>
                  <a:ext cx="214458" cy="217148"/>
                </a:xfrm>
                <a:prstGeom prst="ellipse">
                  <a:avLst/>
                </a:prstGeom>
                <a:solidFill>
                  <a:srgbClr val="00B0F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rIns="0" rtlCol="0" anchor="ctr"/>
                <a:lstStyle>
                  <a:defPPr>
                    <a:defRPr lang="fr-FR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fr-FR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rPr>
                    <a:t>1</a:t>
                  </a:r>
                </a:p>
              </p:txBody>
            </p:sp>
            <p:cxnSp>
              <p:nvCxnSpPr>
                <p:cNvPr id="129" name="Connecteur droit avec flèche 128"/>
                <p:cNvCxnSpPr/>
                <p:nvPr/>
              </p:nvCxnSpPr>
              <p:spPr>
                <a:xfrm flipV="1">
                  <a:off x="1899561" y="5500749"/>
                  <a:ext cx="1141942" cy="1"/>
                </a:xfrm>
                <a:prstGeom prst="straightConnector1">
                  <a:avLst/>
                </a:prstGeom>
                <a:ln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pic>
            <p:nvPicPr>
              <p:cNvPr id="132" name="Picture 52">
                <a:extLst>
                  <a:ext uri="{FF2B5EF4-FFF2-40B4-BE49-F238E27FC236}">
                    <a16:creationId xmlns:a16="http://schemas.microsoft.com/office/drawing/2014/main" id="{EB5D119D-35DA-4128-831F-216BD45722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2385180" y="5113824"/>
                <a:ext cx="327696" cy="390276"/>
              </a:xfrm>
              <a:prstGeom prst="roundRect">
                <a:avLst/>
              </a:prstGeom>
            </p:spPr>
          </p:pic>
          <p:grpSp>
            <p:nvGrpSpPr>
              <p:cNvPr id="147" name="Groupe 146"/>
              <p:cNvGrpSpPr/>
              <p:nvPr/>
            </p:nvGrpSpPr>
            <p:grpSpPr>
              <a:xfrm>
                <a:off x="3576615" y="5532445"/>
                <a:ext cx="1325394" cy="245187"/>
                <a:chOff x="3589315" y="5227645"/>
                <a:chExt cx="1325394" cy="245187"/>
              </a:xfrm>
            </p:grpSpPr>
            <p:sp>
              <p:nvSpPr>
                <p:cNvPr id="119" name="Oval 54">
                  <a:extLst>
                    <a:ext uri="{FF2B5EF4-FFF2-40B4-BE49-F238E27FC236}">
                      <a16:creationId xmlns:a16="http://schemas.microsoft.com/office/drawing/2014/main" id="{A7668FF3-B86F-4A0C-B370-24AAEA91604F}"/>
                    </a:ext>
                  </a:extLst>
                </p:cNvPr>
                <p:cNvSpPr/>
                <p:nvPr/>
              </p:nvSpPr>
              <p:spPr>
                <a:xfrm>
                  <a:off x="4679428" y="5227645"/>
                  <a:ext cx="235281" cy="245187"/>
                </a:xfrm>
                <a:prstGeom prst="ellipse">
                  <a:avLst/>
                </a:pr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rIns="0" rtlCol="0" anchor="ctr"/>
                <a:lstStyle>
                  <a:defPPr>
                    <a:defRPr lang="fr-FR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fr-FR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rPr>
                    <a:t>5</a:t>
                  </a:r>
                </a:p>
              </p:txBody>
            </p:sp>
            <p:cxnSp>
              <p:nvCxnSpPr>
                <p:cNvPr id="133" name="Connecteur droit avec flèche 132"/>
                <p:cNvCxnSpPr/>
                <p:nvPr/>
              </p:nvCxnSpPr>
              <p:spPr>
                <a:xfrm flipH="1" flipV="1">
                  <a:off x="3589315" y="5350238"/>
                  <a:ext cx="959488" cy="2"/>
                </a:xfrm>
                <a:prstGeom prst="straightConnector1">
                  <a:avLst/>
                </a:prstGeom>
                <a:ln>
                  <a:solidFill>
                    <a:schemeClr val="bg2"/>
                  </a:solidFill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75" name="Flèche vers le haut 74"/>
            <p:cNvSpPr/>
            <p:nvPr/>
          </p:nvSpPr>
          <p:spPr>
            <a:xfrm rot="8315475">
              <a:off x="4195241" y="3168372"/>
              <a:ext cx="364910" cy="625904"/>
            </a:xfrm>
            <a:prstGeom prst="up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78" name="Picture 52">
              <a:extLst>
                <a:ext uri="{FF2B5EF4-FFF2-40B4-BE49-F238E27FC236}">
                  <a16:creationId xmlns:a16="http://schemas.microsoft.com/office/drawing/2014/main" id="{EB5D119D-35DA-4128-831F-216BD457221D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4596715" y="3758807"/>
              <a:ext cx="327696" cy="390276"/>
            </a:xfrm>
            <a:prstGeom prst="roundRect">
              <a:avLst/>
            </a:prstGeom>
          </p:spPr>
        </p:pic>
      </p:grpSp>
      <p:sp>
        <p:nvSpPr>
          <p:cNvPr id="57" name="Rectangle 56"/>
          <p:cNvSpPr/>
          <p:nvPr/>
        </p:nvSpPr>
        <p:spPr>
          <a:xfrm>
            <a:off x="101598" y="6472079"/>
            <a:ext cx="550365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charset="0"/>
              <a:buChar char="•"/>
            </a:pPr>
            <a:r>
              <a:rPr lang="fr-FR" sz="800" i="1" dirty="0">
                <a:solidFill>
                  <a:srgbClr val="000000"/>
                </a:solidFill>
                <a:latin typeface="Arial (Corps)"/>
              </a:rPr>
              <a:t>Le patient doit obligatoirement présenter l’exemplaire papier tant que tous les PS ne sont pas équipés.</a:t>
            </a:r>
          </a:p>
          <a:p>
            <a:r>
              <a:rPr lang="fr-FR" sz="800" i="1" dirty="0">
                <a:solidFill>
                  <a:srgbClr val="000000"/>
                </a:solidFill>
                <a:latin typeface="Arial (Corps)"/>
              </a:rPr>
              <a:t>**   Si le prescrit n’est pas équipé, l’ordonnance peut toujours être traitée selon le circuit classique (papier).</a:t>
            </a:r>
          </a:p>
        </p:txBody>
      </p:sp>
    </p:spTree>
    <p:extLst>
      <p:ext uri="{BB962C8B-B14F-4D97-AF65-F5344CB8AC3E}">
        <p14:creationId xmlns:p14="http://schemas.microsoft.com/office/powerpoint/2010/main" val="33641335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EC84CC6-5DB4-45E1-B10E-E0E530D269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7340" y="2150978"/>
            <a:ext cx="2898583" cy="3870981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D950A27-55BB-4984-BD61-D4C932AF23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F602E6-4D9D-42E9-B849-2FB7AAFA31EC}" type="slidenum">
              <a:rPr lang="fr-FR" smtClean="0">
                <a:solidFill>
                  <a:srgbClr val="0C419A"/>
                </a:solidFill>
              </a:rPr>
              <a:pPr/>
              <a:t>6</a:t>
            </a:fld>
            <a:endParaRPr lang="fr-FR">
              <a:solidFill>
                <a:srgbClr val="0C419A"/>
              </a:solidFill>
            </a:endParaRP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F408C0C6-8F1B-4EEF-80A2-C351BD69B058}"/>
              </a:ext>
            </a:extLst>
          </p:cNvPr>
          <p:cNvSpPr txBox="1">
            <a:spLocks/>
          </p:cNvSpPr>
          <p:nvPr/>
        </p:nvSpPr>
        <p:spPr>
          <a:xfrm>
            <a:off x="498660" y="494778"/>
            <a:ext cx="11196000" cy="1114817"/>
          </a:xfrm>
          <a:prstGeom prst="rect">
            <a:avLst/>
          </a:prstGeom>
          <a:solidFill>
            <a:schemeClr val="tx1"/>
          </a:solidFill>
          <a:ln w="3175">
            <a:solidFill>
              <a:schemeClr val="tx1"/>
            </a:solidFill>
            <a:prstDash val="solid"/>
          </a:ln>
        </p:spPr>
        <p:txBody>
          <a:bodyPr vert="horz" lIns="432000" tIns="72000" rIns="72000" bIns="7200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dirty="0">
                <a:solidFill>
                  <a:prstClr val="white"/>
                </a:solidFill>
              </a:rPr>
              <a:t>A quoi ressemble une ordonnance papier générée via le dispositif d’ordonnance numérique ?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1678EFB2-9998-48CF-8A13-B47DB55FE185}"/>
              </a:ext>
            </a:extLst>
          </p:cNvPr>
          <p:cNvSpPr txBox="1">
            <a:spLocks/>
          </p:cNvSpPr>
          <p:nvPr/>
        </p:nvSpPr>
        <p:spPr>
          <a:xfrm>
            <a:off x="360000" y="1873984"/>
            <a:ext cx="3768457" cy="317862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000" indent="0" algn="just"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/>
            </a:pPr>
            <a:r>
              <a:rPr lang="fr-FR" sz="1400" b="1" dirty="0">
                <a:solidFill>
                  <a:srgbClr val="0C419A"/>
                </a:solidFill>
                <a:sym typeface="Arial"/>
              </a:rPr>
              <a:t>Facsimilé d’ordonnance numérique</a:t>
            </a:r>
          </a:p>
        </p:txBody>
      </p:sp>
      <p:sp>
        <p:nvSpPr>
          <p:cNvPr id="31" name="Légende encadrée avec une bordure 1 30"/>
          <p:cNvSpPr/>
          <p:nvPr/>
        </p:nvSpPr>
        <p:spPr>
          <a:xfrm>
            <a:off x="4940300" y="2077546"/>
            <a:ext cx="1854200" cy="431800"/>
          </a:xfrm>
          <a:prstGeom prst="accentBorderCallout1">
            <a:avLst>
              <a:gd name="adj1" fmla="val 18750"/>
              <a:gd name="adj2" fmla="val -8333"/>
              <a:gd name="adj3" fmla="val 68382"/>
              <a:gd name="adj4" fmla="val -195867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dirty="0">
                <a:solidFill>
                  <a:srgbClr val="545859"/>
                </a:solidFill>
              </a:rPr>
              <a:t>Informations relatives au prescripteur</a:t>
            </a:r>
          </a:p>
        </p:txBody>
      </p:sp>
      <p:sp>
        <p:nvSpPr>
          <p:cNvPr id="41" name="Légende encadrée avec une bordure 1 40"/>
          <p:cNvSpPr/>
          <p:nvPr/>
        </p:nvSpPr>
        <p:spPr>
          <a:xfrm>
            <a:off x="4940300" y="3512284"/>
            <a:ext cx="1854200" cy="431800"/>
          </a:xfrm>
          <a:prstGeom prst="accentBorderCallout1">
            <a:avLst>
              <a:gd name="adj1" fmla="val 18750"/>
              <a:gd name="adj2" fmla="val -8333"/>
              <a:gd name="adj3" fmla="val 4465"/>
              <a:gd name="adj4" fmla="val -120927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dirty="0">
                <a:solidFill>
                  <a:srgbClr val="545859"/>
                </a:solidFill>
              </a:rPr>
              <a:t>Date de la prescription</a:t>
            </a:r>
          </a:p>
        </p:txBody>
      </p:sp>
      <p:sp>
        <p:nvSpPr>
          <p:cNvPr id="42" name="Légende encadrée avec une bordure 1 41"/>
          <p:cNvSpPr/>
          <p:nvPr/>
        </p:nvSpPr>
        <p:spPr>
          <a:xfrm>
            <a:off x="4940300" y="2953301"/>
            <a:ext cx="1854200" cy="431800"/>
          </a:xfrm>
          <a:prstGeom prst="accentBorderCallout1">
            <a:avLst>
              <a:gd name="adj1" fmla="val 18750"/>
              <a:gd name="adj2" fmla="val -8333"/>
              <a:gd name="adj3" fmla="val -2279"/>
              <a:gd name="adj4" fmla="val -88184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dirty="0">
                <a:solidFill>
                  <a:srgbClr val="545859"/>
                </a:solidFill>
              </a:rPr>
              <a:t>Informations relatives au patient</a:t>
            </a:r>
          </a:p>
        </p:txBody>
      </p:sp>
      <p:sp>
        <p:nvSpPr>
          <p:cNvPr id="43" name="Légende encadrée avec une bordure 1 42"/>
          <p:cNvSpPr/>
          <p:nvPr/>
        </p:nvSpPr>
        <p:spPr>
          <a:xfrm>
            <a:off x="4940300" y="4176659"/>
            <a:ext cx="1854200" cy="431800"/>
          </a:xfrm>
          <a:prstGeom prst="accentBorderCallout1">
            <a:avLst>
              <a:gd name="adj1" fmla="val 18750"/>
              <a:gd name="adj2" fmla="val -8333"/>
              <a:gd name="adj3" fmla="val -12893"/>
              <a:gd name="adj4" fmla="val -118704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dirty="0">
                <a:solidFill>
                  <a:srgbClr val="545859"/>
                </a:solidFill>
              </a:rPr>
              <a:t>Contenu de la prescription</a:t>
            </a:r>
          </a:p>
        </p:txBody>
      </p:sp>
      <p:sp>
        <p:nvSpPr>
          <p:cNvPr id="44" name="Légende encadrée avec une bordure 1 43"/>
          <p:cNvSpPr/>
          <p:nvPr/>
        </p:nvSpPr>
        <p:spPr>
          <a:xfrm>
            <a:off x="4940300" y="4951359"/>
            <a:ext cx="1854200" cy="431800"/>
          </a:xfrm>
          <a:prstGeom prst="accentBorderCallout1">
            <a:avLst>
              <a:gd name="adj1" fmla="val 18750"/>
              <a:gd name="adj2" fmla="val -8333"/>
              <a:gd name="adj3" fmla="val -19853"/>
              <a:gd name="adj4" fmla="val -106702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dirty="0">
                <a:solidFill>
                  <a:srgbClr val="545859"/>
                </a:solidFill>
              </a:rPr>
              <a:t>Signature du prescripteur</a:t>
            </a:r>
          </a:p>
        </p:txBody>
      </p:sp>
      <p:sp>
        <p:nvSpPr>
          <p:cNvPr id="45" name="Légende encadrée avec une bordure 1 44"/>
          <p:cNvSpPr/>
          <p:nvPr/>
        </p:nvSpPr>
        <p:spPr>
          <a:xfrm>
            <a:off x="4521200" y="6083300"/>
            <a:ext cx="2273300" cy="622046"/>
          </a:xfrm>
          <a:prstGeom prst="accentBorderCallout1">
            <a:avLst>
              <a:gd name="adj1" fmla="val 18750"/>
              <a:gd name="adj2" fmla="val -8333"/>
              <a:gd name="adj3" fmla="val -80047"/>
              <a:gd name="adj4" fmla="val -55492"/>
            </a:avLst>
          </a:prstGeom>
          <a:solidFill>
            <a:srgbClr val="CCE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dirty="0">
                <a:solidFill>
                  <a:srgbClr val="545859"/>
                </a:solidFill>
              </a:rPr>
              <a:t>Informations légales du patient relatives au traitement des données à caractère personnel</a:t>
            </a:r>
          </a:p>
        </p:txBody>
      </p:sp>
      <p:sp>
        <p:nvSpPr>
          <p:cNvPr id="46" name="Légende encadrée avec une bordure 1 45"/>
          <p:cNvSpPr/>
          <p:nvPr/>
        </p:nvSpPr>
        <p:spPr>
          <a:xfrm>
            <a:off x="1769856" y="6151100"/>
            <a:ext cx="1709944" cy="554246"/>
          </a:xfrm>
          <a:prstGeom prst="accentBorderCallout1">
            <a:avLst>
              <a:gd name="adj1" fmla="val 18750"/>
              <a:gd name="adj2" fmla="val -8333"/>
              <a:gd name="adj3" fmla="val -67185"/>
              <a:gd name="adj4" fmla="val -50462"/>
            </a:avLst>
          </a:prstGeom>
          <a:solidFill>
            <a:srgbClr val="CCE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dirty="0">
                <a:solidFill>
                  <a:srgbClr val="545859"/>
                </a:solidFill>
              </a:rPr>
              <a:t>QR code et numéro unique de prescription</a:t>
            </a:r>
          </a:p>
        </p:txBody>
      </p:sp>
      <p:sp>
        <p:nvSpPr>
          <p:cNvPr id="47" name="Text Placeholder 15">
            <a:extLst>
              <a:ext uri="{FF2B5EF4-FFF2-40B4-BE49-F238E27FC236}">
                <a16:creationId xmlns:a16="http://schemas.microsoft.com/office/drawing/2014/main" id="{1678EFB2-9998-48CF-8A13-B47DB55FE185}"/>
              </a:ext>
            </a:extLst>
          </p:cNvPr>
          <p:cNvSpPr txBox="1">
            <a:spLocks/>
          </p:cNvSpPr>
          <p:nvPr/>
        </p:nvSpPr>
        <p:spPr>
          <a:xfrm>
            <a:off x="7573600" y="2344245"/>
            <a:ext cx="3768457" cy="2784913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000" indent="0" algn="just"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/>
            </a:pPr>
            <a:r>
              <a:rPr lang="fr-FR" sz="1200" dirty="0">
                <a:solidFill>
                  <a:srgbClr val="0C419A"/>
                </a:solidFill>
                <a:sym typeface="Arial"/>
              </a:rPr>
              <a:t>En fin de consultation, l’ordonnance papier est remise au patient.</a:t>
            </a:r>
          </a:p>
          <a:p>
            <a:pPr marL="36000" indent="0" algn="just"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/>
            </a:pPr>
            <a:r>
              <a:rPr lang="fr-FR" sz="1200" dirty="0">
                <a:solidFill>
                  <a:srgbClr val="0C419A"/>
                </a:solidFill>
                <a:sym typeface="Arial"/>
              </a:rPr>
              <a:t>En plus de ces informations classiques figurent :</a:t>
            </a:r>
          </a:p>
          <a:p>
            <a:pPr marL="207450" indent="-171450" algn="just">
              <a:spcBef>
                <a:spcPts val="0"/>
              </a:spcBef>
              <a:spcAft>
                <a:spcPts val="1000"/>
              </a:spcAft>
              <a:defRPr/>
            </a:pPr>
            <a:r>
              <a:rPr lang="fr-FR" sz="1200" dirty="0">
                <a:solidFill>
                  <a:srgbClr val="0C419A"/>
                </a:solidFill>
                <a:sym typeface="Arial"/>
              </a:rPr>
              <a:t>un QR code véhiculant un numéro unique de prescription, mentionné en clair sous le QR code</a:t>
            </a:r>
          </a:p>
          <a:p>
            <a:pPr marL="207450" indent="-171450" algn="just">
              <a:spcBef>
                <a:spcPts val="0"/>
              </a:spcBef>
              <a:spcAft>
                <a:spcPts val="1000"/>
              </a:spcAft>
              <a:defRPr/>
            </a:pPr>
            <a:r>
              <a:rPr lang="fr-FR" sz="1200" dirty="0">
                <a:solidFill>
                  <a:srgbClr val="0C419A"/>
                </a:solidFill>
                <a:sym typeface="Arial"/>
              </a:rPr>
              <a:t>des mentions légales obligatoires relatives au traitement des données à caractère personne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CC36FE6-FCB0-47E6-B17F-52B66D8D3F09}"/>
              </a:ext>
            </a:extLst>
          </p:cNvPr>
          <p:cNvSpPr txBox="1"/>
          <p:nvPr/>
        </p:nvSpPr>
        <p:spPr>
          <a:xfrm>
            <a:off x="7666406" y="4293194"/>
            <a:ext cx="4028254" cy="697627"/>
          </a:xfrm>
          <a:prstGeom prst="rect">
            <a:avLst/>
          </a:prstGeom>
          <a:noFill/>
          <a:ln>
            <a:solidFill>
              <a:srgbClr val="0C419A"/>
            </a:solidFill>
            <a:prstDash val="dash"/>
          </a:ln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</a:pPr>
            <a:r>
              <a:rPr lang="fr-FR" sz="1200" b="1" dirty="0">
                <a:solidFill>
                  <a:srgbClr val="0C419A"/>
                </a:solidFill>
              </a:rPr>
              <a:t>A noter : </a:t>
            </a:r>
          </a:p>
          <a:p>
            <a:pPr marL="285750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fr-FR" sz="1200" b="1" dirty="0">
                <a:solidFill>
                  <a:srgbClr val="0C419A"/>
                </a:solidFill>
              </a:rPr>
              <a:t>les entêtes habituelles peuvent être conservées</a:t>
            </a:r>
          </a:p>
          <a:p>
            <a:pPr marL="285750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fr-FR" sz="1200" b="1" dirty="0">
                <a:solidFill>
                  <a:srgbClr val="0C419A"/>
                </a:solidFill>
              </a:rPr>
              <a:t>pas d’obligation de transmettre les codes LPP</a:t>
            </a:r>
          </a:p>
        </p:txBody>
      </p:sp>
      <p:pic>
        <p:nvPicPr>
          <p:cNvPr id="23554" name="Picture 2" descr="Handwritten signature Banque de photographies et d'images à haute  résolution - Alamy">
            <a:extLst>
              <a:ext uri="{FF2B5EF4-FFF2-40B4-BE49-F238E27FC236}">
                <a16:creationId xmlns:a16="http://schemas.microsoft.com/office/drawing/2014/main" id="{D0055CE5-A349-4573-8826-E9B9C49F3DC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91" t="23470" r="30388" b="29899"/>
          <a:stretch/>
        </p:blipFill>
        <p:spPr bwMode="auto">
          <a:xfrm>
            <a:off x="2343286" y="4608459"/>
            <a:ext cx="563083" cy="431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Espace réservé du numéro de diapositive 16">
            <a:extLst>
              <a:ext uri="{FF2B5EF4-FFF2-40B4-BE49-F238E27FC236}">
                <a16:creationId xmlns:a16="http://schemas.microsoft.com/office/drawing/2014/main" id="{E44AF373-2B2A-4BF4-BE1E-60123CD6ADD4}"/>
              </a:ext>
            </a:extLst>
          </p:cNvPr>
          <p:cNvSpPr txBox="1">
            <a:spLocks/>
          </p:cNvSpPr>
          <p:nvPr/>
        </p:nvSpPr>
        <p:spPr>
          <a:xfrm>
            <a:off x="395469" y="6229647"/>
            <a:ext cx="720000" cy="288000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75A587B-5814-4D9B-9598-FE9CB954CB01}" type="slidenum">
              <a:rPr lang="fr-FR" sz="1200" smtClean="0">
                <a:solidFill>
                  <a:srgbClr val="0C419A"/>
                </a:solidFill>
              </a:rPr>
              <a:pPr/>
              <a:t>6</a:t>
            </a:fld>
            <a:endParaRPr lang="fr-FR" sz="1200">
              <a:solidFill>
                <a:srgbClr val="0C419A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9680533" y="6021959"/>
            <a:ext cx="2511467" cy="8360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ZoneTexte 1"/>
          <p:cNvSpPr txBox="1"/>
          <p:nvPr/>
        </p:nvSpPr>
        <p:spPr>
          <a:xfrm>
            <a:off x="7116403" y="5965246"/>
            <a:ext cx="4502786" cy="795089"/>
          </a:xfrm>
          <a:prstGeom prst="rect">
            <a:avLst/>
          </a:prstGeom>
          <a:noFill/>
          <a:ln>
            <a:solidFill>
              <a:srgbClr val="0C419A"/>
            </a:solidFill>
            <a:prstDash val="dash"/>
          </a:ln>
        </p:spPr>
        <p:txBody>
          <a:bodyPr wrap="square">
            <a:spAutoFit/>
          </a:bodyPr>
          <a:lstStyle>
            <a:defPPr>
              <a:defRPr lang="fr-FR"/>
            </a:defPPr>
            <a:lvl1pPr>
              <a:spcBef>
                <a:spcPts val="1200"/>
              </a:spcBef>
              <a:defRPr sz="1200" b="1">
                <a:solidFill>
                  <a:srgbClr val="0C419A"/>
                </a:solidFill>
              </a:defRPr>
            </a:lvl1pPr>
          </a:lstStyle>
          <a:p>
            <a:pPr marL="285750" lvl="2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fr-FR" sz="1100" b="1" dirty="0">
                <a:solidFill>
                  <a:srgbClr val="0C419A"/>
                </a:solidFill>
              </a:rPr>
              <a:t>Indication (OUI ou NON) de l’accord du patient pour la consultation des données d’exécution par le prescripteur</a:t>
            </a:r>
          </a:p>
          <a:p>
            <a:pPr marL="285750" lvl="2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fr-FR" sz="1100" b="1" dirty="0">
                <a:solidFill>
                  <a:srgbClr val="0C419A"/>
                </a:solidFill>
              </a:rPr>
              <a:t>Texte fixe indiquant que les données de prescription sont transmises électroniquement à l’Assurance Maladie</a:t>
            </a:r>
          </a:p>
        </p:txBody>
      </p:sp>
      <p:sp>
        <p:nvSpPr>
          <p:cNvPr id="4" name="Flèche droite 3"/>
          <p:cNvSpPr/>
          <p:nvPr/>
        </p:nvSpPr>
        <p:spPr>
          <a:xfrm>
            <a:off x="6857563" y="6283959"/>
            <a:ext cx="216000" cy="252000"/>
          </a:xfrm>
          <a:prstGeom prst="rightArrow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999367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7</a:t>
            </a:fld>
            <a:endParaRPr lang="fr-FR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2000" dirty="0"/>
              <a:t>LA SOLUTION Ordonnance numérique : film de présentation</a:t>
            </a:r>
          </a:p>
        </p:txBody>
      </p:sp>
      <p:sp>
        <p:nvSpPr>
          <p:cNvPr id="5" name="Title 4"/>
          <p:cNvSpPr txBox="1">
            <a:spLocks/>
          </p:cNvSpPr>
          <p:nvPr/>
        </p:nvSpPr>
        <p:spPr>
          <a:xfrm>
            <a:off x="1920284" y="1095502"/>
            <a:ext cx="8616234" cy="490066"/>
          </a:xfrm>
          <a:prstGeom prst="rect">
            <a:avLst/>
          </a:prstGeom>
        </p:spPr>
        <p:txBody>
          <a:bodyPr vert="horz" lIns="91428" tIns="45715" rIns="91428" bIns="45715" rtlCol="0" anchor="ctr">
            <a:noAutofit/>
          </a:bodyPr>
          <a:lstStyle>
            <a:defPPr>
              <a:defRPr lang="fr-FR"/>
            </a:defPPr>
            <a:lvl1pPr fontAlgn="base">
              <a:spcBef>
                <a:spcPct val="0"/>
              </a:spcBef>
              <a:spcAft>
                <a:spcPct val="0"/>
              </a:spcAft>
              <a:defRPr sz="1600" b="0" baseline="0">
                <a:solidFill>
                  <a:srgbClr val="0C419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C419A"/>
                </a:solidFill>
                <a:latin typeface="Calibri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C419A"/>
                </a:solidFill>
                <a:latin typeface="Calibri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C419A"/>
                </a:solidFill>
                <a:latin typeface="Calibri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C419A"/>
                </a:solidFill>
                <a:latin typeface="Calibri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C419A"/>
                </a:solidFill>
                <a:latin typeface="Calibri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C419A"/>
                </a:solidFill>
                <a:latin typeface="Calibri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C419A"/>
                </a:solidFill>
                <a:latin typeface="Calibri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C419A"/>
                </a:solidFill>
                <a:latin typeface="Calibri" pitchFamily="34" charset="0"/>
              </a:defRPr>
            </a:lvl9pPr>
          </a:lstStyle>
          <a:p>
            <a:r>
              <a:rPr lang="fr-FR" sz="2100" b="1" dirty="0">
                <a:latin typeface="Calibri" pitchFamily="34" charset="0"/>
                <a:ea typeface="+mn-ea"/>
                <a:cs typeface="+mn-cs"/>
              </a:rPr>
              <a:t>La solution Ordonnance numérique </a:t>
            </a:r>
            <a:r>
              <a:rPr lang="fr-FR" sz="2100" dirty="0">
                <a:latin typeface="Calibri" pitchFamily="34" charset="0"/>
                <a:ea typeface="+mn-ea"/>
                <a:cs typeface="+mn-cs"/>
              </a:rPr>
              <a:t>– Film de présentation</a:t>
            </a:r>
          </a:p>
        </p:txBody>
      </p:sp>
      <p:sp>
        <p:nvSpPr>
          <p:cNvPr id="7" name="TextBox 1">
            <a:extLst>
              <a:ext uri="{FF2B5EF4-FFF2-40B4-BE49-F238E27FC236}">
                <a16:creationId xmlns:a16="http://schemas.microsoft.com/office/drawing/2014/main" id="{8CB96026-2529-42A7-A32F-5FC748ABFD93}"/>
              </a:ext>
            </a:extLst>
          </p:cNvPr>
          <p:cNvSpPr txBox="1"/>
          <p:nvPr/>
        </p:nvSpPr>
        <p:spPr>
          <a:xfrm>
            <a:off x="4279883" y="6370237"/>
            <a:ext cx="36322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i="1" dirty="0">
                <a:solidFill>
                  <a:schemeClr val="bg1">
                    <a:lumMod val="50000"/>
                  </a:schemeClr>
                </a:solidFill>
              </a:rPr>
              <a:t>Vidéo accessible en cliquant sur l’image ci-dessus</a:t>
            </a:r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0419" y="1908092"/>
            <a:ext cx="6511162" cy="36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ZoneTexte 7"/>
          <p:cNvSpPr txBox="1"/>
          <p:nvPr/>
        </p:nvSpPr>
        <p:spPr>
          <a:xfrm>
            <a:off x="2840419" y="5504035"/>
            <a:ext cx="65111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hlinkClick r:id="rId3"/>
              </a:rPr>
              <a:t>https://www.youtube.com/watch?v=cW4ORkGoXok</a:t>
            </a:r>
            <a:endParaRPr lang="fr-FR" sz="1600" dirty="0"/>
          </a:p>
        </p:txBody>
      </p:sp>
    </p:spTree>
    <p:extLst>
      <p:ext uri="{BB962C8B-B14F-4D97-AF65-F5344CB8AC3E}">
        <p14:creationId xmlns:p14="http://schemas.microsoft.com/office/powerpoint/2010/main" val="20324811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C239C52F-C50B-41A3-BF1C-E751490B13CE}"/>
              </a:ext>
            </a:extLst>
          </p:cNvPr>
          <p:cNvSpPr/>
          <p:nvPr/>
        </p:nvSpPr>
        <p:spPr>
          <a:xfrm>
            <a:off x="0" y="0"/>
            <a:ext cx="12192000" cy="674914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6" name="Espace réservé du contenu 26">
            <a:extLst>
              <a:ext uri="{FF2B5EF4-FFF2-40B4-BE49-F238E27FC236}">
                <a16:creationId xmlns:a16="http://schemas.microsoft.com/office/drawing/2014/main" id="{F6CB14B4-02C8-4597-B0E2-9BEA0CA23181}"/>
              </a:ext>
            </a:extLst>
          </p:cNvPr>
          <p:cNvSpPr txBox="1">
            <a:spLocks/>
          </p:cNvSpPr>
          <p:nvPr/>
        </p:nvSpPr>
        <p:spPr>
          <a:xfrm>
            <a:off x="91996" y="198836"/>
            <a:ext cx="6874191" cy="65279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Symbol" panose="05050102010706020507" pitchFamily="18" charset="2"/>
              <a:buNone/>
              <a:defRPr sz="20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8415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0225" indent="-1714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809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007FAD"/>
              </a:buClr>
              <a:buSzPct val="120000"/>
              <a:buNone/>
              <a:tabLst/>
              <a:defRPr/>
            </a:pPr>
            <a:r>
              <a:rPr kumimoji="0" lang="fr-FR" sz="2000" b="1" i="0" u="none" strike="noStrike" kern="1200" cap="none" spc="0" normalizeH="0" baseline="0" noProof="0" dirty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Aharoni" panose="02010803020104030203" pitchFamily="2" charset="-79"/>
                <a:cs typeface="Aharoni" panose="02010803020104030203" pitchFamily="2" charset="-79"/>
              </a:rPr>
              <a:t>Ordonnance numérique, le processus global</a:t>
            </a:r>
            <a:endParaRPr kumimoji="0" lang="fr-FR" sz="2000" b="0" i="0" u="none" strike="noStrike" kern="1200" cap="none" spc="0" normalizeH="0" baseline="0" noProof="0" dirty="0">
              <a:ln>
                <a:noFill/>
              </a:ln>
              <a:solidFill>
                <a:srgbClr val="0C419A"/>
              </a:solidFill>
              <a:effectLst/>
              <a:uLnTx/>
              <a:uFillTx/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24285D33-5576-42DC-AE6E-DE7A48EE6E71}"/>
              </a:ext>
            </a:extLst>
          </p:cNvPr>
          <p:cNvSpPr txBox="1"/>
          <p:nvPr/>
        </p:nvSpPr>
        <p:spPr>
          <a:xfrm>
            <a:off x="114420" y="576499"/>
            <a:ext cx="352051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100" i="1" dirty="0">
                <a:solidFill>
                  <a:srgbClr val="0C419A"/>
                </a:solidFill>
                <a:latin typeface="+mj-lt"/>
                <a:cs typeface="Aharoni" panose="02010803020104030203" pitchFamily="2" charset="-79"/>
              </a:rPr>
              <a:t>Illustration avec une prescription de produits de santé</a:t>
            </a:r>
          </a:p>
        </p:txBody>
      </p:sp>
      <p:sp>
        <p:nvSpPr>
          <p:cNvPr id="144" name="Oval 143">
            <a:extLst>
              <a:ext uri="{FF2B5EF4-FFF2-40B4-BE49-F238E27FC236}">
                <a16:creationId xmlns:a16="http://schemas.microsoft.com/office/drawing/2014/main" id="{B40C8322-482D-42F6-9092-0CE8E0C7C7F1}"/>
              </a:ext>
            </a:extLst>
          </p:cNvPr>
          <p:cNvSpPr/>
          <p:nvPr/>
        </p:nvSpPr>
        <p:spPr>
          <a:xfrm>
            <a:off x="2256505" y="2972073"/>
            <a:ext cx="2445063" cy="530137"/>
          </a:xfrm>
          <a:prstGeom prst="ellipse">
            <a:avLst/>
          </a:prstGeom>
          <a:solidFill>
            <a:srgbClr val="CFDDED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66E299B7-E06B-4C2E-9F39-9DFA36B745C8}"/>
              </a:ext>
            </a:extLst>
          </p:cNvPr>
          <p:cNvSpPr/>
          <p:nvPr/>
        </p:nvSpPr>
        <p:spPr>
          <a:xfrm>
            <a:off x="2191903" y="3521392"/>
            <a:ext cx="2445063" cy="530137"/>
          </a:xfrm>
          <a:prstGeom prst="ellipse">
            <a:avLst/>
          </a:prstGeom>
          <a:solidFill>
            <a:srgbClr val="CFDDED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149" name="Oval 148">
            <a:extLst>
              <a:ext uri="{FF2B5EF4-FFF2-40B4-BE49-F238E27FC236}">
                <a16:creationId xmlns:a16="http://schemas.microsoft.com/office/drawing/2014/main" id="{7BB70FA3-30AC-400C-9FD3-6C8E8E303E81}"/>
              </a:ext>
            </a:extLst>
          </p:cNvPr>
          <p:cNvSpPr/>
          <p:nvPr/>
        </p:nvSpPr>
        <p:spPr>
          <a:xfrm>
            <a:off x="2216601" y="5168397"/>
            <a:ext cx="2422481" cy="510146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/>
          </a:p>
        </p:txBody>
      </p:sp>
      <p:sp>
        <p:nvSpPr>
          <p:cNvPr id="150" name="Rounded Rectangle 126">
            <a:extLst>
              <a:ext uri="{FF2B5EF4-FFF2-40B4-BE49-F238E27FC236}">
                <a16:creationId xmlns:a16="http://schemas.microsoft.com/office/drawing/2014/main" id="{3F7ADFD0-D16E-4F84-BCEB-132A00B686F8}"/>
              </a:ext>
            </a:extLst>
          </p:cNvPr>
          <p:cNvSpPr/>
          <p:nvPr/>
        </p:nvSpPr>
        <p:spPr>
          <a:xfrm>
            <a:off x="2273239" y="5268457"/>
            <a:ext cx="2306843" cy="313323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Présente l’ordonnance avec le QR Code chez le prescrit de son choix</a:t>
            </a:r>
          </a:p>
        </p:txBody>
      </p:sp>
      <p:sp>
        <p:nvSpPr>
          <p:cNvPr id="151" name="Rounded Rectangle 126">
            <a:extLst>
              <a:ext uri="{FF2B5EF4-FFF2-40B4-BE49-F238E27FC236}">
                <a16:creationId xmlns:a16="http://schemas.microsoft.com/office/drawing/2014/main" id="{1A787B91-1A8D-448B-896B-8B70CE7027C5}"/>
              </a:ext>
            </a:extLst>
          </p:cNvPr>
          <p:cNvSpPr/>
          <p:nvPr/>
        </p:nvSpPr>
        <p:spPr>
          <a:xfrm>
            <a:off x="1613078" y="5586693"/>
            <a:ext cx="3803808" cy="360185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e patient peut retrouver son ordonnance PDF dans Mon Espace Santé</a:t>
            </a:r>
          </a:p>
        </p:txBody>
      </p:sp>
      <p:sp>
        <p:nvSpPr>
          <p:cNvPr id="155" name="Oval 154">
            <a:extLst>
              <a:ext uri="{FF2B5EF4-FFF2-40B4-BE49-F238E27FC236}">
                <a16:creationId xmlns:a16="http://schemas.microsoft.com/office/drawing/2014/main" id="{6012E1A7-7DA3-4FB7-B711-5528FFF6BEE8}"/>
              </a:ext>
            </a:extLst>
          </p:cNvPr>
          <p:cNvSpPr/>
          <p:nvPr/>
        </p:nvSpPr>
        <p:spPr>
          <a:xfrm>
            <a:off x="9351208" y="1448759"/>
            <a:ext cx="2609856" cy="926751"/>
          </a:xfrm>
          <a:prstGeom prst="ellipse">
            <a:avLst/>
          </a:prstGeom>
          <a:solidFill>
            <a:srgbClr val="E4EDD3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156" name="Rounded Rectangle 125">
            <a:extLst>
              <a:ext uri="{FF2B5EF4-FFF2-40B4-BE49-F238E27FC236}">
                <a16:creationId xmlns:a16="http://schemas.microsoft.com/office/drawing/2014/main" id="{AAA2137E-E00F-42B9-9212-6581BAEF0F1B}"/>
              </a:ext>
            </a:extLst>
          </p:cNvPr>
          <p:cNvSpPr/>
          <p:nvPr/>
        </p:nvSpPr>
        <p:spPr>
          <a:xfrm>
            <a:off x="9272554" y="1834918"/>
            <a:ext cx="2688510" cy="361913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élivre les produits de santé et enregistre l’information en base après la factur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7" name="Oval 156">
            <a:extLst>
              <a:ext uri="{FF2B5EF4-FFF2-40B4-BE49-F238E27FC236}">
                <a16:creationId xmlns:a16="http://schemas.microsoft.com/office/drawing/2014/main" id="{0CA46EF0-BA12-4702-B8D8-B6C62A04D996}"/>
              </a:ext>
            </a:extLst>
          </p:cNvPr>
          <p:cNvSpPr/>
          <p:nvPr/>
        </p:nvSpPr>
        <p:spPr>
          <a:xfrm>
            <a:off x="2154340" y="1793084"/>
            <a:ext cx="2445063" cy="530137"/>
          </a:xfrm>
          <a:prstGeom prst="ellipse">
            <a:avLst/>
          </a:prstGeom>
          <a:solidFill>
            <a:srgbClr val="CFDDED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158" name="Rounded Rectangle 121">
            <a:extLst>
              <a:ext uri="{FF2B5EF4-FFF2-40B4-BE49-F238E27FC236}">
                <a16:creationId xmlns:a16="http://schemas.microsoft.com/office/drawing/2014/main" id="{AE1749C1-6354-47D4-973D-8EA9CBDE08A0}"/>
              </a:ext>
            </a:extLst>
          </p:cNvPr>
          <p:cNvSpPr/>
          <p:nvPr/>
        </p:nvSpPr>
        <p:spPr>
          <a:xfrm>
            <a:off x="2233027" y="3598346"/>
            <a:ext cx="2346096" cy="392185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registre l’ordonnance PDF </a:t>
            </a:r>
            <a:b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ns le DMP* du patient</a:t>
            </a:r>
          </a:p>
        </p:txBody>
      </p:sp>
      <p:sp>
        <p:nvSpPr>
          <p:cNvPr id="159" name="Rounded Rectangle 106">
            <a:extLst>
              <a:ext uri="{FF2B5EF4-FFF2-40B4-BE49-F238E27FC236}">
                <a16:creationId xmlns:a16="http://schemas.microsoft.com/office/drawing/2014/main" id="{E92079F7-E4A3-425E-A4CA-98462D65A14C}"/>
              </a:ext>
            </a:extLst>
          </p:cNvPr>
          <p:cNvSpPr/>
          <p:nvPr/>
        </p:nvSpPr>
        <p:spPr>
          <a:xfrm>
            <a:off x="2161762" y="1906219"/>
            <a:ext cx="2374610" cy="417582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registre l’ordonnance numérique en base</a:t>
            </a:r>
          </a:p>
        </p:txBody>
      </p:sp>
      <p:sp>
        <p:nvSpPr>
          <p:cNvPr id="160" name="Rounded Rectangle 121">
            <a:extLst>
              <a:ext uri="{FF2B5EF4-FFF2-40B4-BE49-F238E27FC236}">
                <a16:creationId xmlns:a16="http://schemas.microsoft.com/office/drawing/2014/main" id="{673644A2-347E-4B0B-8F56-1C6A0BEFC99F}"/>
              </a:ext>
            </a:extLst>
          </p:cNvPr>
          <p:cNvSpPr/>
          <p:nvPr/>
        </p:nvSpPr>
        <p:spPr>
          <a:xfrm>
            <a:off x="2271582" y="3061137"/>
            <a:ext cx="2400753" cy="392185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mprime l’ordonnance papier </a:t>
            </a:r>
            <a:b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vec QR Code</a:t>
            </a:r>
          </a:p>
        </p:txBody>
      </p:sp>
      <p:cxnSp>
        <p:nvCxnSpPr>
          <p:cNvPr id="161" name="Straight Arrow Connector 160">
            <a:extLst>
              <a:ext uri="{FF2B5EF4-FFF2-40B4-BE49-F238E27FC236}">
                <a16:creationId xmlns:a16="http://schemas.microsoft.com/office/drawing/2014/main" id="{47B8F427-1D15-4984-AF64-43BF3D3AFBD1}"/>
              </a:ext>
            </a:extLst>
          </p:cNvPr>
          <p:cNvCxnSpPr>
            <a:cxnSpLocks/>
          </p:cNvCxnSpPr>
          <p:nvPr/>
        </p:nvCxnSpPr>
        <p:spPr>
          <a:xfrm flipV="1">
            <a:off x="8971621" y="3801561"/>
            <a:ext cx="0" cy="1430815"/>
          </a:xfrm>
          <a:prstGeom prst="straightConnector1">
            <a:avLst/>
          </a:prstGeom>
          <a:noFill/>
          <a:ln w="28575" cap="flat" cmpd="sng" algn="ctr">
            <a:solidFill>
              <a:srgbClr val="1F497D">
                <a:lumMod val="50000"/>
              </a:srgbClr>
            </a:solidFill>
            <a:prstDash val="sysDot"/>
            <a:headEnd type="none" w="med" len="med"/>
            <a:tailEnd type="arrow" w="med" len="med"/>
          </a:ln>
          <a:effectLst/>
        </p:spPr>
      </p:cxnSp>
      <p:grpSp>
        <p:nvGrpSpPr>
          <p:cNvPr id="166" name="Group 165">
            <a:extLst>
              <a:ext uri="{FF2B5EF4-FFF2-40B4-BE49-F238E27FC236}">
                <a16:creationId xmlns:a16="http://schemas.microsoft.com/office/drawing/2014/main" id="{AF6EE467-5449-44E4-833F-CB2DDBA677D3}"/>
              </a:ext>
            </a:extLst>
          </p:cNvPr>
          <p:cNvGrpSpPr/>
          <p:nvPr/>
        </p:nvGrpSpPr>
        <p:grpSpPr>
          <a:xfrm>
            <a:off x="4846479" y="2927788"/>
            <a:ext cx="1720693" cy="2206689"/>
            <a:chOff x="3845822" y="2649768"/>
            <a:chExt cx="1084995" cy="1875837"/>
          </a:xfrm>
        </p:grpSpPr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A7C56E04-4070-427B-8812-F0AF5FF71CC3}"/>
                </a:ext>
              </a:extLst>
            </p:cNvPr>
            <p:cNvSpPr/>
            <p:nvPr/>
          </p:nvSpPr>
          <p:spPr>
            <a:xfrm rot="16200000">
              <a:off x="3721216" y="3006701"/>
              <a:ext cx="1334206" cy="1084993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8" name="Oval 167">
              <a:extLst>
                <a:ext uri="{FF2B5EF4-FFF2-40B4-BE49-F238E27FC236}">
                  <a16:creationId xmlns:a16="http://schemas.microsoft.com/office/drawing/2014/main" id="{AECC9844-90D2-4939-8EA8-3C2FE0A8E1AE}"/>
                </a:ext>
              </a:extLst>
            </p:cNvPr>
            <p:cNvSpPr/>
            <p:nvPr/>
          </p:nvSpPr>
          <p:spPr>
            <a:xfrm>
              <a:off x="3845823" y="2649768"/>
              <a:ext cx="1084994" cy="402726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</a:ln>
            <a:effectLst/>
          </p:spPr>
          <p:txBody>
            <a:bodyPr lIns="0" rIns="3600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1" i="0" u="none" strike="noStrike" kern="1200" cap="none" spc="0" normalizeH="0" baseline="0" noProof="0" dirty="0">
                <a:ln>
                  <a:noFill/>
                </a:ln>
                <a:solidFill>
                  <a:srgbClr val="17375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9" name="Oval 168">
              <a:extLst>
                <a:ext uri="{FF2B5EF4-FFF2-40B4-BE49-F238E27FC236}">
                  <a16:creationId xmlns:a16="http://schemas.microsoft.com/office/drawing/2014/main" id="{68F74AEC-10A3-442B-AFA1-17F06A9D1619}"/>
                </a:ext>
              </a:extLst>
            </p:cNvPr>
            <p:cNvSpPr/>
            <p:nvPr/>
          </p:nvSpPr>
          <p:spPr>
            <a:xfrm>
              <a:off x="3845822" y="3901455"/>
              <a:ext cx="1084994" cy="624150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91DCCB44-6EEB-4E87-9B76-E55DC60B2598}"/>
                </a:ext>
              </a:extLst>
            </p:cNvPr>
            <p:cNvSpPr/>
            <p:nvPr/>
          </p:nvSpPr>
          <p:spPr>
            <a:xfrm>
              <a:off x="3852415" y="3999274"/>
              <a:ext cx="253103" cy="209550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AAB1FEAD-7B00-4725-8CBD-A9317485C4C1}"/>
                </a:ext>
              </a:extLst>
            </p:cNvPr>
            <p:cNvSpPr/>
            <p:nvPr/>
          </p:nvSpPr>
          <p:spPr>
            <a:xfrm>
              <a:off x="4665040" y="3998965"/>
              <a:ext cx="258462" cy="209550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2EE8A770-D9FA-489D-8EE3-8E2E6C8AE641}"/>
                </a:ext>
              </a:extLst>
            </p:cNvPr>
            <p:cNvSpPr/>
            <p:nvPr/>
          </p:nvSpPr>
          <p:spPr>
            <a:xfrm>
              <a:off x="3976688" y="3826669"/>
              <a:ext cx="833437" cy="373856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73" name="Rounded Rectangle 80">
            <a:extLst>
              <a:ext uri="{FF2B5EF4-FFF2-40B4-BE49-F238E27FC236}">
                <a16:creationId xmlns:a16="http://schemas.microsoft.com/office/drawing/2014/main" id="{F78B3DA9-65D4-44AA-A8D3-0DF5CE43084A}"/>
              </a:ext>
            </a:extLst>
          </p:cNvPr>
          <p:cNvSpPr/>
          <p:nvPr/>
        </p:nvSpPr>
        <p:spPr>
          <a:xfrm>
            <a:off x="4993862" y="3430000"/>
            <a:ext cx="1427484" cy="666448"/>
          </a:xfrm>
          <a:prstGeom prst="roundRect">
            <a:avLst>
              <a:gd name="adj" fmla="val 5747"/>
            </a:avLst>
          </a:prstGeom>
          <a:solidFill>
            <a:srgbClr val="1F497D">
              <a:lumMod val="20000"/>
              <a:lumOff val="80000"/>
            </a:srgbClr>
          </a:solidFill>
          <a:ln w="3175" cap="flat" cmpd="sng" algn="ctr">
            <a:noFill/>
            <a:prstDash val="solid"/>
          </a:ln>
          <a:effectLst/>
        </p:spPr>
        <p:txBody>
          <a:bodyPr lIns="36000" rIns="36000"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fr-FR" altLang="fr-FR" sz="600" b="1" i="0" u="sng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D Unique de la prescription</a:t>
            </a:r>
            <a:endParaRPr kumimoji="0" lang="fr-FR" altLang="fr-FR" sz="600" b="0" i="0" u="sng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fr-FR" altLang="fr-FR" sz="6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tient :  </a:t>
            </a:r>
            <a:r>
              <a:rPr kumimoji="0" lang="fr-FR" altLang="fr-FR" sz="6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énom et date de naissance</a:t>
            </a:r>
          </a:p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fr-FR" altLang="fr-FR" sz="6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nnées de prescriptions</a:t>
            </a:r>
          </a:p>
          <a:p>
            <a:pPr marL="36000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fr-FR" altLang="fr-FR" sz="600" b="0" i="1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édicament 1, </a:t>
            </a:r>
          </a:p>
          <a:p>
            <a:pPr marL="36000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fr-FR" altLang="fr-FR" sz="600" b="0" i="1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édicament 2,</a:t>
            </a:r>
          </a:p>
          <a:p>
            <a:pPr marL="36000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fr-FR" altLang="fr-FR" sz="600" b="0" i="1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M 1</a:t>
            </a:r>
          </a:p>
        </p:txBody>
      </p:sp>
      <p:sp>
        <p:nvSpPr>
          <p:cNvPr id="174" name="Rounded Rectangle 84">
            <a:extLst>
              <a:ext uri="{FF2B5EF4-FFF2-40B4-BE49-F238E27FC236}">
                <a16:creationId xmlns:a16="http://schemas.microsoft.com/office/drawing/2014/main" id="{A1F76A37-C366-4654-ABE6-6507A11BB70F}"/>
              </a:ext>
            </a:extLst>
          </p:cNvPr>
          <p:cNvSpPr/>
          <p:nvPr/>
        </p:nvSpPr>
        <p:spPr>
          <a:xfrm>
            <a:off x="4993862" y="4116282"/>
            <a:ext cx="1427485" cy="845374"/>
          </a:xfrm>
          <a:prstGeom prst="roundRect">
            <a:avLst>
              <a:gd name="adj" fmla="val 3548"/>
            </a:avLst>
          </a:prstGeom>
          <a:solidFill>
            <a:srgbClr val="9BBB59">
              <a:lumMod val="40000"/>
              <a:lumOff val="60000"/>
            </a:srgbClr>
          </a:solidFill>
          <a:ln w="3175" cap="flat" cmpd="sng" algn="ctr">
            <a:noFill/>
            <a:prstDash val="solid"/>
          </a:ln>
          <a:effectLst/>
        </p:spPr>
        <p:txBody>
          <a:bodyPr lIns="36000" rIns="36000"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fr-FR" altLang="fr-FR" sz="600" b="1" i="0" u="sng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D Unique de la prescription</a:t>
            </a:r>
          </a:p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fr-FR" altLang="fr-FR" sz="6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dentité du Prescripteur :</a:t>
            </a:r>
            <a:r>
              <a:rPr kumimoji="0" lang="fr-FR" altLang="fr-FR" sz="6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N°AM et N°RPPS </a:t>
            </a:r>
          </a:p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fr-FR" altLang="fr-FR" sz="6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dentité du patient  (NIR, INS…)</a:t>
            </a:r>
            <a:endParaRPr kumimoji="0" lang="fr-FR" altLang="fr-FR" sz="6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fr-FR" altLang="fr-FR" sz="6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nnées de délivrance</a:t>
            </a:r>
          </a:p>
          <a:p>
            <a:pPr marL="36000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fr-FR" altLang="fr-FR" sz="600" b="0" i="1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édicament 1, </a:t>
            </a:r>
          </a:p>
          <a:p>
            <a:pPr marL="36000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fr-FR" altLang="fr-FR" sz="600" b="0" i="1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édicament 2, Modification</a:t>
            </a:r>
          </a:p>
          <a:p>
            <a:pPr marL="36000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fr-FR" altLang="fr-FR" sz="600" b="0" i="1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M 1</a:t>
            </a:r>
            <a:endParaRPr kumimoji="0" lang="fr-FR" altLang="fr-FR" sz="6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5" name="Oval 174">
            <a:extLst>
              <a:ext uri="{FF2B5EF4-FFF2-40B4-BE49-F238E27FC236}">
                <a16:creationId xmlns:a16="http://schemas.microsoft.com/office/drawing/2014/main" id="{F3A2CB09-0988-4D3F-9EEE-64CCDBEB6DAD}"/>
              </a:ext>
            </a:extLst>
          </p:cNvPr>
          <p:cNvSpPr/>
          <p:nvPr/>
        </p:nvSpPr>
        <p:spPr>
          <a:xfrm>
            <a:off x="1735627" y="1946392"/>
            <a:ext cx="214458" cy="217148"/>
          </a:xfrm>
          <a:prstGeom prst="ellipse">
            <a:avLst/>
          </a:prstGeom>
          <a:solidFill>
            <a:srgbClr val="00B0F0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176" name="TextBox 18">
            <a:extLst>
              <a:ext uri="{FF2B5EF4-FFF2-40B4-BE49-F238E27FC236}">
                <a16:creationId xmlns:a16="http://schemas.microsoft.com/office/drawing/2014/main" id="{0EB90B96-DDA9-4724-B3B2-FBC0E223FA6E}"/>
              </a:ext>
            </a:extLst>
          </p:cNvPr>
          <p:cNvSpPr txBox="1"/>
          <p:nvPr/>
        </p:nvSpPr>
        <p:spPr>
          <a:xfrm>
            <a:off x="6489502" y="3976254"/>
            <a:ext cx="1252366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600" dirty="0">
                <a:solidFill>
                  <a:prstClr val="black"/>
                </a:solidFill>
                <a:latin typeface="Calibri"/>
              </a:rPr>
              <a:t>Lien établi entre la prescription et</a:t>
            </a:r>
          </a:p>
          <a:p>
            <a:pPr algn="ctr"/>
            <a:r>
              <a:rPr lang="fr-FR" sz="600" dirty="0">
                <a:solidFill>
                  <a:prstClr val="black"/>
                </a:solidFill>
                <a:latin typeface="Calibri"/>
              </a:rPr>
              <a:t>l’exécution</a:t>
            </a:r>
            <a:r>
              <a:rPr lang="fr-FR" sz="600" b="1" dirty="0">
                <a:solidFill>
                  <a:prstClr val="black"/>
                </a:solidFill>
                <a:latin typeface="Calibri"/>
              </a:rPr>
              <a:t> après l’exécution des actes par le prescrit</a:t>
            </a:r>
          </a:p>
        </p:txBody>
      </p:sp>
      <p:grpSp>
        <p:nvGrpSpPr>
          <p:cNvPr id="177" name="Group 176">
            <a:extLst>
              <a:ext uri="{FF2B5EF4-FFF2-40B4-BE49-F238E27FC236}">
                <a16:creationId xmlns:a16="http://schemas.microsoft.com/office/drawing/2014/main" id="{2BF06D8A-4322-4FE4-9A78-B8D04486B95A}"/>
              </a:ext>
            </a:extLst>
          </p:cNvPr>
          <p:cNvGrpSpPr/>
          <p:nvPr/>
        </p:nvGrpSpPr>
        <p:grpSpPr>
          <a:xfrm>
            <a:off x="5009470" y="3453322"/>
            <a:ext cx="83279" cy="778729"/>
            <a:chOff x="8453679" y="3409623"/>
            <a:chExt cx="41107" cy="620504"/>
          </a:xfrm>
        </p:grpSpPr>
        <p:sp>
          <p:nvSpPr>
            <p:cNvPr id="178" name="Oval 177">
              <a:extLst>
                <a:ext uri="{FF2B5EF4-FFF2-40B4-BE49-F238E27FC236}">
                  <a16:creationId xmlns:a16="http://schemas.microsoft.com/office/drawing/2014/main" id="{FF4A6C7D-80AF-4B6D-ADC7-C920703B9BEC}"/>
                </a:ext>
              </a:extLst>
            </p:cNvPr>
            <p:cNvSpPr/>
            <p:nvPr/>
          </p:nvSpPr>
          <p:spPr>
            <a:xfrm>
              <a:off x="8453679" y="3409623"/>
              <a:ext cx="41107" cy="66576"/>
            </a:xfrm>
            <a:prstGeom prst="ellipse">
              <a:avLst/>
            </a:prstGeom>
            <a:solidFill>
              <a:srgbClr val="00FFFF"/>
            </a:solidFill>
            <a:ln w="3175" cap="flat" cmpd="sng" algn="ctr">
              <a:solidFill>
                <a:schemeClr val="tx1">
                  <a:lumMod val="50000"/>
                </a:schemeClr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9" name="Oval 178">
              <a:extLst>
                <a:ext uri="{FF2B5EF4-FFF2-40B4-BE49-F238E27FC236}">
                  <a16:creationId xmlns:a16="http://schemas.microsoft.com/office/drawing/2014/main" id="{220009E4-423B-4D5E-9D83-A749E43A5ABE}"/>
                </a:ext>
              </a:extLst>
            </p:cNvPr>
            <p:cNvSpPr/>
            <p:nvPr/>
          </p:nvSpPr>
          <p:spPr>
            <a:xfrm>
              <a:off x="8453679" y="3963551"/>
              <a:ext cx="41107" cy="66576"/>
            </a:xfrm>
            <a:prstGeom prst="ellipse">
              <a:avLst/>
            </a:prstGeom>
            <a:solidFill>
              <a:srgbClr val="00FFFF"/>
            </a:solidFill>
            <a:ln w="3175" cap="flat" cmpd="sng" algn="ctr">
              <a:solidFill>
                <a:schemeClr val="tx1">
                  <a:lumMod val="50000"/>
                </a:schemeClr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86B2BFCC-FC9C-43A4-AE3B-81195F30B36D}"/>
                </a:ext>
              </a:extLst>
            </p:cNvPr>
            <p:cNvCxnSpPr>
              <a:stCxn id="178" idx="4"/>
              <a:endCxn id="179" idx="0"/>
            </p:cNvCxnSpPr>
            <p:nvPr/>
          </p:nvCxnSpPr>
          <p:spPr>
            <a:xfrm>
              <a:off x="8474233" y="3476199"/>
              <a:ext cx="0" cy="487351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50000"/>
                </a:schemeClr>
              </a:solidFill>
              <a:prstDash val="dashDot"/>
            </a:ln>
            <a:effectLst/>
          </p:spPr>
        </p:cxnSp>
      </p:grpSp>
      <p:sp>
        <p:nvSpPr>
          <p:cNvPr id="181" name="Right Arrow 2">
            <a:extLst>
              <a:ext uri="{FF2B5EF4-FFF2-40B4-BE49-F238E27FC236}">
                <a16:creationId xmlns:a16="http://schemas.microsoft.com/office/drawing/2014/main" id="{FCF24EC1-5AD9-4D23-8ED4-E858779BEBE3}"/>
              </a:ext>
            </a:extLst>
          </p:cNvPr>
          <p:cNvSpPr/>
          <p:nvPr/>
        </p:nvSpPr>
        <p:spPr>
          <a:xfrm rot="16200000" flipH="1">
            <a:off x="5805552" y="4070286"/>
            <a:ext cx="1353648" cy="138481"/>
          </a:xfrm>
          <a:prstGeom prst="rightArrow">
            <a:avLst/>
          </a:prstGeom>
          <a:solidFill>
            <a:sysClr val="window" lastClr="FFFFFF">
              <a:lumMod val="50000"/>
            </a:sys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82" name="Graphic 181" descr="Open envelope">
            <a:extLst>
              <a:ext uri="{FF2B5EF4-FFF2-40B4-BE49-F238E27FC236}">
                <a16:creationId xmlns:a16="http://schemas.microsoft.com/office/drawing/2014/main" id="{F48E78BF-9DC8-4007-8AA8-DA7D1669384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124308" y="2289216"/>
            <a:ext cx="135507" cy="137206"/>
          </a:xfrm>
          <a:prstGeom prst="rect">
            <a:avLst/>
          </a:prstGeom>
        </p:spPr>
      </p:pic>
      <p:sp>
        <p:nvSpPr>
          <p:cNvPr id="183" name="Oval 182">
            <a:extLst>
              <a:ext uri="{FF2B5EF4-FFF2-40B4-BE49-F238E27FC236}">
                <a16:creationId xmlns:a16="http://schemas.microsoft.com/office/drawing/2014/main" id="{C9C53ADE-5BA5-470D-9B52-FE948DF99CEA}"/>
              </a:ext>
            </a:extLst>
          </p:cNvPr>
          <p:cNvSpPr/>
          <p:nvPr/>
        </p:nvSpPr>
        <p:spPr>
          <a:xfrm>
            <a:off x="4965469" y="2142208"/>
            <a:ext cx="119144" cy="120638"/>
          </a:xfrm>
          <a:prstGeom prst="ellipse">
            <a:avLst/>
          </a:prstGeom>
          <a:solidFill>
            <a:srgbClr val="8064A2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fr-FR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1DDF6C20-6EC1-4857-9E74-982F738D3701}"/>
              </a:ext>
            </a:extLst>
          </p:cNvPr>
          <p:cNvSpPr txBox="1"/>
          <p:nvPr/>
        </p:nvSpPr>
        <p:spPr>
          <a:xfrm>
            <a:off x="5041574" y="2119391"/>
            <a:ext cx="32904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00" b="1" dirty="0">
                <a:solidFill>
                  <a:srgbClr val="8064A2">
                    <a:lumMod val="75000"/>
                  </a:srgbClr>
                </a:solidFill>
                <a:latin typeface="Calibri"/>
              </a:rPr>
              <a:t>bis</a:t>
            </a:r>
            <a:endParaRPr lang="fr-FR" sz="1200" b="1" dirty="0">
              <a:solidFill>
                <a:srgbClr val="8064A2">
                  <a:lumMod val="75000"/>
                </a:srgbClr>
              </a:solidFill>
              <a:latin typeface="Calibri"/>
            </a:endParaRPr>
          </a:p>
        </p:txBody>
      </p:sp>
      <p:cxnSp>
        <p:nvCxnSpPr>
          <p:cNvPr id="185" name="Straight Arrow Connector 184">
            <a:extLst>
              <a:ext uri="{FF2B5EF4-FFF2-40B4-BE49-F238E27FC236}">
                <a16:creationId xmlns:a16="http://schemas.microsoft.com/office/drawing/2014/main" id="{4C235374-37D4-4508-B55F-44E9B5380118}"/>
              </a:ext>
            </a:extLst>
          </p:cNvPr>
          <p:cNvCxnSpPr>
            <a:cxnSpLocks/>
          </p:cNvCxnSpPr>
          <p:nvPr/>
        </p:nvCxnSpPr>
        <p:spPr>
          <a:xfrm flipH="1">
            <a:off x="1839841" y="2187026"/>
            <a:ext cx="6030" cy="1285146"/>
          </a:xfrm>
          <a:prstGeom prst="straightConnector1">
            <a:avLst/>
          </a:prstGeom>
          <a:noFill/>
          <a:ln w="28575" cap="flat" cmpd="sng" algn="ctr">
            <a:solidFill>
              <a:srgbClr val="1F497D">
                <a:lumMod val="50000"/>
              </a:srgbClr>
            </a:solidFill>
            <a:prstDash val="sysDot"/>
            <a:headEnd type="none" w="med" len="med"/>
            <a:tailEnd type="arrow" w="med" len="med"/>
          </a:ln>
          <a:effectLst/>
        </p:spPr>
      </p:cxnSp>
      <p:pic>
        <p:nvPicPr>
          <p:cNvPr id="186" name="Picture 185">
            <a:extLst>
              <a:ext uri="{FF2B5EF4-FFF2-40B4-BE49-F238E27FC236}">
                <a16:creationId xmlns:a16="http://schemas.microsoft.com/office/drawing/2014/main" id="{CE049285-9D0D-4040-8EB5-15CF430A687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74788" y="3493111"/>
            <a:ext cx="298694" cy="345645"/>
          </a:xfrm>
          <a:prstGeom prst="roundRect">
            <a:avLst/>
          </a:prstGeom>
        </p:spPr>
      </p:pic>
      <p:sp>
        <p:nvSpPr>
          <p:cNvPr id="187" name="Oval 186">
            <a:extLst>
              <a:ext uri="{FF2B5EF4-FFF2-40B4-BE49-F238E27FC236}">
                <a16:creationId xmlns:a16="http://schemas.microsoft.com/office/drawing/2014/main" id="{641DCFC3-E124-4ED6-9A16-93926FA89D6D}"/>
              </a:ext>
            </a:extLst>
          </p:cNvPr>
          <p:cNvSpPr/>
          <p:nvPr/>
        </p:nvSpPr>
        <p:spPr>
          <a:xfrm>
            <a:off x="1735627" y="3520236"/>
            <a:ext cx="214458" cy="217148"/>
          </a:xfrm>
          <a:prstGeom prst="ellipse">
            <a:avLst/>
          </a:prstGeom>
          <a:solidFill>
            <a:srgbClr val="00B0F0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cxnSp>
        <p:nvCxnSpPr>
          <p:cNvPr id="188" name="Straight Arrow Connector 187">
            <a:extLst>
              <a:ext uri="{FF2B5EF4-FFF2-40B4-BE49-F238E27FC236}">
                <a16:creationId xmlns:a16="http://schemas.microsoft.com/office/drawing/2014/main" id="{D4CE8DEE-5B56-4BFE-8336-DC5E897CB82B}"/>
              </a:ext>
            </a:extLst>
          </p:cNvPr>
          <p:cNvCxnSpPr>
            <a:cxnSpLocks/>
          </p:cNvCxnSpPr>
          <p:nvPr/>
        </p:nvCxnSpPr>
        <p:spPr>
          <a:xfrm>
            <a:off x="1849003" y="3781567"/>
            <a:ext cx="14584" cy="1458795"/>
          </a:xfrm>
          <a:prstGeom prst="straightConnector1">
            <a:avLst/>
          </a:prstGeom>
          <a:noFill/>
          <a:ln w="28575" cap="flat" cmpd="sng" algn="ctr">
            <a:solidFill>
              <a:srgbClr val="1F497D">
                <a:lumMod val="50000"/>
              </a:srgbClr>
            </a:solidFill>
            <a:prstDash val="sysDot"/>
            <a:headEnd type="none" w="med" len="med"/>
            <a:tailEnd type="arrow" w="med" len="med"/>
          </a:ln>
          <a:effectLst/>
        </p:spPr>
      </p:cxnSp>
      <p:pic>
        <p:nvPicPr>
          <p:cNvPr id="189" name="Picture 188">
            <a:extLst>
              <a:ext uri="{FF2B5EF4-FFF2-40B4-BE49-F238E27FC236}">
                <a16:creationId xmlns:a16="http://schemas.microsoft.com/office/drawing/2014/main" id="{E4455268-06A1-4EBE-857A-F2A29A1F192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98343" y="5242826"/>
            <a:ext cx="384769" cy="261667"/>
          </a:xfrm>
          <a:prstGeom prst="roundRect">
            <a:avLst/>
          </a:prstGeom>
        </p:spPr>
      </p:pic>
      <p:pic>
        <p:nvPicPr>
          <p:cNvPr id="190" name="Picture 189">
            <a:extLst>
              <a:ext uri="{FF2B5EF4-FFF2-40B4-BE49-F238E27FC236}">
                <a16:creationId xmlns:a16="http://schemas.microsoft.com/office/drawing/2014/main" id="{BC905F57-38A3-40CD-B8B1-D3F9BD8EAF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2107" y="3571873"/>
            <a:ext cx="211873" cy="141760"/>
          </a:xfrm>
          <a:prstGeom prst="rect">
            <a:avLst/>
          </a:prstGeom>
          <a:noFill/>
          <a:ln w="9525">
            <a:solidFill>
              <a:srgbClr val="D8D8D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1" name="Picture 190">
            <a:extLst>
              <a:ext uri="{FF2B5EF4-FFF2-40B4-BE49-F238E27FC236}">
                <a16:creationId xmlns:a16="http://schemas.microsoft.com/office/drawing/2014/main" id="{9290D3DC-BAC4-400F-8BA8-7FF17AB5B9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lum bright="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5969" y="3581978"/>
            <a:ext cx="211873" cy="134199"/>
          </a:xfrm>
          <a:prstGeom prst="rect">
            <a:avLst/>
          </a:prstGeom>
          <a:noFill/>
          <a:ln w="9525">
            <a:solidFill>
              <a:srgbClr val="D8D8D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2" name="Oval 191">
            <a:extLst>
              <a:ext uri="{FF2B5EF4-FFF2-40B4-BE49-F238E27FC236}">
                <a16:creationId xmlns:a16="http://schemas.microsoft.com/office/drawing/2014/main" id="{DF4DE7FD-BC8B-4F34-8591-4FB96A238837}"/>
              </a:ext>
            </a:extLst>
          </p:cNvPr>
          <p:cNvSpPr/>
          <p:nvPr/>
        </p:nvSpPr>
        <p:spPr>
          <a:xfrm>
            <a:off x="8857362" y="5304948"/>
            <a:ext cx="214458" cy="217148"/>
          </a:xfrm>
          <a:prstGeom prst="ellipse">
            <a:avLst/>
          </a:prstGeom>
          <a:solidFill>
            <a:srgbClr val="00B0F0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  <p:cxnSp>
        <p:nvCxnSpPr>
          <p:cNvPr id="193" name="Straight Arrow Connector 192">
            <a:extLst>
              <a:ext uri="{FF2B5EF4-FFF2-40B4-BE49-F238E27FC236}">
                <a16:creationId xmlns:a16="http://schemas.microsoft.com/office/drawing/2014/main" id="{DA258A77-9664-4397-8C27-6B354758323A}"/>
              </a:ext>
            </a:extLst>
          </p:cNvPr>
          <p:cNvCxnSpPr>
            <a:cxnSpLocks/>
          </p:cNvCxnSpPr>
          <p:nvPr/>
        </p:nvCxnSpPr>
        <p:spPr>
          <a:xfrm flipV="1">
            <a:off x="4795212" y="5411729"/>
            <a:ext cx="3561601" cy="11741"/>
          </a:xfrm>
          <a:prstGeom prst="straightConnector1">
            <a:avLst/>
          </a:prstGeom>
          <a:noFill/>
          <a:ln w="28575" cap="flat" cmpd="sng" algn="ctr">
            <a:solidFill>
              <a:srgbClr val="1F497D">
                <a:lumMod val="50000"/>
              </a:srgbClr>
            </a:solidFill>
            <a:prstDash val="sysDot"/>
            <a:headEnd type="none" w="med" len="med"/>
            <a:tailEnd type="arrow" w="med" len="med"/>
          </a:ln>
          <a:effectLst/>
        </p:spPr>
      </p:cxnSp>
      <p:sp>
        <p:nvSpPr>
          <p:cNvPr id="194" name="Oval 193">
            <a:extLst>
              <a:ext uri="{FF2B5EF4-FFF2-40B4-BE49-F238E27FC236}">
                <a16:creationId xmlns:a16="http://schemas.microsoft.com/office/drawing/2014/main" id="{1E334DDD-AD28-400C-B290-76D01454D3A3}"/>
              </a:ext>
            </a:extLst>
          </p:cNvPr>
          <p:cNvSpPr/>
          <p:nvPr/>
        </p:nvSpPr>
        <p:spPr>
          <a:xfrm>
            <a:off x="8857362" y="3546767"/>
            <a:ext cx="214458" cy="217148"/>
          </a:xfrm>
          <a:prstGeom prst="ellipse">
            <a:avLst/>
          </a:prstGeom>
          <a:solidFill>
            <a:srgbClr val="00B0F0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100" dirty="0">
                <a:solidFill>
                  <a:prstClr val="white"/>
                </a:solidFill>
                <a:latin typeface="Calibri"/>
              </a:rPr>
              <a:t>5</a:t>
            </a:r>
            <a:endParaRPr kumimoji="0" lang="fr-FR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95" name="Oval 194">
            <a:extLst>
              <a:ext uri="{FF2B5EF4-FFF2-40B4-BE49-F238E27FC236}">
                <a16:creationId xmlns:a16="http://schemas.microsoft.com/office/drawing/2014/main" id="{37747500-7562-490E-B24B-FD9728E0DD5F}"/>
              </a:ext>
            </a:extLst>
          </p:cNvPr>
          <p:cNvSpPr/>
          <p:nvPr/>
        </p:nvSpPr>
        <p:spPr>
          <a:xfrm>
            <a:off x="8857362" y="1946392"/>
            <a:ext cx="214458" cy="217148"/>
          </a:xfrm>
          <a:prstGeom prst="ellipse">
            <a:avLst/>
          </a:prstGeom>
          <a:solidFill>
            <a:srgbClr val="00B0F0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100" dirty="0">
                <a:solidFill>
                  <a:prstClr val="white"/>
                </a:solidFill>
                <a:latin typeface="Calibri"/>
              </a:rPr>
              <a:t>6</a:t>
            </a:r>
            <a:endParaRPr kumimoji="0" lang="fr-FR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</p:txBody>
      </p:sp>
      <p:cxnSp>
        <p:nvCxnSpPr>
          <p:cNvPr id="196" name="Straight Arrow Connector 195">
            <a:extLst>
              <a:ext uri="{FF2B5EF4-FFF2-40B4-BE49-F238E27FC236}">
                <a16:creationId xmlns:a16="http://schemas.microsoft.com/office/drawing/2014/main" id="{8124EE35-D0FE-4F62-9CA1-E2377958DE6B}"/>
              </a:ext>
            </a:extLst>
          </p:cNvPr>
          <p:cNvCxnSpPr>
            <a:cxnSpLocks/>
          </p:cNvCxnSpPr>
          <p:nvPr/>
        </p:nvCxnSpPr>
        <p:spPr>
          <a:xfrm flipV="1">
            <a:off x="8963087" y="2248701"/>
            <a:ext cx="1503" cy="1271536"/>
          </a:xfrm>
          <a:prstGeom prst="straightConnector1">
            <a:avLst/>
          </a:prstGeom>
          <a:noFill/>
          <a:ln w="28575" cap="flat" cmpd="sng" algn="ctr">
            <a:solidFill>
              <a:srgbClr val="1F497D">
                <a:lumMod val="50000"/>
              </a:srgbClr>
            </a:solidFill>
            <a:prstDash val="sysDot"/>
            <a:headEnd type="none" w="med" len="med"/>
            <a:tailEnd type="arrow" w="med" len="med"/>
          </a:ln>
          <a:effectLst/>
        </p:spPr>
      </p:cxnSp>
      <p:sp>
        <p:nvSpPr>
          <p:cNvPr id="197" name="Oval 196">
            <a:extLst>
              <a:ext uri="{FF2B5EF4-FFF2-40B4-BE49-F238E27FC236}">
                <a16:creationId xmlns:a16="http://schemas.microsoft.com/office/drawing/2014/main" id="{142B0558-D4B5-403E-9470-7093893AF632}"/>
              </a:ext>
            </a:extLst>
          </p:cNvPr>
          <p:cNvSpPr/>
          <p:nvPr/>
        </p:nvSpPr>
        <p:spPr>
          <a:xfrm>
            <a:off x="5908398" y="2145101"/>
            <a:ext cx="119144" cy="120638"/>
          </a:xfrm>
          <a:prstGeom prst="ellipse">
            <a:avLst/>
          </a:prstGeom>
          <a:solidFill>
            <a:srgbClr val="8064A2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800" b="1" dirty="0">
                <a:solidFill>
                  <a:prstClr val="white"/>
                </a:solidFill>
                <a:latin typeface="Calibri"/>
              </a:rPr>
              <a:t>6</a:t>
            </a:r>
            <a:endParaRPr kumimoji="0" lang="fr-FR" sz="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7F624AB4-7BBE-4761-987D-3E4507659B50}"/>
              </a:ext>
            </a:extLst>
          </p:cNvPr>
          <p:cNvSpPr txBox="1"/>
          <p:nvPr/>
        </p:nvSpPr>
        <p:spPr>
          <a:xfrm>
            <a:off x="5994184" y="2120153"/>
            <a:ext cx="3316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00" b="1" dirty="0">
                <a:solidFill>
                  <a:srgbClr val="8064A2">
                    <a:lumMod val="75000"/>
                  </a:srgbClr>
                </a:solidFill>
                <a:latin typeface="Calibri"/>
              </a:rPr>
              <a:t>bis</a:t>
            </a:r>
            <a:endParaRPr lang="fr-FR" sz="1200" b="1" dirty="0">
              <a:solidFill>
                <a:srgbClr val="8064A2">
                  <a:lumMod val="75000"/>
                </a:srgbClr>
              </a:solidFill>
              <a:latin typeface="Calibri"/>
            </a:endParaRPr>
          </a:p>
        </p:txBody>
      </p:sp>
      <p:sp>
        <p:nvSpPr>
          <p:cNvPr id="199" name="Oval 198">
            <a:extLst>
              <a:ext uri="{FF2B5EF4-FFF2-40B4-BE49-F238E27FC236}">
                <a16:creationId xmlns:a16="http://schemas.microsoft.com/office/drawing/2014/main" id="{C8F0F25C-81BC-47C3-8744-B90AEFEC6D1A}"/>
              </a:ext>
            </a:extLst>
          </p:cNvPr>
          <p:cNvSpPr/>
          <p:nvPr/>
        </p:nvSpPr>
        <p:spPr>
          <a:xfrm>
            <a:off x="1735627" y="5304948"/>
            <a:ext cx="214458" cy="217148"/>
          </a:xfrm>
          <a:prstGeom prst="ellipse">
            <a:avLst/>
          </a:prstGeom>
          <a:solidFill>
            <a:srgbClr val="00B0F0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100" dirty="0">
                <a:solidFill>
                  <a:prstClr val="white"/>
                </a:solidFill>
                <a:latin typeface="Calibri"/>
              </a:rPr>
              <a:t>3</a:t>
            </a:r>
            <a:endParaRPr kumimoji="0" lang="fr-FR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BAED060D-36FB-4F9C-B404-24FED0D650C0}"/>
              </a:ext>
            </a:extLst>
          </p:cNvPr>
          <p:cNvSpPr txBox="1"/>
          <p:nvPr/>
        </p:nvSpPr>
        <p:spPr>
          <a:xfrm>
            <a:off x="4969712" y="3025085"/>
            <a:ext cx="149035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srgbClr val="1737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ase eP</a:t>
            </a:r>
            <a:endParaRPr kumimoji="0" lang="fr-FR" sz="1050" b="1" i="0" u="none" strike="noStrike" kern="1200" cap="none" spc="0" normalizeH="0" baseline="0" noProof="0" dirty="0">
              <a:ln>
                <a:noFill/>
              </a:ln>
              <a:solidFill>
                <a:srgbClr val="17375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01" name="Connector: Elbow 200">
            <a:extLst>
              <a:ext uri="{FF2B5EF4-FFF2-40B4-BE49-F238E27FC236}">
                <a16:creationId xmlns:a16="http://schemas.microsoft.com/office/drawing/2014/main" id="{6FDC4266-8823-4EC7-8DE2-931F92F2FD2B}"/>
              </a:ext>
            </a:extLst>
          </p:cNvPr>
          <p:cNvCxnSpPr>
            <a:cxnSpLocks/>
          </p:cNvCxnSpPr>
          <p:nvPr/>
        </p:nvCxnSpPr>
        <p:spPr>
          <a:xfrm rot="10800000" flipV="1">
            <a:off x="5743186" y="1993747"/>
            <a:ext cx="2028025" cy="892776"/>
          </a:xfrm>
          <a:prstGeom prst="bentConnector3">
            <a:avLst>
              <a:gd name="adj1" fmla="val 99941"/>
            </a:avLst>
          </a:prstGeom>
          <a:noFill/>
          <a:ln w="28575" cap="flat" cmpd="sng" algn="ctr">
            <a:solidFill>
              <a:schemeClr val="accent1"/>
            </a:solidFill>
            <a:prstDash val="solid"/>
            <a:headEnd type="none" w="med" len="med"/>
            <a:tailEnd type="arrow" w="med" len="med"/>
          </a:ln>
          <a:effectLst/>
        </p:spPr>
      </p:cxnSp>
      <p:cxnSp>
        <p:nvCxnSpPr>
          <p:cNvPr id="202" name="Connector: Elbow 201">
            <a:extLst>
              <a:ext uri="{FF2B5EF4-FFF2-40B4-BE49-F238E27FC236}">
                <a16:creationId xmlns:a16="http://schemas.microsoft.com/office/drawing/2014/main" id="{D21D1A9A-A1B0-4235-83FC-88EFE4BD231E}"/>
              </a:ext>
            </a:extLst>
          </p:cNvPr>
          <p:cNvCxnSpPr>
            <a:cxnSpLocks/>
          </p:cNvCxnSpPr>
          <p:nvPr/>
        </p:nvCxnSpPr>
        <p:spPr>
          <a:xfrm flipV="1">
            <a:off x="5872013" y="2118409"/>
            <a:ext cx="1901199" cy="747900"/>
          </a:xfrm>
          <a:prstGeom prst="bentConnector3">
            <a:avLst>
              <a:gd name="adj1" fmla="val 234"/>
            </a:avLst>
          </a:prstGeom>
          <a:noFill/>
          <a:ln w="2857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  <a:headEnd type="none" w="med" len="med"/>
            <a:tailEnd type="arrow" w="med" len="med"/>
          </a:ln>
          <a:effectLst/>
        </p:spPr>
      </p:cxnSp>
      <p:pic>
        <p:nvPicPr>
          <p:cNvPr id="203" name="Picture 202">
            <a:extLst>
              <a:ext uri="{FF2B5EF4-FFF2-40B4-BE49-F238E27FC236}">
                <a16:creationId xmlns:a16="http://schemas.microsoft.com/office/drawing/2014/main" id="{29CE8386-A1CE-476D-9F70-FCFA4D1AFB9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469592" y="3522243"/>
            <a:ext cx="312282" cy="352481"/>
          </a:xfrm>
          <a:prstGeom prst="roundRect">
            <a:avLst/>
          </a:prstGeom>
        </p:spPr>
      </p:pic>
      <p:grpSp>
        <p:nvGrpSpPr>
          <p:cNvPr id="204" name="Group 203">
            <a:extLst>
              <a:ext uri="{FF2B5EF4-FFF2-40B4-BE49-F238E27FC236}">
                <a16:creationId xmlns:a16="http://schemas.microsoft.com/office/drawing/2014/main" id="{A500ABA3-46E4-42D7-B0E3-FAB88412199D}"/>
              </a:ext>
            </a:extLst>
          </p:cNvPr>
          <p:cNvGrpSpPr/>
          <p:nvPr/>
        </p:nvGrpSpPr>
        <p:grpSpPr>
          <a:xfrm>
            <a:off x="1106705" y="1907328"/>
            <a:ext cx="246491" cy="222130"/>
            <a:chOff x="4982406" y="3056764"/>
            <a:chExt cx="367782" cy="331434"/>
          </a:xfrm>
        </p:grpSpPr>
        <p:pic>
          <p:nvPicPr>
            <p:cNvPr id="205" name="Picture 204">
              <a:extLst>
                <a:ext uri="{FF2B5EF4-FFF2-40B4-BE49-F238E27FC236}">
                  <a16:creationId xmlns:a16="http://schemas.microsoft.com/office/drawing/2014/main" id="{096D1FB9-858F-438E-8060-E3C1BAD0956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21641" t="55145"/>
            <a:stretch/>
          </p:blipFill>
          <p:spPr>
            <a:xfrm rot="633782">
              <a:off x="5004176" y="3118707"/>
              <a:ext cx="346012" cy="269491"/>
            </a:xfrm>
            <a:prstGeom prst="rect">
              <a:avLst/>
            </a:prstGeom>
          </p:spPr>
        </p:pic>
        <p:sp>
          <p:nvSpPr>
            <p:cNvPr id="206" name="Rectangle 205">
              <a:extLst>
                <a:ext uri="{FF2B5EF4-FFF2-40B4-BE49-F238E27FC236}">
                  <a16:creationId xmlns:a16="http://schemas.microsoft.com/office/drawing/2014/main" id="{949E5B50-F173-4D91-B5F0-21356E480663}"/>
                </a:ext>
              </a:extLst>
            </p:cNvPr>
            <p:cNvSpPr/>
            <p:nvPr/>
          </p:nvSpPr>
          <p:spPr>
            <a:xfrm>
              <a:off x="4982406" y="3056764"/>
              <a:ext cx="343444" cy="87314"/>
            </a:xfrm>
            <a:prstGeom prst="rect">
              <a:avLst/>
            </a:prstGeom>
            <a:solidFill>
              <a:srgbClr val="E3E8EC"/>
            </a:solidFill>
            <a:ln>
              <a:solidFill>
                <a:srgbClr val="E3E8E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/>
            </a:p>
          </p:txBody>
        </p:sp>
      </p:grpSp>
      <p:cxnSp>
        <p:nvCxnSpPr>
          <p:cNvPr id="207" name="Straight Arrow Connector 206">
            <a:extLst>
              <a:ext uri="{FF2B5EF4-FFF2-40B4-BE49-F238E27FC236}">
                <a16:creationId xmlns:a16="http://schemas.microsoft.com/office/drawing/2014/main" id="{693BAF99-DBFA-429D-AA73-15A624BCD8FA}"/>
              </a:ext>
            </a:extLst>
          </p:cNvPr>
          <p:cNvCxnSpPr>
            <a:cxnSpLocks/>
          </p:cNvCxnSpPr>
          <p:nvPr/>
        </p:nvCxnSpPr>
        <p:spPr>
          <a:xfrm flipH="1">
            <a:off x="6606317" y="3654286"/>
            <a:ext cx="1278169" cy="0"/>
          </a:xfrm>
          <a:prstGeom prst="straightConnector1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headEnd type="none" w="med" len="med"/>
            <a:tailEnd type="arrow" w="med" len="med"/>
          </a:ln>
          <a:effectLst/>
        </p:spPr>
      </p:cxnSp>
      <p:pic>
        <p:nvPicPr>
          <p:cNvPr id="208" name="Picture 207">
            <a:extLst>
              <a:ext uri="{FF2B5EF4-FFF2-40B4-BE49-F238E27FC236}">
                <a16:creationId xmlns:a16="http://schemas.microsoft.com/office/drawing/2014/main" id="{ED489912-0E58-44F9-8A1E-F4CB5015187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59929" y="1929478"/>
            <a:ext cx="312282" cy="352481"/>
          </a:xfrm>
          <a:prstGeom prst="roundRect">
            <a:avLst/>
          </a:prstGeom>
        </p:spPr>
      </p:pic>
      <p:cxnSp>
        <p:nvCxnSpPr>
          <p:cNvPr id="209" name="Connector: Elbow 208">
            <a:extLst>
              <a:ext uri="{FF2B5EF4-FFF2-40B4-BE49-F238E27FC236}">
                <a16:creationId xmlns:a16="http://schemas.microsoft.com/office/drawing/2014/main" id="{8A1DA9B4-062E-4F92-A337-346604E449CD}"/>
              </a:ext>
            </a:extLst>
          </p:cNvPr>
          <p:cNvCxnSpPr>
            <a:cxnSpLocks/>
          </p:cNvCxnSpPr>
          <p:nvPr/>
        </p:nvCxnSpPr>
        <p:spPr>
          <a:xfrm rot="16200000" flipH="1">
            <a:off x="4618169" y="2059317"/>
            <a:ext cx="880787" cy="765964"/>
          </a:xfrm>
          <a:prstGeom prst="bentConnector3">
            <a:avLst>
              <a:gd name="adj1" fmla="val 1066"/>
            </a:avLst>
          </a:prstGeom>
          <a:noFill/>
          <a:ln w="28575" cap="flat" cmpd="sng" algn="ctr">
            <a:solidFill>
              <a:srgbClr val="385D8A"/>
            </a:solidFill>
            <a:prstDash val="solid"/>
            <a:headEnd type="none" w="med" len="med"/>
            <a:tailEnd type="arrow" w="med" len="med"/>
          </a:ln>
          <a:effectLst/>
        </p:spPr>
      </p:cxnSp>
      <p:cxnSp>
        <p:nvCxnSpPr>
          <p:cNvPr id="210" name="Connector: Elbow 209">
            <a:extLst>
              <a:ext uri="{FF2B5EF4-FFF2-40B4-BE49-F238E27FC236}">
                <a16:creationId xmlns:a16="http://schemas.microsoft.com/office/drawing/2014/main" id="{5D99EB55-7F38-4E01-BCAD-5D5C2A64C193}"/>
              </a:ext>
            </a:extLst>
          </p:cNvPr>
          <p:cNvCxnSpPr>
            <a:cxnSpLocks/>
          </p:cNvCxnSpPr>
          <p:nvPr/>
        </p:nvCxnSpPr>
        <p:spPr>
          <a:xfrm rot="16200000" flipV="1">
            <a:off x="4605025" y="2175230"/>
            <a:ext cx="764582" cy="638647"/>
          </a:xfrm>
          <a:prstGeom prst="bentConnector3">
            <a:avLst>
              <a:gd name="adj1" fmla="val 99910"/>
            </a:avLst>
          </a:prstGeom>
          <a:noFill/>
          <a:ln w="2857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  <a:headEnd type="none" w="med" len="med"/>
            <a:tailEnd type="arrow" w="med" len="med"/>
          </a:ln>
          <a:effectLst/>
        </p:spPr>
      </p:cxnSp>
      <p:pic>
        <p:nvPicPr>
          <p:cNvPr id="211" name="Graphic 210" descr="Open envelope">
            <a:extLst>
              <a:ext uri="{FF2B5EF4-FFF2-40B4-BE49-F238E27FC236}">
                <a16:creationId xmlns:a16="http://schemas.microsoft.com/office/drawing/2014/main" id="{F10F7A63-9382-4ACB-975F-0FE161F051D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908056" y="2289216"/>
            <a:ext cx="135507" cy="137206"/>
          </a:xfrm>
          <a:prstGeom prst="rect">
            <a:avLst/>
          </a:prstGeom>
        </p:spPr>
      </p:pic>
      <p:grpSp>
        <p:nvGrpSpPr>
          <p:cNvPr id="212" name="Group 211">
            <a:extLst>
              <a:ext uri="{FF2B5EF4-FFF2-40B4-BE49-F238E27FC236}">
                <a16:creationId xmlns:a16="http://schemas.microsoft.com/office/drawing/2014/main" id="{79535CFB-7B84-4213-9C83-E4A0A22C68EE}"/>
              </a:ext>
            </a:extLst>
          </p:cNvPr>
          <p:cNvGrpSpPr/>
          <p:nvPr/>
        </p:nvGrpSpPr>
        <p:grpSpPr>
          <a:xfrm>
            <a:off x="4903908" y="1048653"/>
            <a:ext cx="246491" cy="222130"/>
            <a:chOff x="4982406" y="3056764"/>
            <a:chExt cx="367782" cy="331434"/>
          </a:xfrm>
        </p:grpSpPr>
        <p:pic>
          <p:nvPicPr>
            <p:cNvPr id="213" name="Picture 212">
              <a:extLst>
                <a:ext uri="{FF2B5EF4-FFF2-40B4-BE49-F238E27FC236}">
                  <a16:creationId xmlns:a16="http://schemas.microsoft.com/office/drawing/2014/main" id="{E2004CA6-A19A-4362-8C64-AF3E0CC5F2A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21641" t="55145"/>
            <a:stretch/>
          </p:blipFill>
          <p:spPr>
            <a:xfrm rot="633782">
              <a:off x="5004176" y="3118707"/>
              <a:ext cx="346012" cy="269491"/>
            </a:xfrm>
            <a:prstGeom prst="rect">
              <a:avLst/>
            </a:prstGeom>
          </p:spPr>
        </p:pic>
        <p:sp>
          <p:nvSpPr>
            <p:cNvPr id="214" name="Rectangle 213">
              <a:extLst>
                <a:ext uri="{FF2B5EF4-FFF2-40B4-BE49-F238E27FC236}">
                  <a16:creationId xmlns:a16="http://schemas.microsoft.com/office/drawing/2014/main" id="{DCE133D8-4AF8-4300-87CD-1828E145CDA7}"/>
                </a:ext>
              </a:extLst>
            </p:cNvPr>
            <p:cNvSpPr/>
            <p:nvPr/>
          </p:nvSpPr>
          <p:spPr>
            <a:xfrm>
              <a:off x="4982406" y="3056764"/>
              <a:ext cx="343444" cy="87314"/>
            </a:xfrm>
            <a:prstGeom prst="rect">
              <a:avLst/>
            </a:prstGeom>
            <a:solidFill>
              <a:srgbClr val="E3E8EC"/>
            </a:solidFill>
            <a:ln>
              <a:solidFill>
                <a:srgbClr val="E3E8E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/>
            </a:p>
          </p:txBody>
        </p:sp>
      </p:grpSp>
      <p:pic>
        <p:nvPicPr>
          <p:cNvPr id="215" name="Picture 214">
            <a:extLst>
              <a:ext uri="{FF2B5EF4-FFF2-40B4-BE49-F238E27FC236}">
                <a16:creationId xmlns:a16="http://schemas.microsoft.com/office/drawing/2014/main" id="{D90C3B84-DD07-459C-80C8-F5250830893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216629" y="1098420"/>
            <a:ext cx="312282" cy="352481"/>
          </a:xfrm>
          <a:prstGeom prst="roundRect">
            <a:avLst/>
          </a:prstGeom>
        </p:spPr>
      </p:pic>
      <p:sp>
        <p:nvSpPr>
          <p:cNvPr id="216" name="Oval 215">
            <a:extLst>
              <a:ext uri="{FF2B5EF4-FFF2-40B4-BE49-F238E27FC236}">
                <a16:creationId xmlns:a16="http://schemas.microsoft.com/office/drawing/2014/main" id="{99F780F1-141D-46E6-ADEB-B2075AEA4DF4}"/>
              </a:ext>
            </a:extLst>
          </p:cNvPr>
          <p:cNvSpPr/>
          <p:nvPr/>
        </p:nvSpPr>
        <p:spPr>
          <a:xfrm>
            <a:off x="5511395" y="1087233"/>
            <a:ext cx="214458" cy="217148"/>
          </a:xfrm>
          <a:prstGeom prst="ellipse">
            <a:avLst/>
          </a:prstGeom>
          <a:solidFill>
            <a:srgbClr val="00B0F0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100" dirty="0">
                <a:solidFill>
                  <a:prstClr val="white"/>
                </a:solidFill>
                <a:latin typeface="Calibri"/>
              </a:rPr>
              <a:t>7</a:t>
            </a:r>
            <a:endParaRPr kumimoji="0" lang="fr-FR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</p:txBody>
      </p:sp>
      <p:cxnSp>
        <p:nvCxnSpPr>
          <p:cNvPr id="217" name="Straight Arrow Connector 216">
            <a:extLst>
              <a:ext uri="{FF2B5EF4-FFF2-40B4-BE49-F238E27FC236}">
                <a16:creationId xmlns:a16="http://schemas.microsoft.com/office/drawing/2014/main" id="{43122BD2-666E-497D-A174-A65565B60FA0}"/>
              </a:ext>
            </a:extLst>
          </p:cNvPr>
          <p:cNvCxnSpPr>
            <a:cxnSpLocks/>
          </p:cNvCxnSpPr>
          <p:nvPr/>
        </p:nvCxnSpPr>
        <p:spPr>
          <a:xfrm flipH="1">
            <a:off x="5592365" y="1501277"/>
            <a:ext cx="0" cy="1385247"/>
          </a:xfrm>
          <a:prstGeom prst="straightConnector1">
            <a:avLst/>
          </a:prstGeom>
          <a:noFill/>
          <a:ln w="28575" cap="flat" cmpd="sng" algn="ctr">
            <a:solidFill>
              <a:srgbClr val="385D8A"/>
            </a:solidFill>
            <a:prstDash val="solid"/>
            <a:headEnd type="none" w="med" len="med"/>
            <a:tailEnd type="arrow" w="med" len="med"/>
          </a:ln>
          <a:effectLst/>
        </p:spPr>
      </p:cxnSp>
      <p:pic>
        <p:nvPicPr>
          <p:cNvPr id="218" name="Picture 2" descr="Logo de Mon espace santé">
            <a:extLst>
              <a:ext uri="{FF2B5EF4-FFF2-40B4-BE49-F238E27FC236}">
                <a16:creationId xmlns:a16="http://schemas.microsoft.com/office/drawing/2014/main" id="{EE0360B2-F4C3-4199-9D94-C89931058B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9979" y="5018584"/>
            <a:ext cx="424244" cy="2863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9" name="Picture 218">
            <a:extLst>
              <a:ext uri="{FF2B5EF4-FFF2-40B4-BE49-F238E27FC236}">
                <a16:creationId xmlns:a16="http://schemas.microsoft.com/office/drawing/2014/main" id="{279334C7-1706-47FA-BE82-3CB71973AC6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flipH="1">
            <a:off x="1948207" y="1882469"/>
            <a:ext cx="213109" cy="334617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220" name="Picture 219">
            <a:extLst>
              <a:ext uri="{FF2B5EF4-FFF2-40B4-BE49-F238E27FC236}">
                <a16:creationId xmlns:a16="http://schemas.microsoft.com/office/drawing/2014/main" id="{DC159283-F6CC-4074-9CDD-BA888CEE79A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flipH="1">
            <a:off x="1948207" y="3472172"/>
            <a:ext cx="213109" cy="334617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221" name="Picture 220">
            <a:extLst>
              <a:ext uri="{FF2B5EF4-FFF2-40B4-BE49-F238E27FC236}">
                <a16:creationId xmlns:a16="http://schemas.microsoft.com/office/drawing/2014/main" id="{74A4F1EB-50BE-48C3-B8B6-F8711839F04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946522" y="5272119"/>
            <a:ext cx="218580" cy="322359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222" name="Picture 221">
            <a:extLst>
              <a:ext uri="{FF2B5EF4-FFF2-40B4-BE49-F238E27FC236}">
                <a16:creationId xmlns:a16="http://schemas.microsoft.com/office/drawing/2014/main" id="{9F0C4871-049B-4491-9C43-F247DFBEA45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080196" y="1730820"/>
            <a:ext cx="231333" cy="474237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223" name="Picture 222">
            <a:extLst>
              <a:ext uri="{FF2B5EF4-FFF2-40B4-BE49-F238E27FC236}">
                <a16:creationId xmlns:a16="http://schemas.microsoft.com/office/drawing/2014/main" id="{CD864D0E-A73B-4699-88A8-968CC76C641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080196" y="3489816"/>
            <a:ext cx="231333" cy="331049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224" name="Picture 223">
            <a:extLst>
              <a:ext uri="{FF2B5EF4-FFF2-40B4-BE49-F238E27FC236}">
                <a16:creationId xmlns:a16="http://schemas.microsoft.com/office/drawing/2014/main" id="{E9B08099-78AD-492C-B760-4726B20C0F90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080196" y="5232565"/>
            <a:ext cx="231333" cy="331049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225" name="Picture 224">
            <a:extLst>
              <a:ext uri="{FF2B5EF4-FFF2-40B4-BE49-F238E27FC236}">
                <a16:creationId xmlns:a16="http://schemas.microsoft.com/office/drawing/2014/main" id="{407F8A4B-4A16-4536-998F-B178746D220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02572" y="5225266"/>
            <a:ext cx="298694" cy="345645"/>
          </a:xfrm>
          <a:prstGeom prst="roundRect">
            <a:avLst/>
          </a:prstGeom>
        </p:spPr>
      </p:pic>
      <p:pic>
        <p:nvPicPr>
          <p:cNvPr id="226" name="Picture 225">
            <a:extLst>
              <a:ext uri="{FF2B5EF4-FFF2-40B4-BE49-F238E27FC236}">
                <a16:creationId xmlns:a16="http://schemas.microsoft.com/office/drawing/2014/main" id="{58931CE5-14D3-4146-AF6A-476918C93C3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flipH="1">
            <a:off x="5725502" y="1045619"/>
            <a:ext cx="213109" cy="334617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227" name="Oval 226">
            <a:extLst>
              <a:ext uri="{FF2B5EF4-FFF2-40B4-BE49-F238E27FC236}">
                <a16:creationId xmlns:a16="http://schemas.microsoft.com/office/drawing/2014/main" id="{759577AC-DD9A-457E-B078-14EB8C49BFD1}"/>
              </a:ext>
            </a:extLst>
          </p:cNvPr>
          <p:cNvSpPr/>
          <p:nvPr/>
        </p:nvSpPr>
        <p:spPr>
          <a:xfrm>
            <a:off x="2204130" y="4016634"/>
            <a:ext cx="2445063" cy="530137"/>
          </a:xfrm>
          <a:prstGeom prst="ellipse">
            <a:avLst/>
          </a:prstGeom>
          <a:solidFill>
            <a:srgbClr val="CFDDED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228" name="Rounded Rectangle 121">
            <a:extLst>
              <a:ext uri="{FF2B5EF4-FFF2-40B4-BE49-F238E27FC236}">
                <a16:creationId xmlns:a16="http://schemas.microsoft.com/office/drawing/2014/main" id="{F61E8E99-AC77-46D0-A9B2-3A067EC87A30}"/>
              </a:ext>
            </a:extLst>
          </p:cNvPr>
          <p:cNvSpPr/>
          <p:nvPr/>
        </p:nvSpPr>
        <p:spPr>
          <a:xfrm>
            <a:off x="2244520" y="4091000"/>
            <a:ext cx="2346096" cy="392185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met l’ordonnance </a:t>
            </a:r>
            <a:b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pier au patient</a:t>
            </a:r>
          </a:p>
        </p:txBody>
      </p:sp>
      <p:cxnSp>
        <p:nvCxnSpPr>
          <p:cNvPr id="229" name="Straight Arrow Connector 228">
            <a:extLst>
              <a:ext uri="{FF2B5EF4-FFF2-40B4-BE49-F238E27FC236}">
                <a16:creationId xmlns:a16="http://schemas.microsoft.com/office/drawing/2014/main" id="{8F5000B7-838C-4D4E-9F14-381DDBDACAB8}"/>
              </a:ext>
            </a:extLst>
          </p:cNvPr>
          <p:cNvCxnSpPr>
            <a:cxnSpLocks/>
            <a:endCxn id="218" idx="0"/>
          </p:cNvCxnSpPr>
          <p:nvPr/>
        </p:nvCxnSpPr>
        <p:spPr>
          <a:xfrm>
            <a:off x="2332101" y="4096448"/>
            <a:ext cx="0" cy="922136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0" name="Rounded Rectangle 106">
            <a:extLst>
              <a:ext uri="{FF2B5EF4-FFF2-40B4-BE49-F238E27FC236}">
                <a16:creationId xmlns:a16="http://schemas.microsoft.com/office/drawing/2014/main" id="{5A7711F9-8523-45F6-B014-E84D0EBCD65A}"/>
              </a:ext>
            </a:extLst>
          </p:cNvPr>
          <p:cNvSpPr/>
          <p:nvPr/>
        </p:nvSpPr>
        <p:spPr>
          <a:xfrm>
            <a:off x="5730844" y="1113583"/>
            <a:ext cx="1795551" cy="149534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31" name="Group 230">
            <a:extLst>
              <a:ext uri="{FF2B5EF4-FFF2-40B4-BE49-F238E27FC236}">
                <a16:creationId xmlns:a16="http://schemas.microsoft.com/office/drawing/2014/main" id="{735BAF19-C111-4313-AFCE-A82B721B5F32}"/>
              </a:ext>
            </a:extLst>
          </p:cNvPr>
          <p:cNvGrpSpPr/>
          <p:nvPr/>
        </p:nvGrpSpPr>
        <p:grpSpPr>
          <a:xfrm>
            <a:off x="5815972" y="617603"/>
            <a:ext cx="2599426" cy="776436"/>
            <a:chOff x="8739704" y="743258"/>
            <a:chExt cx="2599426" cy="530137"/>
          </a:xfrm>
        </p:grpSpPr>
        <p:sp>
          <p:nvSpPr>
            <p:cNvPr id="232" name="Oval 231">
              <a:extLst>
                <a:ext uri="{FF2B5EF4-FFF2-40B4-BE49-F238E27FC236}">
                  <a16:creationId xmlns:a16="http://schemas.microsoft.com/office/drawing/2014/main" id="{83B1BF06-B818-4AF2-9982-B66B52915FE0}"/>
                </a:ext>
              </a:extLst>
            </p:cNvPr>
            <p:cNvSpPr/>
            <p:nvPr/>
          </p:nvSpPr>
          <p:spPr>
            <a:xfrm>
              <a:off x="8803525" y="743258"/>
              <a:ext cx="2445063" cy="530137"/>
            </a:xfrm>
            <a:prstGeom prst="ellipse">
              <a:avLst/>
            </a:prstGeom>
            <a:solidFill>
              <a:srgbClr val="CFDDED"/>
            </a:solidFill>
            <a:ln>
              <a:noFill/>
            </a:ln>
            <a:effectLst>
              <a:softEdge rad="63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/>
            </a:p>
          </p:txBody>
        </p:sp>
        <p:sp>
          <p:nvSpPr>
            <p:cNvPr id="233" name="Rounded Rectangle 106">
              <a:extLst>
                <a:ext uri="{FF2B5EF4-FFF2-40B4-BE49-F238E27FC236}">
                  <a16:creationId xmlns:a16="http://schemas.microsoft.com/office/drawing/2014/main" id="{4DB10EC0-3456-4678-BE6E-5922E34A5F72}"/>
                </a:ext>
              </a:extLst>
            </p:cNvPr>
            <p:cNvSpPr/>
            <p:nvPr/>
          </p:nvSpPr>
          <p:spPr>
            <a:xfrm>
              <a:off x="8739704" y="943067"/>
              <a:ext cx="2599426" cy="149534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Consultation des données d’exécution par le Prescripteur a posteriori</a:t>
              </a:r>
            </a:p>
          </p:txBody>
        </p:sp>
      </p:grpSp>
      <p:sp>
        <p:nvSpPr>
          <p:cNvPr id="234" name="Oval 233">
            <a:extLst>
              <a:ext uri="{FF2B5EF4-FFF2-40B4-BE49-F238E27FC236}">
                <a16:creationId xmlns:a16="http://schemas.microsoft.com/office/drawing/2014/main" id="{1CA5D0FE-51FF-4C10-8C9D-EEE4C4B47F74}"/>
              </a:ext>
            </a:extLst>
          </p:cNvPr>
          <p:cNvSpPr/>
          <p:nvPr/>
        </p:nvSpPr>
        <p:spPr>
          <a:xfrm>
            <a:off x="9351208" y="3155890"/>
            <a:ext cx="2444116" cy="934308"/>
          </a:xfrm>
          <a:prstGeom prst="ellipse">
            <a:avLst/>
          </a:prstGeom>
          <a:solidFill>
            <a:srgbClr val="E4EDD3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235" name="Rounded Rectangle 125">
            <a:extLst>
              <a:ext uri="{FF2B5EF4-FFF2-40B4-BE49-F238E27FC236}">
                <a16:creationId xmlns:a16="http://schemas.microsoft.com/office/drawing/2014/main" id="{894EE010-8477-44AC-8DAE-D1E92B2037F4}"/>
              </a:ext>
            </a:extLst>
          </p:cNvPr>
          <p:cNvSpPr/>
          <p:nvPr/>
        </p:nvSpPr>
        <p:spPr>
          <a:xfrm>
            <a:off x="9269366" y="3489816"/>
            <a:ext cx="2607801" cy="361913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rroge la base avec </a:t>
            </a:r>
            <a:r>
              <a:rPr lang="fr-FR" sz="1100" b="1" dirty="0">
                <a:solidFill>
                  <a:prstClr val="black"/>
                </a:solidFill>
                <a:latin typeface="Calibri"/>
              </a:rPr>
              <a:t> </a:t>
            </a:r>
            <a: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’ID unique de</a:t>
            </a:r>
            <a:r>
              <a:rPr kumimoji="0" lang="fr-FR" sz="11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escription et consulte l’ordonnance numérique</a:t>
            </a:r>
          </a:p>
        </p:txBody>
      </p: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7B88ADA1-5CBB-4AB0-BDB6-08FEE89FD6D2}"/>
              </a:ext>
            </a:extLst>
          </p:cNvPr>
          <p:cNvGrpSpPr/>
          <p:nvPr/>
        </p:nvGrpSpPr>
        <p:grpSpPr>
          <a:xfrm>
            <a:off x="9269366" y="5138333"/>
            <a:ext cx="2607801" cy="530805"/>
            <a:chOff x="9337853" y="4333053"/>
            <a:chExt cx="2607801" cy="530805"/>
          </a:xfrm>
        </p:grpSpPr>
        <p:sp>
          <p:nvSpPr>
            <p:cNvPr id="237" name="Oval 236">
              <a:extLst>
                <a:ext uri="{FF2B5EF4-FFF2-40B4-BE49-F238E27FC236}">
                  <a16:creationId xmlns:a16="http://schemas.microsoft.com/office/drawing/2014/main" id="{A14EF4BE-A329-4FAA-8D09-EBB9E0596665}"/>
                </a:ext>
              </a:extLst>
            </p:cNvPr>
            <p:cNvSpPr/>
            <p:nvPr/>
          </p:nvSpPr>
          <p:spPr>
            <a:xfrm>
              <a:off x="9419695" y="4333053"/>
              <a:ext cx="2444116" cy="530805"/>
            </a:xfrm>
            <a:prstGeom prst="ellipse">
              <a:avLst/>
            </a:prstGeom>
            <a:solidFill>
              <a:srgbClr val="E4EDD3"/>
            </a:solidFill>
            <a:ln>
              <a:noFill/>
            </a:ln>
            <a:effectLst>
              <a:softEdge rad="63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/>
            </a:p>
          </p:txBody>
        </p:sp>
        <p:sp>
          <p:nvSpPr>
            <p:cNvPr id="238" name="Rounded Rectangle 125">
              <a:extLst>
                <a:ext uri="{FF2B5EF4-FFF2-40B4-BE49-F238E27FC236}">
                  <a16:creationId xmlns:a16="http://schemas.microsoft.com/office/drawing/2014/main" id="{3CA580AE-15B1-444E-93F6-F51084A56688}"/>
                </a:ext>
              </a:extLst>
            </p:cNvPr>
            <p:cNvSpPr/>
            <p:nvPr/>
          </p:nvSpPr>
          <p:spPr>
            <a:xfrm>
              <a:off x="9337853" y="4416925"/>
              <a:ext cx="2607801" cy="361913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canne le QR Code</a:t>
              </a:r>
              <a:br>
                <a:rPr kumimoji="0" lang="fr-FR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fr-FR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t lit les données contenues</a:t>
              </a:r>
            </a:p>
          </p:txBody>
        </p:sp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1F785453-20F4-40BE-A24A-E2B2D30180A3}"/>
              </a:ext>
            </a:extLst>
          </p:cNvPr>
          <p:cNvGrpSpPr/>
          <p:nvPr/>
        </p:nvGrpSpPr>
        <p:grpSpPr>
          <a:xfrm>
            <a:off x="7925969" y="1942169"/>
            <a:ext cx="855905" cy="352481"/>
            <a:chOff x="7994456" y="1751375"/>
            <a:chExt cx="855905" cy="352481"/>
          </a:xfrm>
        </p:grpSpPr>
        <p:pic>
          <p:nvPicPr>
            <p:cNvPr id="240" name="Picture 239">
              <a:extLst>
                <a:ext uri="{FF2B5EF4-FFF2-40B4-BE49-F238E27FC236}">
                  <a16:creationId xmlns:a16="http://schemas.microsoft.com/office/drawing/2014/main" id="{36D5B85F-3160-4101-B663-E094964721B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80594" y="1801005"/>
              <a:ext cx="211873" cy="141760"/>
            </a:xfrm>
            <a:prstGeom prst="rect">
              <a:avLst/>
            </a:prstGeom>
            <a:noFill/>
            <a:ln w="9525">
              <a:solidFill>
                <a:srgbClr val="D8D8D8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1" name="Picture 240">
              <a:extLst>
                <a:ext uri="{FF2B5EF4-FFF2-40B4-BE49-F238E27FC236}">
                  <a16:creationId xmlns:a16="http://schemas.microsoft.com/office/drawing/2014/main" id="{BDF5F2A7-9CFD-4F2D-9C33-685E088B4CF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lum bright="4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94456" y="1811110"/>
              <a:ext cx="211873" cy="134199"/>
            </a:xfrm>
            <a:prstGeom prst="rect">
              <a:avLst/>
            </a:prstGeom>
            <a:noFill/>
            <a:ln w="9525">
              <a:solidFill>
                <a:srgbClr val="D8D8D8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2" name="Picture 241">
              <a:extLst>
                <a:ext uri="{FF2B5EF4-FFF2-40B4-BE49-F238E27FC236}">
                  <a16:creationId xmlns:a16="http://schemas.microsoft.com/office/drawing/2014/main" id="{BA12E86A-9292-44FC-BF73-A5580B4FF39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538079" y="1751375"/>
              <a:ext cx="312282" cy="352481"/>
            </a:xfrm>
            <a:prstGeom prst="flowChartAlternateProcess">
              <a:avLst/>
            </a:prstGeom>
          </p:spPr>
        </p:pic>
      </p:grpSp>
      <p:grpSp>
        <p:nvGrpSpPr>
          <p:cNvPr id="243" name="Group 242">
            <a:extLst>
              <a:ext uri="{FF2B5EF4-FFF2-40B4-BE49-F238E27FC236}">
                <a16:creationId xmlns:a16="http://schemas.microsoft.com/office/drawing/2014/main" id="{6A720DF3-0CEC-46C0-8481-1ADE08C17809}"/>
              </a:ext>
            </a:extLst>
          </p:cNvPr>
          <p:cNvGrpSpPr/>
          <p:nvPr/>
        </p:nvGrpSpPr>
        <p:grpSpPr>
          <a:xfrm>
            <a:off x="11065993" y="21925"/>
            <a:ext cx="1129623" cy="768686"/>
            <a:chOff x="4726305" y="6118325"/>
            <a:chExt cx="1129623" cy="768686"/>
          </a:xfrm>
        </p:grpSpPr>
        <p:pic>
          <p:nvPicPr>
            <p:cNvPr id="244" name="Picture 243">
              <a:extLst>
                <a:ext uri="{FF2B5EF4-FFF2-40B4-BE49-F238E27FC236}">
                  <a16:creationId xmlns:a16="http://schemas.microsoft.com/office/drawing/2014/main" id="{B27FFBC8-F33D-48D9-A36C-F4638CA84FD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4726305" y="6233020"/>
              <a:ext cx="326137" cy="480983"/>
            </a:xfrm>
            <a:prstGeom prst="flowChartConnector">
              <a:avLst/>
            </a:prstGeom>
            <a:solidFill>
              <a:schemeClr val="bg1"/>
            </a:solidFill>
            <a:ln>
              <a:noFill/>
              <a:prstDash val="sysDash"/>
            </a:ln>
          </p:spPr>
        </p:pic>
        <p:sp>
          <p:nvSpPr>
            <p:cNvPr id="245" name="Oval 244">
              <a:extLst>
                <a:ext uri="{FF2B5EF4-FFF2-40B4-BE49-F238E27FC236}">
                  <a16:creationId xmlns:a16="http://schemas.microsoft.com/office/drawing/2014/main" id="{A6B41D92-8010-4A36-85E1-D266BD6BFA2A}"/>
                </a:ext>
              </a:extLst>
            </p:cNvPr>
            <p:cNvSpPr/>
            <p:nvPr/>
          </p:nvSpPr>
          <p:spPr>
            <a:xfrm>
              <a:off x="5034902" y="6274780"/>
              <a:ext cx="765970" cy="455777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>
              <a:softEdge rad="63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46" name="Rounded Rectangle 126">
              <a:extLst>
                <a:ext uri="{FF2B5EF4-FFF2-40B4-BE49-F238E27FC236}">
                  <a16:creationId xmlns:a16="http://schemas.microsoft.com/office/drawing/2014/main" id="{F3C49F4E-4491-4B05-998B-956D05619E0E}"/>
                </a:ext>
              </a:extLst>
            </p:cNvPr>
            <p:cNvSpPr/>
            <p:nvPr/>
          </p:nvSpPr>
          <p:spPr>
            <a:xfrm>
              <a:off x="5089958" y="6118325"/>
              <a:ext cx="765970" cy="768686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atient</a:t>
              </a:r>
            </a:p>
          </p:txBody>
        </p:sp>
      </p:grpSp>
      <p:pic>
        <p:nvPicPr>
          <p:cNvPr id="247" name="Picture 246">
            <a:extLst>
              <a:ext uri="{FF2B5EF4-FFF2-40B4-BE49-F238E27FC236}">
                <a16:creationId xmlns:a16="http://schemas.microsoft.com/office/drawing/2014/main" id="{6BC54489-475A-4352-B6C8-698E33F35E0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flipH="1">
            <a:off x="8092594" y="87865"/>
            <a:ext cx="317974" cy="499273"/>
          </a:xfrm>
          <a:prstGeom prst="ellipse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48" name="Oval 247">
            <a:extLst>
              <a:ext uri="{FF2B5EF4-FFF2-40B4-BE49-F238E27FC236}">
                <a16:creationId xmlns:a16="http://schemas.microsoft.com/office/drawing/2014/main" id="{7D2A314D-BDB6-4F0B-B4F5-F251646B4263}"/>
              </a:ext>
            </a:extLst>
          </p:cNvPr>
          <p:cNvSpPr/>
          <p:nvPr/>
        </p:nvSpPr>
        <p:spPr>
          <a:xfrm>
            <a:off x="8433274" y="165213"/>
            <a:ext cx="1150289" cy="455777"/>
          </a:xfrm>
          <a:prstGeom prst="ellipse">
            <a:avLst/>
          </a:prstGeom>
          <a:solidFill>
            <a:srgbClr val="CFDDED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9" name="Rounded Rectangle 106">
            <a:extLst>
              <a:ext uri="{FF2B5EF4-FFF2-40B4-BE49-F238E27FC236}">
                <a16:creationId xmlns:a16="http://schemas.microsoft.com/office/drawing/2014/main" id="{9AF6886B-425F-4D07-916E-61B8A2CDC3BF}"/>
              </a:ext>
            </a:extLst>
          </p:cNvPr>
          <p:cNvSpPr/>
          <p:nvPr/>
        </p:nvSpPr>
        <p:spPr>
          <a:xfrm>
            <a:off x="8600117" y="257527"/>
            <a:ext cx="925662" cy="232079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escripteur</a:t>
            </a:r>
          </a:p>
        </p:txBody>
      </p:sp>
      <p:cxnSp>
        <p:nvCxnSpPr>
          <p:cNvPr id="250" name="Straight Arrow Connector 249">
            <a:extLst>
              <a:ext uri="{FF2B5EF4-FFF2-40B4-BE49-F238E27FC236}">
                <a16:creationId xmlns:a16="http://schemas.microsoft.com/office/drawing/2014/main" id="{59558902-279D-41CB-A216-64CC1BA77AE7}"/>
              </a:ext>
            </a:extLst>
          </p:cNvPr>
          <p:cNvCxnSpPr>
            <a:cxnSpLocks/>
          </p:cNvCxnSpPr>
          <p:nvPr/>
        </p:nvCxnSpPr>
        <p:spPr>
          <a:xfrm flipH="1">
            <a:off x="6598192" y="360314"/>
            <a:ext cx="1268429" cy="1758"/>
          </a:xfrm>
          <a:prstGeom prst="straightConnector1">
            <a:avLst/>
          </a:prstGeom>
          <a:noFill/>
          <a:ln w="28575" cap="flat" cmpd="sng" algn="ctr">
            <a:solidFill>
              <a:srgbClr val="385D8A"/>
            </a:solidFill>
            <a:prstDash val="solid"/>
            <a:headEnd type="none" w="med" len="med"/>
            <a:tailEnd type="arrow" w="med" len="med"/>
          </a:ln>
          <a:effectLst/>
        </p:spPr>
      </p:cxnSp>
      <p:sp>
        <p:nvSpPr>
          <p:cNvPr id="251" name="TextBox 250">
            <a:extLst>
              <a:ext uri="{FF2B5EF4-FFF2-40B4-BE49-F238E27FC236}">
                <a16:creationId xmlns:a16="http://schemas.microsoft.com/office/drawing/2014/main" id="{363C7B5B-CB4E-4017-B4F4-2E28130908CB}"/>
              </a:ext>
            </a:extLst>
          </p:cNvPr>
          <p:cNvSpPr txBox="1"/>
          <p:nvPr/>
        </p:nvSpPr>
        <p:spPr>
          <a:xfrm>
            <a:off x="6743302" y="180272"/>
            <a:ext cx="1157689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00" b="1" dirty="0">
                <a:solidFill>
                  <a:srgbClr val="2B38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el service prescripteur</a:t>
            </a:r>
          </a:p>
        </p:txBody>
      </p:sp>
      <p:sp>
        <p:nvSpPr>
          <p:cNvPr id="252" name="Rounded Rectangle 106">
            <a:extLst>
              <a:ext uri="{FF2B5EF4-FFF2-40B4-BE49-F238E27FC236}">
                <a16:creationId xmlns:a16="http://schemas.microsoft.com/office/drawing/2014/main" id="{863B523A-5AC4-4470-ACE8-25BB751DDA35}"/>
              </a:ext>
            </a:extLst>
          </p:cNvPr>
          <p:cNvSpPr/>
          <p:nvPr/>
        </p:nvSpPr>
        <p:spPr>
          <a:xfrm>
            <a:off x="6729181" y="-17729"/>
            <a:ext cx="1649220" cy="216000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1" i="0" u="none" strike="noStrike" kern="1200" cap="none" spc="0" normalizeH="0" baseline="0" noProof="0" dirty="0">
                <a:ln>
                  <a:noFill/>
                </a:ln>
                <a:solidFill>
                  <a:srgbClr val="8064A2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ccusé de réception</a:t>
            </a:r>
          </a:p>
        </p:txBody>
      </p:sp>
      <p:cxnSp>
        <p:nvCxnSpPr>
          <p:cNvPr id="253" name="Straight Arrow Connector 252">
            <a:extLst>
              <a:ext uri="{FF2B5EF4-FFF2-40B4-BE49-F238E27FC236}">
                <a16:creationId xmlns:a16="http://schemas.microsoft.com/office/drawing/2014/main" id="{BC9D003C-2B79-4407-91D4-508274C8E2D2}"/>
              </a:ext>
            </a:extLst>
          </p:cNvPr>
          <p:cNvCxnSpPr>
            <a:cxnSpLocks/>
          </p:cNvCxnSpPr>
          <p:nvPr/>
        </p:nvCxnSpPr>
        <p:spPr>
          <a:xfrm flipH="1">
            <a:off x="6590307" y="168682"/>
            <a:ext cx="1276314" cy="0"/>
          </a:xfrm>
          <a:prstGeom prst="straightConnector1">
            <a:avLst/>
          </a:prstGeom>
          <a:noFill/>
          <a:ln w="2857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  <a:headEnd type="none" w="med" len="med"/>
            <a:tailEnd type="arrow" w="med" len="med"/>
          </a:ln>
          <a:effectLst/>
        </p:spPr>
      </p:cxnSp>
      <p:grpSp>
        <p:nvGrpSpPr>
          <p:cNvPr id="254" name="Group 253">
            <a:extLst>
              <a:ext uri="{FF2B5EF4-FFF2-40B4-BE49-F238E27FC236}">
                <a16:creationId xmlns:a16="http://schemas.microsoft.com/office/drawing/2014/main" id="{F4EC25A3-07B0-456B-A3C3-01BDFD903449}"/>
              </a:ext>
            </a:extLst>
          </p:cNvPr>
          <p:cNvGrpSpPr/>
          <p:nvPr/>
        </p:nvGrpSpPr>
        <p:grpSpPr>
          <a:xfrm>
            <a:off x="6589932" y="98619"/>
            <a:ext cx="4429083" cy="537865"/>
            <a:chOff x="139031" y="6195019"/>
            <a:chExt cx="4429083" cy="537865"/>
          </a:xfrm>
        </p:grpSpPr>
        <p:grpSp>
          <p:nvGrpSpPr>
            <p:cNvPr id="255" name="Group 254">
              <a:extLst>
                <a:ext uri="{FF2B5EF4-FFF2-40B4-BE49-F238E27FC236}">
                  <a16:creationId xmlns:a16="http://schemas.microsoft.com/office/drawing/2014/main" id="{43D629E3-E386-4CB6-A2CF-11D5AD249D33}"/>
                </a:ext>
              </a:extLst>
            </p:cNvPr>
            <p:cNvGrpSpPr/>
            <p:nvPr/>
          </p:nvGrpSpPr>
          <p:grpSpPr>
            <a:xfrm>
              <a:off x="3231234" y="6195019"/>
              <a:ext cx="1336880" cy="537865"/>
              <a:chOff x="3231234" y="6195019"/>
              <a:chExt cx="1336880" cy="537865"/>
            </a:xfrm>
          </p:grpSpPr>
          <p:pic>
            <p:nvPicPr>
              <p:cNvPr id="258" name="Picture 257">
                <a:extLst>
                  <a:ext uri="{FF2B5EF4-FFF2-40B4-BE49-F238E27FC236}">
                    <a16:creationId xmlns:a16="http://schemas.microsoft.com/office/drawing/2014/main" id="{C2366F8A-5E86-432E-8F65-93CA482038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3231234" y="6195019"/>
                <a:ext cx="345166" cy="493950"/>
              </a:xfrm>
              <a:prstGeom prst="flowChartConnector">
                <a:avLst/>
              </a:prstGeom>
              <a:solidFill>
                <a:schemeClr val="bg1"/>
              </a:solidFill>
              <a:ln>
                <a:noFill/>
                <a:prstDash val="sysDash"/>
              </a:ln>
            </p:spPr>
          </p:pic>
          <p:sp>
            <p:nvSpPr>
              <p:cNvPr id="259" name="Oval 258">
                <a:extLst>
                  <a:ext uri="{FF2B5EF4-FFF2-40B4-BE49-F238E27FC236}">
                    <a16:creationId xmlns:a16="http://schemas.microsoft.com/office/drawing/2014/main" id="{8D482C37-F95C-4311-91E4-5736D9355666}"/>
                  </a:ext>
                </a:extLst>
              </p:cNvPr>
              <p:cNvSpPr/>
              <p:nvPr/>
            </p:nvSpPr>
            <p:spPr>
              <a:xfrm>
                <a:off x="3527627" y="6261614"/>
                <a:ext cx="1040487" cy="455777"/>
              </a:xfrm>
              <a:prstGeom prst="ellipse">
                <a:avLst/>
              </a:prstGeom>
              <a:solidFill>
                <a:srgbClr val="D9E5C1"/>
              </a:solidFill>
              <a:ln>
                <a:noFill/>
              </a:ln>
              <a:effectLst>
                <a:softEdge rad="6350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/>
              </a:p>
            </p:txBody>
          </p:sp>
          <p:sp>
            <p:nvSpPr>
              <p:cNvPr id="260" name="Rounded Rectangle 124">
                <a:extLst>
                  <a:ext uri="{FF2B5EF4-FFF2-40B4-BE49-F238E27FC236}">
                    <a16:creationId xmlns:a16="http://schemas.microsoft.com/office/drawing/2014/main" id="{05FC3DAB-E0D3-49C9-B31E-77E43162115B}"/>
                  </a:ext>
                </a:extLst>
              </p:cNvPr>
              <p:cNvSpPr/>
              <p:nvPr/>
            </p:nvSpPr>
            <p:spPr>
              <a:xfrm>
                <a:off x="3740488" y="6246120"/>
                <a:ext cx="746709" cy="486764"/>
              </a:xfrm>
              <a:prstGeom prst="roundRect">
                <a:avLst>
                  <a:gd name="adj" fmla="val 8840"/>
                </a:avLst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Prescrit</a:t>
                </a:r>
              </a:p>
            </p:txBody>
          </p:sp>
        </p:grpSp>
        <p:cxnSp>
          <p:nvCxnSpPr>
            <p:cNvPr id="256" name="Straight Arrow Connector 255">
              <a:extLst>
                <a:ext uri="{FF2B5EF4-FFF2-40B4-BE49-F238E27FC236}">
                  <a16:creationId xmlns:a16="http://schemas.microsoft.com/office/drawing/2014/main" id="{37077811-3FB5-4FE0-85E9-B8B26C71A6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39031" y="6668358"/>
              <a:ext cx="1264332" cy="8326"/>
            </a:xfrm>
            <a:prstGeom prst="straightConnector1">
              <a:avLst/>
            </a:prstGeom>
            <a:noFill/>
            <a:ln w="28575" cap="flat" cmpd="sng" algn="ctr">
              <a:solidFill>
                <a:schemeClr val="accent1"/>
              </a:solidFill>
              <a:prstDash val="solid"/>
              <a:headEnd type="none" w="med" len="med"/>
              <a:tailEnd type="arrow" w="med" len="med"/>
            </a:ln>
            <a:effectLst/>
          </p:spPr>
        </p:cxnSp>
        <p:sp>
          <p:nvSpPr>
            <p:cNvPr id="257" name="TextBox 256">
              <a:extLst>
                <a:ext uri="{FF2B5EF4-FFF2-40B4-BE49-F238E27FC236}">
                  <a16:creationId xmlns:a16="http://schemas.microsoft.com/office/drawing/2014/main" id="{614D2BFE-6616-4BF7-8EA1-9152CBC8DE08}"/>
                </a:ext>
              </a:extLst>
            </p:cNvPr>
            <p:cNvSpPr txBox="1"/>
            <p:nvPr/>
          </p:nvSpPr>
          <p:spPr>
            <a:xfrm>
              <a:off x="285235" y="6499301"/>
              <a:ext cx="984565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700" b="1" dirty="0">
                  <a:solidFill>
                    <a:srgbClr val="2B38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ppel service prescrit</a:t>
              </a:r>
            </a:p>
          </p:txBody>
        </p:sp>
      </p:grpSp>
      <p:pic>
        <p:nvPicPr>
          <p:cNvPr id="261" name="Picture 31" descr="Le DMP - Le Dossier Médical qui garde en mémoire toutes vos ...">
            <a:extLst>
              <a:ext uri="{FF2B5EF4-FFF2-40B4-BE49-F238E27FC236}">
                <a16:creationId xmlns:a16="http://schemas.microsoft.com/office/drawing/2014/main" id="{35453203-CB4E-46DF-AB4F-27497C5831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9039" y="3823611"/>
            <a:ext cx="373412" cy="266586"/>
          </a:xfrm>
          <a:prstGeom prst="flowChartAlternateProcess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62" name="Group 261">
            <a:extLst>
              <a:ext uri="{FF2B5EF4-FFF2-40B4-BE49-F238E27FC236}">
                <a16:creationId xmlns:a16="http://schemas.microsoft.com/office/drawing/2014/main" id="{DFAAB68D-021B-46B0-A528-F15349038324}"/>
              </a:ext>
            </a:extLst>
          </p:cNvPr>
          <p:cNvGrpSpPr/>
          <p:nvPr/>
        </p:nvGrpSpPr>
        <p:grpSpPr>
          <a:xfrm>
            <a:off x="1506465" y="6031008"/>
            <a:ext cx="9179071" cy="730585"/>
            <a:chOff x="2859052" y="6060451"/>
            <a:chExt cx="9179071" cy="730585"/>
          </a:xfrm>
        </p:grpSpPr>
        <p:grpSp>
          <p:nvGrpSpPr>
            <p:cNvPr id="263" name="Group 262">
              <a:extLst>
                <a:ext uri="{FF2B5EF4-FFF2-40B4-BE49-F238E27FC236}">
                  <a16:creationId xmlns:a16="http://schemas.microsoft.com/office/drawing/2014/main" id="{C75E7DE4-BD9E-4534-B390-B8E9F356273F}"/>
                </a:ext>
              </a:extLst>
            </p:cNvPr>
            <p:cNvGrpSpPr/>
            <p:nvPr/>
          </p:nvGrpSpPr>
          <p:grpSpPr>
            <a:xfrm>
              <a:off x="6950179" y="6382565"/>
              <a:ext cx="45878" cy="248071"/>
              <a:chOff x="8453678" y="3585842"/>
              <a:chExt cx="41107" cy="381751"/>
            </a:xfrm>
          </p:grpSpPr>
          <p:sp>
            <p:nvSpPr>
              <p:cNvPr id="274" name="Oval 273">
                <a:extLst>
                  <a:ext uri="{FF2B5EF4-FFF2-40B4-BE49-F238E27FC236}">
                    <a16:creationId xmlns:a16="http://schemas.microsoft.com/office/drawing/2014/main" id="{D6473301-FF96-4CB2-A3AE-EAEFD36D7BB9}"/>
                  </a:ext>
                </a:extLst>
              </p:cNvPr>
              <p:cNvSpPr/>
              <p:nvPr/>
            </p:nvSpPr>
            <p:spPr>
              <a:xfrm>
                <a:off x="8453678" y="3585842"/>
                <a:ext cx="41107" cy="66576"/>
              </a:xfrm>
              <a:prstGeom prst="ellipse">
                <a:avLst/>
              </a:prstGeom>
              <a:solidFill>
                <a:srgbClr val="00FFFF"/>
              </a:solidFill>
              <a:ln w="3175" cap="flat" cmpd="sng" algn="ctr">
                <a:solidFill>
                  <a:schemeClr val="tx1">
                    <a:lumMod val="50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75" name="Oval 274">
                <a:extLst>
                  <a:ext uri="{FF2B5EF4-FFF2-40B4-BE49-F238E27FC236}">
                    <a16:creationId xmlns:a16="http://schemas.microsoft.com/office/drawing/2014/main" id="{DB1BA846-7D91-4D55-9AAE-7D28D18E00AA}"/>
                  </a:ext>
                </a:extLst>
              </p:cNvPr>
              <p:cNvSpPr/>
              <p:nvPr/>
            </p:nvSpPr>
            <p:spPr>
              <a:xfrm>
                <a:off x="8453678" y="3901017"/>
                <a:ext cx="41107" cy="66576"/>
              </a:xfrm>
              <a:prstGeom prst="ellipse">
                <a:avLst/>
              </a:prstGeom>
              <a:solidFill>
                <a:srgbClr val="00FFFF"/>
              </a:solidFill>
              <a:ln w="3175" cap="flat" cmpd="sng" algn="ctr">
                <a:solidFill>
                  <a:schemeClr val="tx1">
                    <a:lumMod val="50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cxnSp>
            <p:nvCxnSpPr>
              <p:cNvPr id="276" name="Straight Connector 275">
                <a:extLst>
                  <a:ext uri="{FF2B5EF4-FFF2-40B4-BE49-F238E27FC236}">
                    <a16:creationId xmlns:a16="http://schemas.microsoft.com/office/drawing/2014/main" id="{3AD5C1E7-C589-4556-B06D-40FE7C516723}"/>
                  </a:ext>
                </a:extLst>
              </p:cNvPr>
              <p:cNvCxnSpPr>
                <a:cxnSpLocks/>
                <a:stCxn id="274" idx="4"/>
                <a:endCxn id="275" idx="0"/>
              </p:cNvCxnSpPr>
              <p:nvPr/>
            </p:nvCxnSpPr>
            <p:spPr>
              <a:xfrm>
                <a:off x="8474232" y="3652418"/>
                <a:ext cx="0" cy="248599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Text" lastClr="000000"/>
                </a:solidFill>
                <a:prstDash val="dashDot"/>
              </a:ln>
              <a:effectLst/>
            </p:spPr>
          </p:cxnSp>
        </p:grpSp>
        <p:sp>
          <p:nvSpPr>
            <p:cNvPr id="264" name="Rectangle: Rounded Corners 263">
              <a:extLst>
                <a:ext uri="{FF2B5EF4-FFF2-40B4-BE49-F238E27FC236}">
                  <a16:creationId xmlns:a16="http://schemas.microsoft.com/office/drawing/2014/main" id="{1B786852-8CC3-4D6F-BF9E-BC7FD67A1671}"/>
                </a:ext>
              </a:extLst>
            </p:cNvPr>
            <p:cNvSpPr/>
            <p:nvPr/>
          </p:nvSpPr>
          <p:spPr>
            <a:xfrm>
              <a:off x="2859052" y="6060451"/>
              <a:ext cx="9060537" cy="730585"/>
            </a:xfrm>
            <a:prstGeom prst="roundRect">
              <a:avLst>
                <a:gd name="adj" fmla="val 6237"/>
              </a:avLst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fr-FR" sz="800" b="1" i="1" dirty="0">
                  <a:solidFill>
                    <a:schemeClr val="bg2">
                      <a:lumMod val="75000"/>
                    </a:schemeClr>
                  </a:solidFill>
                </a:rPr>
                <a:t>Précisions</a:t>
              </a:r>
            </a:p>
          </p:txBody>
        </p:sp>
        <p:sp>
          <p:nvSpPr>
            <p:cNvPr id="265" name="Rounded Rectangle 76">
              <a:extLst>
                <a:ext uri="{FF2B5EF4-FFF2-40B4-BE49-F238E27FC236}">
                  <a16:creationId xmlns:a16="http://schemas.microsoft.com/office/drawing/2014/main" id="{E07B4168-0B6B-4721-ADEB-8ADE604B3B65}"/>
                </a:ext>
              </a:extLst>
            </p:cNvPr>
            <p:cNvSpPr/>
            <p:nvPr/>
          </p:nvSpPr>
          <p:spPr>
            <a:xfrm>
              <a:off x="9677443" y="6283367"/>
              <a:ext cx="2360680" cy="499503"/>
            </a:xfrm>
            <a:prstGeom prst="roundRect">
              <a:avLst>
                <a:gd name="adj" fmla="val 5583"/>
              </a:avLst>
            </a:prstGeom>
            <a:noFill/>
            <a:ln w="3175" cap="flat" cmpd="sng" algn="ctr">
              <a:noFill/>
              <a:prstDash val="solid"/>
            </a:ln>
            <a:effectLst/>
          </p:spPr>
          <p:txBody>
            <a:bodyPr lIns="36000" rIns="3600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marR="0" lvl="0" indent="-17145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Char char="-"/>
                <a:tabLst/>
                <a:defRPr/>
              </a:pPr>
              <a:r>
                <a:rPr lang="fr-FR" altLang="fr-FR" sz="700" dirty="0">
                  <a:solidFill>
                    <a:srgbClr val="1F497D"/>
                  </a:solidFill>
                  <a:latin typeface="Calibri"/>
                </a:rPr>
                <a:t>ID Unique de la prescription</a:t>
              </a:r>
            </a:p>
            <a:p>
              <a:pPr marL="171450" marR="0" lvl="0" indent="-17145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Char char="-"/>
                <a:tabLst/>
                <a:defRPr/>
              </a:pPr>
              <a:r>
                <a:rPr lang="fr-FR" altLang="fr-FR" sz="700" dirty="0">
                  <a:solidFill>
                    <a:srgbClr val="1F497D"/>
                  </a:solidFill>
                  <a:latin typeface="Calibri"/>
                </a:rPr>
                <a:t>Identité du médecin : le N°AM et N°RPPS</a:t>
              </a:r>
            </a:p>
            <a:p>
              <a:pPr marL="171450" marR="0" lvl="0" indent="-17145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Char char="-"/>
                <a:tabLst/>
                <a:defRPr/>
              </a:pPr>
              <a:r>
                <a:rPr lang="fr-FR" altLang="fr-FR" sz="700" dirty="0">
                  <a:solidFill>
                    <a:srgbClr val="1F497D"/>
                  </a:solidFill>
                  <a:latin typeface="Calibri"/>
                </a:rPr>
                <a:t>Identité du patient : nom, prénom, et date de naissance</a:t>
              </a:r>
            </a:p>
          </p:txBody>
        </p:sp>
        <p:sp>
          <p:nvSpPr>
            <p:cNvPr id="266" name="TextBox 265">
              <a:extLst>
                <a:ext uri="{FF2B5EF4-FFF2-40B4-BE49-F238E27FC236}">
                  <a16:creationId xmlns:a16="http://schemas.microsoft.com/office/drawing/2014/main" id="{7F567888-919A-4E69-A0D6-47A32A47988C}"/>
                </a:ext>
              </a:extLst>
            </p:cNvPr>
            <p:cNvSpPr txBox="1"/>
            <p:nvPr/>
          </p:nvSpPr>
          <p:spPr>
            <a:xfrm>
              <a:off x="9600913" y="6164225"/>
              <a:ext cx="960519" cy="200055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just">
                <a:defRPr/>
              </a:pPr>
              <a:r>
                <a:rPr lang="fr-FR" sz="700" b="1" dirty="0">
                  <a:solidFill>
                    <a:srgbClr val="1F497D"/>
                  </a:solidFill>
                  <a:latin typeface="Calibri"/>
                </a:rPr>
                <a:t>Contenu du QR Code</a:t>
              </a:r>
            </a:p>
          </p:txBody>
        </p:sp>
        <p:sp>
          <p:nvSpPr>
            <p:cNvPr id="267" name="TextBox 266">
              <a:extLst>
                <a:ext uri="{FF2B5EF4-FFF2-40B4-BE49-F238E27FC236}">
                  <a16:creationId xmlns:a16="http://schemas.microsoft.com/office/drawing/2014/main" id="{AB2DDF2A-7EA8-4449-BF46-F9447C377D1B}"/>
                </a:ext>
              </a:extLst>
            </p:cNvPr>
            <p:cNvSpPr txBox="1"/>
            <p:nvPr/>
          </p:nvSpPr>
          <p:spPr>
            <a:xfrm>
              <a:off x="7131507" y="6140280"/>
              <a:ext cx="2335896" cy="200055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just">
                <a:defRPr/>
              </a:pPr>
              <a:r>
                <a:rPr lang="fr-FR" sz="700" b="1" dirty="0">
                  <a:solidFill>
                    <a:srgbClr val="1F497D"/>
                  </a:solidFill>
                  <a:latin typeface="Calibri"/>
                </a:rPr>
                <a:t>*Contenu du DMP / dossier médical de Mon espace santé</a:t>
              </a:r>
            </a:p>
          </p:txBody>
        </p:sp>
        <p:sp>
          <p:nvSpPr>
            <p:cNvPr id="268" name="Rounded Rectangle 76">
              <a:extLst>
                <a:ext uri="{FF2B5EF4-FFF2-40B4-BE49-F238E27FC236}">
                  <a16:creationId xmlns:a16="http://schemas.microsoft.com/office/drawing/2014/main" id="{F021B8B0-1287-45F7-939D-70A674CD4EC7}"/>
                </a:ext>
              </a:extLst>
            </p:cNvPr>
            <p:cNvSpPr/>
            <p:nvPr/>
          </p:nvSpPr>
          <p:spPr>
            <a:xfrm>
              <a:off x="7184306" y="6248878"/>
              <a:ext cx="2148642" cy="468348"/>
            </a:xfrm>
            <a:prstGeom prst="roundRect">
              <a:avLst>
                <a:gd name="adj" fmla="val 5583"/>
              </a:avLst>
            </a:prstGeom>
            <a:noFill/>
            <a:ln w="3175" cap="flat" cmpd="sng" algn="ctr">
              <a:noFill/>
              <a:prstDash val="solid"/>
            </a:ln>
            <a:effectLst/>
          </p:spPr>
          <p:txBody>
            <a:bodyPr lIns="36000" rIns="3600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Tx/>
                <a:buChar char="-"/>
                <a:defRPr/>
              </a:pPr>
              <a:r>
                <a:rPr kumimoji="0" lang="fr-FR" altLang="fr-FR" sz="700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Calibri"/>
                </a:rPr>
                <a:t>Ordonnance au </a:t>
              </a:r>
              <a:r>
                <a:rPr kumimoji="0" lang="fr-FR" altLang="fr-FR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Calibri"/>
                </a:rPr>
                <a:t>format</a:t>
              </a:r>
              <a:r>
                <a:rPr kumimoji="0" lang="fr-FR" altLang="fr-FR" sz="700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Calibri"/>
                </a:rPr>
                <a:t> </a:t>
              </a:r>
              <a:r>
                <a:rPr kumimoji="0" lang="fr-FR" altLang="fr-FR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Calibri"/>
                </a:rPr>
                <a:t>PDF</a:t>
              </a:r>
            </a:p>
            <a:p>
              <a:pPr marL="171450" indent="-171450">
                <a:buFontTx/>
                <a:buChar char="-"/>
                <a:defRPr/>
              </a:pPr>
              <a:r>
                <a:rPr lang="fr-FR" altLang="fr-FR" sz="700" i="1" dirty="0">
                  <a:solidFill>
                    <a:srgbClr val="1F497D"/>
                  </a:solidFill>
                  <a:latin typeface="Calibri"/>
                </a:rPr>
                <a:t>(à venir) </a:t>
              </a:r>
              <a:r>
                <a:rPr lang="fr-FR" altLang="fr-FR" sz="700" dirty="0">
                  <a:solidFill>
                    <a:srgbClr val="1F497D"/>
                  </a:solidFill>
                  <a:latin typeface="Calibri"/>
                </a:rPr>
                <a:t>Ordonnance au </a:t>
              </a:r>
              <a:r>
                <a:rPr lang="fr-FR" altLang="fr-FR" sz="700" b="1" dirty="0">
                  <a:solidFill>
                    <a:srgbClr val="1F497D"/>
                  </a:solidFill>
                  <a:latin typeface="Calibri"/>
                </a:rPr>
                <a:t>format structuré pour les produits de santé et les actes de biologie</a:t>
              </a:r>
              <a:endParaRPr kumimoji="0" lang="fr-FR" altLang="fr-FR" sz="7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</a:endParaRPr>
            </a:p>
          </p:txBody>
        </p:sp>
        <p:pic>
          <p:nvPicPr>
            <p:cNvPr id="269" name="Picture 31" descr="Le DMP - Le Dossier Médical qui garde en mémoire toutes vos ...">
              <a:extLst>
                <a:ext uri="{FF2B5EF4-FFF2-40B4-BE49-F238E27FC236}">
                  <a16:creationId xmlns:a16="http://schemas.microsoft.com/office/drawing/2014/main" id="{CA03E3AC-63F2-4938-9B0B-AF216A3E049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83698" y="6218668"/>
              <a:ext cx="349293" cy="2493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0" name="Graphic 269" descr="Qr Code with solid fill">
              <a:extLst>
                <a:ext uri="{FF2B5EF4-FFF2-40B4-BE49-F238E27FC236}">
                  <a16:creationId xmlns:a16="http://schemas.microsoft.com/office/drawing/2014/main" id="{9B5C756A-58F6-401C-A666-84AE134EBD6D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9424289" y="6409415"/>
              <a:ext cx="198320" cy="198320"/>
            </a:xfrm>
            <a:prstGeom prst="rect">
              <a:avLst/>
            </a:prstGeom>
          </p:spPr>
        </p:pic>
        <p:sp>
          <p:nvSpPr>
            <p:cNvPr id="271" name="Rounded Rectangle 76">
              <a:extLst>
                <a:ext uri="{FF2B5EF4-FFF2-40B4-BE49-F238E27FC236}">
                  <a16:creationId xmlns:a16="http://schemas.microsoft.com/office/drawing/2014/main" id="{91999E2B-C4AE-44B6-A3DF-70F542CAF0D1}"/>
                </a:ext>
              </a:extLst>
            </p:cNvPr>
            <p:cNvSpPr/>
            <p:nvPr/>
          </p:nvSpPr>
          <p:spPr>
            <a:xfrm>
              <a:off x="3896360" y="6241375"/>
              <a:ext cx="2690065" cy="499503"/>
            </a:xfrm>
            <a:prstGeom prst="roundRect">
              <a:avLst>
                <a:gd name="adj" fmla="val 5583"/>
              </a:avLst>
            </a:prstGeom>
            <a:noFill/>
            <a:ln w="3175" cap="flat" cmpd="sng" algn="ctr">
              <a:noFill/>
              <a:prstDash val="solid"/>
            </a:ln>
            <a:effectLst/>
          </p:spPr>
          <p:txBody>
            <a:bodyPr lIns="36000" rIns="3600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marR="0" lvl="0" indent="-17145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Char char="-"/>
                <a:tabLst/>
                <a:defRPr/>
              </a:pPr>
              <a:r>
                <a:rPr lang="fr-FR" altLang="fr-FR" sz="700" dirty="0">
                  <a:solidFill>
                    <a:srgbClr val="1F497D"/>
                  </a:solidFill>
                  <a:latin typeface="Calibri"/>
                </a:rPr>
                <a:t>Les prescriptions non délivrées /non exécutées non nominatives</a:t>
              </a:r>
            </a:p>
            <a:p>
              <a:pPr marL="171450" marR="0" lvl="0" indent="-17145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Char char="-"/>
                <a:tabLst/>
                <a:defRPr/>
              </a:pPr>
              <a:r>
                <a:rPr lang="fr-FR" altLang="fr-FR" sz="700" dirty="0">
                  <a:solidFill>
                    <a:srgbClr val="1F497D"/>
                  </a:solidFill>
                  <a:latin typeface="Calibri"/>
                </a:rPr>
                <a:t>Les prescriptions exécutées et identifiées</a:t>
              </a:r>
            </a:p>
          </p:txBody>
        </p:sp>
        <p:sp>
          <p:nvSpPr>
            <p:cNvPr id="272" name="TextBox 271">
              <a:extLst>
                <a:ext uri="{FF2B5EF4-FFF2-40B4-BE49-F238E27FC236}">
                  <a16:creationId xmlns:a16="http://schemas.microsoft.com/office/drawing/2014/main" id="{E0911CA5-2CD3-49C0-8D9B-5637AF8FF0C8}"/>
                </a:ext>
              </a:extLst>
            </p:cNvPr>
            <p:cNvSpPr txBox="1"/>
            <p:nvPr/>
          </p:nvSpPr>
          <p:spPr>
            <a:xfrm>
              <a:off x="3921281" y="6151355"/>
              <a:ext cx="896399" cy="200055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just">
                <a:defRPr/>
              </a:pPr>
              <a:r>
                <a:rPr lang="fr-FR" sz="700" b="1" dirty="0">
                  <a:solidFill>
                    <a:srgbClr val="1F497D"/>
                  </a:solidFill>
                  <a:latin typeface="Calibri"/>
                </a:rPr>
                <a:t>Contenu de la base</a:t>
              </a:r>
            </a:p>
          </p:txBody>
        </p:sp>
        <p:pic>
          <p:nvPicPr>
            <p:cNvPr id="273" name="Graphic 272" descr="Database outline">
              <a:extLst>
                <a:ext uri="{FF2B5EF4-FFF2-40B4-BE49-F238E27FC236}">
                  <a16:creationId xmlns:a16="http://schemas.microsoft.com/office/drawing/2014/main" id="{FEC05838-D0EE-44C2-8AF9-2174AFE2DBBF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3557803" y="6340818"/>
              <a:ext cx="300615" cy="300615"/>
            </a:xfrm>
            <a:prstGeom prst="rect">
              <a:avLst/>
            </a:prstGeom>
          </p:spPr>
        </p:pic>
      </p:grpSp>
      <p:cxnSp>
        <p:nvCxnSpPr>
          <p:cNvPr id="277" name="Straight Arrow Connector 276">
            <a:extLst>
              <a:ext uri="{FF2B5EF4-FFF2-40B4-BE49-F238E27FC236}">
                <a16:creationId xmlns:a16="http://schemas.microsoft.com/office/drawing/2014/main" id="{2C029396-91E2-4B00-8DD3-FB90FE93D712}"/>
              </a:ext>
            </a:extLst>
          </p:cNvPr>
          <p:cNvCxnSpPr>
            <a:cxnSpLocks/>
          </p:cNvCxnSpPr>
          <p:nvPr/>
        </p:nvCxnSpPr>
        <p:spPr>
          <a:xfrm flipH="1">
            <a:off x="5525401" y="184487"/>
            <a:ext cx="877657" cy="0"/>
          </a:xfrm>
          <a:prstGeom prst="straightConnector1">
            <a:avLst/>
          </a:prstGeom>
          <a:noFill/>
          <a:ln w="28575" cap="flat" cmpd="sng" algn="ctr">
            <a:solidFill>
              <a:srgbClr val="1F497D">
                <a:lumMod val="50000"/>
              </a:srgbClr>
            </a:solidFill>
            <a:prstDash val="sysDot"/>
            <a:headEnd type="none" w="med" len="med"/>
            <a:tailEnd type="arrow" w="med" len="med"/>
          </a:ln>
          <a:effectLst/>
        </p:spPr>
      </p:cxnSp>
      <p:sp>
        <p:nvSpPr>
          <p:cNvPr id="278" name="TextBox 277">
            <a:extLst>
              <a:ext uri="{FF2B5EF4-FFF2-40B4-BE49-F238E27FC236}">
                <a16:creationId xmlns:a16="http://schemas.microsoft.com/office/drawing/2014/main" id="{788083F6-0F24-46E0-8953-BA4F1CA8ADEF}"/>
              </a:ext>
            </a:extLst>
          </p:cNvPr>
          <p:cNvSpPr txBox="1"/>
          <p:nvPr/>
        </p:nvSpPr>
        <p:spPr>
          <a:xfrm>
            <a:off x="5628540" y="5378"/>
            <a:ext cx="790601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00" b="1" dirty="0">
                <a:solidFill>
                  <a:srgbClr val="2B38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ns des actions</a:t>
            </a: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23BCA514-77C2-4C85-B0D8-654C3293237E}"/>
              </a:ext>
            </a:extLst>
          </p:cNvPr>
          <p:cNvSpPr/>
          <p:nvPr/>
        </p:nvSpPr>
        <p:spPr>
          <a:xfrm>
            <a:off x="6155169" y="1324124"/>
            <a:ext cx="2255577" cy="2492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00" i="1" dirty="0">
                <a:solidFill>
                  <a:schemeClr val="bg2">
                    <a:lumMod val="50000"/>
                  </a:schemeClr>
                </a:solidFill>
              </a:rPr>
              <a:t>Et si le patient ne s’y est pas opposé</a:t>
            </a:r>
          </a:p>
        </p:txBody>
      </p:sp>
      <p:grpSp>
        <p:nvGrpSpPr>
          <p:cNvPr id="280" name="Group 279">
            <a:extLst>
              <a:ext uri="{FF2B5EF4-FFF2-40B4-BE49-F238E27FC236}">
                <a16:creationId xmlns:a16="http://schemas.microsoft.com/office/drawing/2014/main" id="{6A02EFAF-35F4-4100-A311-44A4AE886C63}"/>
              </a:ext>
            </a:extLst>
          </p:cNvPr>
          <p:cNvGrpSpPr/>
          <p:nvPr/>
        </p:nvGrpSpPr>
        <p:grpSpPr>
          <a:xfrm>
            <a:off x="9289012" y="2334671"/>
            <a:ext cx="2688510" cy="287011"/>
            <a:chOff x="9297479" y="2181947"/>
            <a:chExt cx="2688510" cy="287011"/>
          </a:xfrm>
        </p:grpSpPr>
        <p:sp>
          <p:nvSpPr>
            <p:cNvPr id="281" name="Oval 280">
              <a:extLst>
                <a:ext uri="{FF2B5EF4-FFF2-40B4-BE49-F238E27FC236}">
                  <a16:creationId xmlns:a16="http://schemas.microsoft.com/office/drawing/2014/main" id="{F61BE9B1-1707-4C48-A464-8C626FD72F45}"/>
                </a:ext>
              </a:extLst>
            </p:cNvPr>
            <p:cNvSpPr/>
            <p:nvPr/>
          </p:nvSpPr>
          <p:spPr>
            <a:xfrm>
              <a:off x="9323909" y="2181947"/>
              <a:ext cx="2635651" cy="287011"/>
            </a:xfrm>
            <a:prstGeom prst="ellipse">
              <a:avLst/>
            </a:prstGeom>
            <a:solidFill>
              <a:srgbClr val="E4EDD3"/>
            </a:solidFill>
            <a:ln>
              <a:noFill/>
            </a:ln>
            <a:effectLst>
              <a:softEdge rad="63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200"/>
            </a:p>
          </p:txBody>
        </p:sp>
        <p:sp>
          <p:nvSpPr>
            <p:cNvPr id="282" name="Rounded Rectangle 125">
              <a:extLst>
                <a:ext uri="{FF2B5EF4-FFF2-40B4-BE49-F238E27FC236}">
                  <a16:creationId xmlns:a16="http://schemas.microsoft.com/office/drawing/2014/main" id="{A6D30F8B-0E98-4712-BDB4-DFE14C76ED9A}"/>
                </a:ext>
              </a:extLst>
            </p:cNvPr>
            <p:cNvSpPr/>
            <p:nvPr/>
          </p:nvSpPr>
          <p:spPr>
            <a:xfrm>
              <a:off x="9297479" y="2222787"/>
              <a:ext cx="2688510" cy="203636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estitue</a:t>
              </a:r>
              <a:r>
                <a:rPr kumimoji="0" lang="fr-FR" sz="1100" b="1" i="0" u="none" strike="noStrike" kern="120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l’ordonnance papier au patient</a:t>
              </a:r>
              <a:endPara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83" name="Espace réservé du numéro de diapositive 1">
            <a:extLst>
              <a:ext uri="{FF2B5EF4-FFF2-40B4-BE49-F238E27FC236}">
                <a16:creationId xmlns:a16="http://schemas.microsoft.com/office/drawing/2014/main" id="{31D0797D-055E-450F-B4B4-6A629B18906E}"/>
              </a:ext>
            </a:extLst>
          </p:cNvPr>
          <p:cNvSpPr txBox="1">
            <a:spLocks/>
          </p:cNvSpPr>
          <p:nvPr/>
        </p:nvSpPr>
        <p:spPr>
          <a:xfrm>
            <a:off x="0" y="6561346"/>
            <a:ext cx="720000" cy="288000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75A587B-5814-4D9B-9598-FE9CB954CB01}" type="slidenum">
              <a:rPr lang="fr-FR" sz="1400" smtClean="0"/>
              <a:pPr/>
              <a:t>8</a:t>
            </a:fld>
            <a:endParaRPr lang="fr-FR" sz="1400"/>
          </a:p>
        </p:txBody>
      </p:sp>
      <p:pic>
        <p:nvPicPr>
          <p:cNvPr id="137" name="Picture 2" descr="Logo de Mon espace santé">
            <a:extLst>
              <a:ext uri="{FF2B5EF4-FFF2-40B4-BE49-F238E27FC236}">
                <a16:creationId xmlns:a16="http://schemas.microsoft.com/office/drawing/2014/main" id="{EE0360B2-F4C3-4199-9D94-C89931058B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3729" y="6459574"/>
            <a:ext cx="340257" cy="229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99835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7.40741E-7 L 0 0.25 " pathEditMode="relative" rAng="0" ptsTypes="AA">
                                      <p:cBhvr>
                                        <p:cTn id="74" dur="2000" fill="hold"/>
                                        <p:tgtEl>
                                          <p:spTgt spid="18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2.96296E-6 L 0.58529 0.00139 " pathEditMode="relative" rAng="0" ptsTypes="AA">
                                      <p:cBhvr>
                                        <p:cTn id="100" dur="2000" fill="hold"/>
                                        <p:tgtEl>
                                          <p:spTgt spid="2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9258" y="6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1" fill="hold">
                      <p:stCondLst>
                        <p:cond delay="indefinite"/>
                      </p:stCondLst>
                      <p:childTnLst>
                        <p:par>
                          <p:cTn id="102" fill="hold">
                            <p:stCondLst>
                              <p:cond delay="0"/>
                            </p:stCondLst>
                            <p:childTnLst>
                              <p:par>
                                <p:cTn id="10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5" fill="hold">
                      <p:stCondLst>
                        <p:cond delay="indefinite"/>
                      </p:stCondLst>
                      <p:childTnLst>
                        <p:par>
                          <p:cTn id="106" fill="hold">
                            <p:stCondLst>
                              <p:cond delay="0"/>
                            </p:stCondLst>
                            <p:childTnLst>
                              <p:par>
                                <p:cTn id="10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5" fill="hold">
                      <p:stCondLst>
                        <p:cond delay="indefinite"/>
                      </p:stCondLst>
                      <p:childTnLst>
                        <p:par>
                          <p:cTn id="126" fill="hold">
                            <p:stCondLst>
                              <p:cond delay="0"/>
                            </p:stCondLst>
                            <p:childTnLst>
                              <p:par>
                                <p:cTn id="1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9" fill="hold">
                      <p:stCondLst>
                        <p:cond delay="indefinite"/>
                      </p:stCondLst>
                      <p:childTnLst>
                        <p:par>
                          <p:cTn id="150" fill="hold">
                            <p:stCondLst>
                              <p:cond delay="0"/>
                            </p:stCondLst>
                            <p:childTnLst>
                              <p:par>
                                <p:cTn id="1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9" fill="hold">
                      <p:stCondLst>
                        <p:cond delay="indefinite"/>
                      </p:stCondLst>
                      <p:childTnLst>
                        <p:par>
                          <p:cTn id="160" fill="hold">
                            <p:stCondLst>
                              <p:cond delay="0"/>
                            </p:stCondLst>
                            <p:childTnLst>
                              <p:par>
                                <p:cTn id="1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3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2.96296E-6 L 0.6142 -0.48496 " pathEditMode="relative" rAng="0" ptsTypes="AA">
                                      <p:cBhvr>
                                        <p:cTn id="164" dur="2000" spd="-100000" fill="hold"/>
                                        <p:tgtEl>
                                          <p:spTgt spid="2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0703" y="-2425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5" fill="hold">
                      <p:stCondLst>
                        <p:cond delay="indefinite"/>
                      </p:stCondLst>
                      <p:childTnLst>
                        <p:par>
                          <p:cTn id="166" fill="hold">
                            <p:stCondLst>
                              <p:cond delay="0"/>
                            </p:stCondLst>
                            <p:childTnLst>
                              <p:par>
                                <p:cTn id="16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1" fill="hold">
                      <p:stCondLst>
                        <p:cond delay="indefinite"/>
                      </p:stCondLst>
                      <p:childTnLst>
                        <p:par>
                          <p:cTn id="182" fill="hold">
                            <p:stCondLst>
                              <p:cond delay="0"/>
                            </p:stCondLst>
                            <p:childTnLst>
                              <p:par>
                                <p:cTn id="18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4" grpId="0" animBg="1"/>
      <p:bldP spid="147" grpId="0" animBg="1"/>
      <p:bldP spid="149" grpId="0" animBg="1"/>
      <p:bldP spid="150" grpId="0"/>
      <p:bldP spid="151" grpId="0"/>
      <p:bldP spid="155" grpId="0" animBg="1"/>
      <p:bldP spid="156" grpId="0"/>
      <p:bldP spid="157" grpId="0" animBg="1"/>
      <p:bldP spid="158" grpId="0"/>
      <p:bldP spid="159" grpId="0"/>
      <p:bldP spid="160" grpId="0"/>
      <p:bldP spid="173" grpId="0" animBg="1"/>
      <p:bldP spid="174" grpId="0" animBg="1"/>
      <p:bldP spid="175" grpId="0" animBg="1"/>
      <p:bldP spid="176" grpId="0"/>
      <p:bldP spid="181" grpId="0" animBg="1"/>
      <p:bldP spid="183" grpId="0" animBg="1"/>
      <p:bldP spid="184" grpId="0"/>
      <p:bldP spid="187" grpId="0" animBg="1"/>
      <p:bldP spid="192" grpId="0" animBg="1"/>
      <p:bldP spid="194" grpId="0" animBg="1"/>
      <p:bldP spid="195" grpId="0" animBg="1"/>
      <p:bldP spid="197" grpId="0" animBg="1"/>
      <p:bldP spid="198" grpId="0"/>
      <p:bldP spid="199" grpId="0" animBg="1"/>
      <p:bldP spid="200" grpId="0"/>
      <p:bldP spid="216" grpId="0" animBg="1"/>
      <p:bldP spid="227" grpId="0" animBg="1"/>
      <p:bldP spid="228" grpId="0"/>
      <p:bldP spid="234" grpId="0" animBg="1"/>
      <p:bldP spid="235" grpId="0"/>
      <p:bldP spid="27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8E8DFB8-E3CE-4E51-BEDE-535A54A714D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F24EAE-3DE5-4551-A6D1-5983733B952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fr-FR" dirty="0"/>
              <a:t>02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27D3CA-40CF-4DF5-9939-F4D4D416E06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1538557" y="3000049"/>
            <a:ext cx="8067169" cy="1692000"/>
          </a:xfrm>
        </p:spPr>
        <p:txBody>
          <a:bodyPr>
            <a:normAutofit fontScale="85000" lnSpcReduction="10000"/>
          </a:bodyPr>
          <a:lstStyle/>
          <a:p>
            <a:r>
              <a:rPr lang="fr-FR" sz="4000" dirty="0"/>
              <a:t>Retour sur l’expérimentation médicament lancée en 2019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8159B21-3AD6-40D9-8215-E2D621367775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9</a:t>
            </a:fld>
            <a:endParaRPr lang="fr-FR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151BDAD-D355-4F3A-A25C-7C4C800EDEA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302589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heme/theme1.xml><?xml version="1.0" encoding="utf-8"?>
<a:theme xmlns:a="http://schemas.openxmlformats.org/drawingml/2006/main" name="masque PPT V3">
  <a:themeElements>
    <a:clrScheme name="CNAM">
      <a:dk1>
        <a:srgbClr val="0C419A"/>
      </a:dk1>
      <a:lt1>
        <a:sysClr val="window" lastClr="FFFFFF"/>
      </a:lt1>
      <a:dk2>
        <a:srgbClr val="007FAD"/>
      </a:dk2>
      <a:lt2>
        <a:srgbClr val="545859"/>
      </a:lt2>
      <a:accent1>
        <a:srgbClr val="298478"/>
      </a:accent1>
      <a:accent2>
        <a:srgbClr val="C74E5A"/>
      </a:accent2>
      <a:accent3>
        <a:srgbClr val="007FAD"/>
      </a:accent3>
      <a:accent4>
        <a:srgbClr val="A05EB5"/>
      </a:accent4>
      <a:accent5>
        <a:srgbClr val="5E74B8"/>
      </a:accent5>
      <a:accent6>
        <a:srgbClr val="E11A81"/>
      </a:accent6>
      <a:hlink>
        <a:srgbClr val="0C419A"/>
      </a:hlink>
      <a:folHlink>
        <a:srgbClr val="54585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NAM_Template_PowerPoint_v4" id="{26C22B8F-5E05-F14C-9CB3-B37F511AC7C6}" vid="{59AAAB99-C36C-9647-8E13-E76025E32F41}"/>
    </a:ext>
  </a:extLst>
</a:theme>
</file>

<file path=ppt/theme/theme2.xml><?xml version="1.0" encoding="utf-8"?>
<a:theme xmlns:a="http://schemas.openxmlformats.org/drawingml/2006/main" name="1_masque PPT V3">
  <a:themeElements>
    <a:clrScheme name="CNAM">
      <a:dk1>
        <a:srgbClr val="0C419A"/>
      </a:dk1>
      <a:lt1>
        <a:sysClr val="window" lastClr="FFFFFF"/>
      </a:lt1>
      <a:dk2>
        <a:srgbClr val="007FAD"/>
      </a:dk2>
      <a:lt2>
        <a:srgbClr val="545859"/>
      </a:lt2>
      <a:accent1>
        <a:srgbClr val="298478"/>
      </a:accent1>
      <a:accent2>
        <a:srgbClr val="C74E5A"/>
      </a:accent2>
      <a:accent3>
        <a:srgbClr val="007FAD"/>
      </a:accent3>
      <a:accent4>
        <a:srgbClr val="A05EB5"/>
      </a:accent4>
      <a:accent5>
        <a:srgbClr val="5E74B8"/>
      </a:accent5>
      <a:accent6>
        <a:srgbClr val="E11A81"/>
      </a:accent6>
      <a:hlink>
        <a:srgbClr val="0C419A"/>
      </a:hlink>
      <a:folHlink>
        <a:srgbClr val="54585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NAM_Template_PowerPoint_v4" id="{26C22B8F-5E05-F14C-9CB3-B37F511AC7C6}" vid="{59AAAB99-C36C-9647-8E13-E76025E32F41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8FBE62D6165C448AA79D61B4350BC64" ma:contentTypeVersion="11" ma:contentTypeDescription="Create a new document." ma:contentTypeScope="" ma:versionID="4a55909e46deb440aa582582b56a1675">
  <xsd:schema xmlns:xsd="http://www.w3.org/2001/XMLSchema" xmlns:xs="http://www.w3.org/2001/XMLSchema" xmlns:p="http://schemas.microsoft.com/office/2006/metadata/properties" xmlns:ns3="90072767-a06f-4d9d-afcf-1e1072f397ea" xmlns:ns4="3a21d720-052d-4c99-b557-50085aa50476" targetNamespace="http://schemas.microsoft.com/office/2006/metadata/properties" ma:root="true" ma:fieldsID="fe6204a170eedf1d1deb438fd25e06a1" ns3:_="" ns4:_="">
    <xsd:import namespace="90072767-a06f-4d9d-afcf-1e1072f397ea"/>
    <xsd:import namespace="3a21d720-052d-4c99-b557-50085aa5047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072767-a06f-4d9d-afcf-1e1072f397e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21d720-052d-4c99-b557-50085aa50476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6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C47071B-81A7-498D-A30D-52CB99798E8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5491FED-C869-445B-A68B-6295C6938FCB}">
  <ds:schemaRefs>
    <ds:schemaRef ds:uri="http://schemas.microsoft.com/office/2006/documentManagement/types"/>
    <ds:schemaRef ds:uri="http://schemas.openxmlformats.org/package/2006/metadata/core-properties"/>
    <ds:schemaRef ds:uri="90072767-a06f-4d9d-afcf-1e1072f397ea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3a21d720-052d-4c99-b557-50085aa50476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A16BD000-AA4B-4614-A302-380D27D4801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0072767-a06f-4d9d-afcf-1e1072f397ea"/>
    <ds:schemaRef ds:uri="3a21d720-052d-4c99-b557-50085aa5047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c2020-MASQUE_PPT_de_l_Assurance_Maladie_CNAM</Template>
  <TotalTime>24644</TotalTime>
  <Words>3720</Words>
  <Application>Microsoft Office PowerPoint</Application>
  <PresentationFormat>Grand écran</PresentationFormat>
  <Paragraphs>595</Paragraphs>
  <Slides>31</Slides>
  <Notes>9</Notes>
  <HiddenSlides>0</HiddenSlides>
  <MMClips>0</MMClips>
  <ScaleCrop>false</ScaleCrop>
  <HeadingPairs>
    <vt:vector size="8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3</vt:i4>
      </vt:variant>
      <vt:variant>
        <vt:lpstr>Titres des diapositives</vt:lpstr>
      </vt:variant>
      <vt:variant>
        <vt:i4>31</vt:i4>
      </vt:variant>
    </vt:vector>
  </HeadingPairs>
  <TitlesOfParts>
    <vt:vector size="45" baseType="lpstr">
      <vt:lpstr>Aharoni</vt:lpstr>
      <vt:lpstr>Arial</vt:lpstr>
      <vt:lpstr>Arial (Corps)</vt:lpstr>
      <vt:lpstr>Calibri</vt:lpstr>
      <vt:lpstr>Calibri (body)</vt:lpstr>
      <vt:lpstr>Courier New</vt:lpstr>
      <vt:lpstr>Segoe UI</vt:lpstr>
      <vt:lpstr>Symbol</vt:lpstr>
      <vt:lpstr>Verdana</vt:lpstr>
      <vt:lpstr>masque PPT V3</vt:lpstr>
      <vt:lpstr>1_masque PPT V3</vt:lpstr>
      <vt:lpstr>think-cell Slide</vt:lpstr>
      <vt:lpstr>Feuille de calcul</vt:lpstr>
      <vt:lpstr>Acrobat Document</vt:lpstr>
      <vt:lpstr>E-Prescription     ordonnance numérique </vt:lpstr>
      <vt:lpstr>SOMMAIRE</vt:lpstr>
      <vt:lpstr>Présentation PowerPoint</vt:lpstr>
      <vt:lpstr>Contexte de l’Ordonnance numérique</vt:lpstr>
      <vt:lpstr>Présentation PowerPoint</vt:lpstr>
      <vt:lpstr>Présentation PowerPoint</vt:lpstr>
      <vt:lpstr>LA SOLUTION Ordonnance numérique : film de présentation</vt:lpstr>
      <vt:lpstr>Présentation PowerPoint</vt:lpstr>
      <vt:lpstr>Présentation PowerPoint</vt:lpstr>
      <vt:lpstr>Expérimentation de la e-prescription médicament et chiffres clés</vt:lpstr>
      <vt:lpstr>La e-prescription, un dispositif qui fonctionne (1/2)</vt:lpstr>
      <vt:lpstr>La e-prescription, un dispositif qui fonctionne (2/2)</vt:lpstr>
      <vt:lpstr>Présentation PowerPoint</vt:lpstr>
      <vt:lpstr>la e-prescription unifiée : MISE EN ŒUVRE  D’UN Modèle COMMUN à TOUTES LES PRESCRIPTIONS</vt:lpstr>
      <vt:lpstr>Rappel sur les DM : Définitions et application au contexte de l’expérimentation</vt:lpstr>
      <vt:lpstr>La prescription de DM dans le cadre de l’Ordonnance Numérique unifiée – 1 sur 3</vt:lpstr>
      <vt:lpstr>La prescription de DM dans le cadre de l’ON unifiée – 2 sur 3</vt:lpstr>
      <vt:lpstr>La prescription de DM dans le cadre de l’Ordonnance Numérique unifiée – 3 sur 3</vt:lpstr>
      <vt:lpstr>Le principe des préséries</vt:lpstr>
      <vt:lpstr>simplification du traitement de l’ordonnance numérisée  par les professionnels de santé prescrits – testée en présérie</vt:lpstr>
      <vt:lpstr>Présentation PowerPoint</vt:lpstr>
      <vt:lpstr>Présentation PowerPoint</vt:lpstr>
      <vt:lpstr>Les leviers du déploiement de la e-prescription SEGUR de la santé</vt:lpstr>
      <vt:lpstr>Rôle de la CPAM dans le cadre d’une présérie sur son périmètre 1/2</vt:lpstr>
      <vt:lpstr>Rôle de la CPAM dans le cadre d’une présérie sur son périmètre 2/2</vt:lpstr>
      <vt:lpstr>Rôles et actions / Checklist</vt:lpstr>
      <vt:lpstr>Questions / Réponses</vt:lpstr>
      <vt:lpstr>Annexe</vt:lpstr>
      <vt:lpstr>les bénéfices pour les professionnels de santé </vt:lpstr>
      <vt:lpstr>les bénéfices pour les patients</vt:lpstr>
      <vt:lpstr>les bénéfices pour L’Assurance maladie</vt:lpstr>
    </vt:vector>
  </TitlesOfParts>
  <Company>CNAMT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RE DE LA Présentation SUR PLUSIEURS LIGNES</dc:title>
  <dc:creator>Jean Luc Kui</dc:creator>
  <cp:lastModifiedBy>Léa NOIREAUX</cp:lastModifiedBy>
  <cp:revision>372</cp:revision>
  <dcterms:created xsi:type="dcterms:W3CDTF">2021-05-20T12:01:02Z</dcterms:created>
  <dcterms:modified xsi:type="dcterms:W3CDTF">2023-06-19T11:28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8FBE62D6165C448AA79D61B4350BC64</vt:lpwstr>
  </property>
</Properties>
</file>